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2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Override3.xml" ContentType="application/vnd.openxmlformats-officedocument.themeOverr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9"/>
  </p:notesMasterIdLst>
  <p:handoutMasterIdLst>
    <p:handoutMasterId r:id="rId30"/>
  </p:handoutMasterIdLst>
  <p:sldIdLst>
    <p:sldId id="256" r:id="rId2"/>
    <p:sldId id="272" r:id="rId3"/>
    <p:sldId id="258" r:id="rId4"/>
    <p:sldId id="273" r:id="rId5"/>
    <p:sldId id="1742" r:id="rId6"/>
    <p:sldId id="275" r:id="rId7"/>
    <p:sldId id="276" r:id="rId8"/>
    <p:sldId id="278" r:id="rId9"/>
    <p:sldId id="1743" r:id="rId10"/>
    <p:sldId id="280" r:id="rId11"/>
    <p:sldId id="281" r:id="rId12"/>
    <p:sldId id="282" r:id="rId13"/>
    <p:sldId id="284" r:id="rId14"/>
    <p:sldId id="285" r:id="rId15"/>
    <p:sldId id="1744" r:id="rId16"/>
    <p:sldId id="287" r:id="rId17"/>
    <p:sldId id="299" r:id="rId18"/>
    <p:sldId id="290" r:id="rId19"/>
    <p:sldId id="1745" r:id="rId20"/>
    <p:sldId id="292" r:id="rId21"/>
    <p:sldId id="293" r:id="rId22"/>
    <p:sldId id="294" r:id="rId23"/>
    <p:sldId id="296" r:id="rId24"/>
    <p:sldId id="297" r:id="rId25"/>
    <p:sldId id="298" r:id="rId26"/>
    <p:sldId id="300" r:id="rId27"/>
    <p:sldId id="261" r:id="rId28"/>
  </p:sldIdLst>
  <p:sldSz cx="12192000" cy="6858000"/>
  <p:notesSz cx="6858000" cy="9144000"/>
  <p:custDataLst>
    <p:tags r:id="rId31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6C6"/>
    <a:srgbClr val="0049A0"/>
    <a:srgbClr val="B9E1F5"/>
    <a:srgbClr val="0F6EC6"/>
    <a:srgbClr val="A20000"/>
    <a:srgbClr val="A40000"/>
    <a:srgbClr val="9E0000"/>
    <a:srgbClr val="C7450B"/>
    <a:srgbClr val="E24E0C"/>
    <a:srgbClr val="DC61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182" autoAdjust="0"/>
  </p:normalViewPr>
  <p:slideViewPr>
    <p:cSldViewPr snapToGrid="0">
      <p:cViewPr varScale="1">
        <p:scale>
          <a:sx n="70" d="100"/>
          <a:sy n="70" d="100"/>
        </p:scale>
        <p:origin x="283" y="5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4-09-1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4-09-1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42">
            <a:extLst>
              <a:ext uri="{FF2B5EF4-FFF2-40B4-BE49-F238E27FC236}">
                <a16:creationId xmlns:a16="http://schemas.microsoft.com/office/drawing/2014/main" id="{D56CC79A-5B53-4F3F-B24C-B3D54CA1639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duotone>
              <a:schemeClr val="accent4">
                <a:shade val="45000"/>
                <a:satMod val="135000"/>
              </a:schemeClr>
              <a:prstClr val="white"/>
            </a:duotone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63" t="-6975" r="14962" b="1890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îṩḻîde">
            <a:extLst>
              <a:ext uri="{FF2B5EF4-FFF2-40B4-BE49-F238E27FC236}">
                <a16:creationId xmlns:a16="http://schemas.microsoft.com/office/drawing/2014/main" id="{AA47E822-739A-4D87-9454-BD9C1D63F3FB}"/>
              </a:ext>
            </a:extLst>
          </p:cNvPr>
          <p:cNvSpPr/>
          <p:nvPr userDrawn="1"/>
        </p:nvSpPr>
        <p:spPr>
          <a:xfrm>
            <a:off x="812799" y="1294892"/>
            <a:ext cx="10566402" cy="4434427"/>
          </a:xfrm>
          <a:custGeom>
            <a:avLst/>
            <a:gdLst>
              <a:gd name="connsiteX0" fmla="*/ 11226802 w 11226802"/>
              <a:gd name="connsiteY0" fmla="*/ 2432767 h 4513943"/>
              <a:gd name="connsiteX1" fmla="*/ 11226802 w 11226802"/>
              <a:gd name="connsiteY1" fmla="*/ 4358528 h 4513943"/>
              <a:gd name="connsiteX2" fmla="*/ 11071387 w 11226802"/>
              <a:gd name="connsiteY2" fmla="*/ 4513943 h 4513943"/>
              <a:gd name="connsiteX3" fmla="*/ 6275787 w 11226802"/>
              <a:gd name="connsiteY3" fmla="*/ 4513943 h 4513943"/>
              <a:gd name="connsiteX4" fmla="*/ 6369565 w 11226802"/>
              <a:gd name="connsiteY4" fmla="*/ 4489902 h 4513943"/>
              <a:gd name="connsiteX5" fmla="*/ 11143939 w 11226802"/>
              <a:gd name="connsiteY5" fmla="*/ 2472335 h 4513943"/>
              <a:gd name="connsiteX6" fmla="*/ 11226802 w 11226802"/>
              <a:gd name="connsiteY6" fmla="*/ 2044419 h 4513943"/>
              <a:gd name="connsiteX7" fmla="*/ 11226802 w 11226802"/>
              <a:gd name="connsiteY7" fmla="*/ 2200978 h 4513943"/>
              <a:gd name="connsiteX8" fmla="*/ 11099358 w 11226802"/>
              <a:gd name="connsiteY8" fmla="*/ 2220057 h 4513943"/>
              <a:gd name="connsiteX9" fmla="*/ 10994152 w 11226802"/>
              <a:gd name="connsiteY9" fmla="*/ 2236212 h 4513943"/>
              <a:gd name="connsiteX10" fmla="*/ 10912166 w 11226802"/>
              <a:gd name="connsiteY10" fmla="*/ 2153906 h 4513943"/>
              <a:gd name="connsiteX11" fmla="*/ 11203282 w 11226802"/>
              <a:gd name="connsiteY11" fmla="*/ 2053114 h 4513943"/>
              <a:gd name="connsiteX12" fmla="*/ 11226802 w 11226802"/>
              <a:gd name="connsiteY12" fmla="*/ 1719845 h 4513943"/>
              <a:gd name="connsiteX13" fmla="*/ 11226802 w 11226802"/>
              <a:gd name="connsiteY13" fmla="*/ 1856594 h 4513943"/>
              <a:gd name="connsiteX14" fmla="*/ 11162823 w 11226802"/>
              <a:gd name="connsiteY14" fmla="*/ 1872266 h 4513943"/>
              <a:gd name="connsiteX15" fmla="*/ 10912166 w 11226802"/>
              <a:gd name="connsiteY15" fmla="*/ 1934424 h 4513943"/>
              <a:gd name="connsiteX16" fmla="*/ 11149734 w 11226802"/>
              <a:gd name="connsiteY16" fmla="*/ 1770531 h 4513943"/>
              <a:gd name="connsiteX17" fmla="*/ 155415 w 11226802"/>
              <a:gd name="connsiteY17" fmla="*/ 0 h 4513943"/>
              <a:gd name="connsiteX18" fmla="*/ 7502790 w 11226802"/>
              <a:gd name="connsiteY18" fmla="*/ 0 h 4513943"/>
              <a:gd name="connsiteX19" fmla="*/ 7497519 w 11226802"/>
              <a:gd name="connsiteY19" fmla="*/ 10501 h 4513943"/>
              <a:gd name="connsiteX20" fmla="*/ 7769360 w 11226802"/>
              <a:gd name="connsiteY20" fmla="*/ 727354 h 4513943"/>
              <a:gd name="connsiteX21" fmla="*/ 8448965 w 11226802"/>
              <a:gd name="connsiteY21" fmla="*/ 2624 h 4513943"/>
              <a:gd name="connsiteX22" fmla="*/ 8458108 w 11226802"/>
              <a:gd name="connsiteY22" fmla="*/ 0 h 4513943"/>
              <a:gd name="connsiteX23" fmla="*/ 11071387 w 11226802"/>
              <a:gd name="connsiteY23" fmla="*/ 0 h 4513943"/>
              <a:gd name="connsiteX24" fmla="*/ 11226802 w 11226802"/>
              <a:gd name="connsiteY24" fmla="*/ 155415 h 4513943"/>
              <a:gd name="connsiteX25" fmla="*/ 11226802 w 11226802"/>
              <a:gd name="connsiteY25" fmla="*/ 1373112 h 4513943"/>
              <a:gd name="connsiteX26" fmla="*/ 11179499 w 11226802"/>
              <a:gd name="connsiteY26" fmla="*/ 1392361 h 4513943"/>
              <a:gd name="connsiteX27" fmla="*/ 8179282 w 11226802"/>
              <a:gd name="connsiteY27" fmla="*/ 2675176 h 4513943"/>
              <a:gd name="connsiteX28" fmla="*/ 9135792 w 11226802"/>
              <a:gd name="connsiteY28" fmla="*/ 1248543 h 4513943"/>
              <a:gd name="connsiteX29" fmla="*/ 8507228 w 11226802"/>
              <a:gd name="connsiteY29" fmla="*/ 919320 h 4513943"/>
              <a:gd name="connsiteX30" fmla="*/ 7304759 w 11226802"/>
              <a:gd name="connsiteY30" fmla="*/ 343179 h 4513943"/>
              <a:gd name="connsiteX31" fmla="*/ 8124624 w 11226802"/>
              <a:gd name="connsiteY31" fmla="*/ 1385719 h 4513943"/>
              <a:gd name="connsiteX32" fmla="*/ 5965646 w 11226802"/>
              <a:gd name="connsiteY32" fmla="*/ 3031834 h 4513943"/>
              <a:gd name="connsiteX33" fmla="*/ 5145781 w 11226802"/>
              <a:gd name="connsiteY33" fmla="*/ 4156680 h 4513943"/>
              <a:gd name="connsiteX34" fmla="*/ 5378076 w 11226802"/>
              <a:gd name="connsiteY34" fmla="*/ 4485903 h 4513943"/>
              <a:gd name="connsiteX35" fmla="*/ 5440290 w 11226802"/>
              <a:gd name="connsiteY35" fmla="*/ 4513943 h 4513943"/>
              <a:gd name="connsiteX36" fmla="*/ 155415 w 11226802"/>
              <a:gd name="connsiteY36" fmla="*/ 4513943 h 4513943"/>
              <a:gd name="connsiteX37" fmla="*/ 0 w 11226802"/>
              <a:gd name="connsiteY37" fmla="*/ 4358528 h 4513943"/>
              <a:gd name="connsiteX38" fmla="*/ 0 w 11226802"/>
              <a:gd name="connsiteY38" fmla="*/ 155415 h 4513943"/>
              <a:gd name="connsiteX39" fmla="*/ 155415 w 11226802"/>
              <a:gd name="connsiteY39" fmla="*/ 0 h 45139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1226802" h="4513943">
                <a:moveTo>
                  <a:pt x="11226802" y="2432767"/>
                </a:moveTo>
                <a:lnTo>
                  <a:pt x="11226802" y="4358528"/>
                </a:lnTo>
                <a:cubicBezTo>
                  <a:pt x="11226802" y="4444361"/>
                  <a:pt x="11157220" y="4513943"/>
                  <a:pt x="11071387" y="4513943"/>
                </a:cubicBezTo>
                <a:lnTo>
                  <a:pt x="6275787" y="4513943"/>
                </a:lnTo>
                <a:lnTo>
                  <a:pt x="6369565" y="4489902"/>
                </a:lnTo>
                <a:cubicBezTo>
                  <a:pt x="7467395" y="4188517"/>
                  <a:pt x="9846042" y="3089582"/>
                  <a:pt x="11143939" y="2472335"/>
                </a:cubicBezTo>
                <a:close/>
                <a:moveTo>
                  <a:pt x="11226802" y="2044419"/>
                </a:moveTo>
                <a:lnTo>
                  <a:pt x="11226802" y="2200978"/>
                </a:lnTo>
                <a:lnTo>
                  <a:pt x="11099358" y="2220057"/>
                </a:lnTo>
                <a:cubicBezTo>
                  <a:pt x="11059486" y="2225924"/>
                  <a:pt x="11024897" y="2231068"/>
                  <a:pt x="10994152" y="2236212"/>
                </a:cubicBezTo>
                <a:cubicBezTo>
                  <a:pt x="10857508" y="2263647"/>
                  <a:pt x="10830180" y="2208777"/>
                  <a:pt x="10912166" y="2153906"/>
                </a:cubicBezTo>
                <a:cubicBezTo>
                  <a:pt x="10973656" y="2133330"/>
                  <a:pt x="11069734" y="2101179"/>
                  <a:pt x="11203282" y="2053114"/>
                </a:cubicBezTo>
                <a:close/>
                <a:moveTo>
                  <a:pt x="11226802" y="1719845"/>
                </a:moveTo>
                <a:lnTo>
                  <a:pt x="11226802" y="1856594"/>
                </a:lnTo>
                <a:lnTo>
                  <a:pt x="11162823" y="1872266"/>
                </a:lnTo>
                <a:cubicBezTo>
                  <a:pt x="11014649" y="1908704"/>
                  <a:pt x="10912166" y="1934424"/>
                  <a:pt x="10912166" y="1934424"/>
                </a:cubicBezTo>
                <a:cubicBezTo>
                  <a:pt x="10912166" y="1934424"/>
                  <a:pt x="10948195" y="1904283"/>
                  <a:pt x="11149734" y="1770531"/>
                </a:cubicBezTo>
                <a:close/>
                <a:moveTo>
                  <a:pt x="155415" y="0"/>
                </a:moveTo>
                <a:lnTo>
                  <a:pt x="7502790" y="0"/>
                </a:lnTo>
                <a:lnTo>
                  <a:pt x="7497519" y="10501"/>
                </a:lnTo>
                <a:cubicBezTo>
                  <a:pt x="7392964" y="265207"/>
                  <a:pt x="7434786" y="559301"/>
                  <a:pt x="7769360" y="727354"/>
                </a:cubicBezTo>
                <a:cubicBezTo>
                  <a:pt x="7769360" y="727354"/>
                  <a:pt x="8166668" y="118160"/>
                  <a:pt x="8448965" y="2624"/>
                </a:cubicBezTo>
                <a:lnTo>
                  <a:pt x="8458108" y="0"/>
                </a:lnTo>
                <a:lnTo>
                  <a:pt x="11071387" y="0"/>
                </a:lnTo>
                <a:cubicBezTo>
                  <a:pt x="11157220" y="0"/>
                  <a:pt x="11226802" y="69582"/>
                  <a:pt x="11226802" y="155415"/>
                </a:cubicBezTo>
                <a:lnTo>
                  <a:pt x="11226802" y="1373112"/>
                </a:lnTo>
                <a:lnTo>
                  <a:pt x="11179499" y="1392361"/>
                </a:lnTo>
                <a:cubicBezTo>
                  <a:pt x="9917191" y="1907177"/>
                  <a:pt x="8304824" y="2580653"/>
                  <a:pt x="8179282" y="2675176"/>
                </a:cubicBezTo>
                <a:cubicBezTo>
                  <a:pt x="6320921" y="3607975"/>
                  <a:pt x="7851336" y="1632636"/>
                  <a:pt x="9135792" y="1248543"/>
                </a:cubicBezTo>
                <a:cubicBezTo>
                  <a:pt x="9135792" y="1248543"/>
                  <a:pt x="9245107" y="837014"/>
                  <a:pt x="8507228" y="919320"/>
                </a:cubicBezTo>
                <a:cubicBezTo>
                  <a:pt x="7550719" y="974190"/>
                  <a:pt x="7441403" y="782143"/>
                  <a:pt x="7304759" y="343179"/>
                </a:cubicBezTo>
                <a:cubicBezTo>
                  <a:pt x="7304759" y="343179"/>
                  <a:pt x="6758183" y="1413154"/>
                  <a:pt x="8124624" y="1385719"/>
                </a:cubicBezTo>
                <a:cubicBezTo>
                  <a:pt x="8124624" y="1385719"/>
                  <a:pt x="6320921" y="2702611"/>
                  <a:pt x="5965646" y="3031834"/>
                </a:cubicBezTo>
                <a:cubicBezTo>
                  <a:pt x="5610371" y="3361057"/>
                  <a:pt x="5118452" y="3827457"/>
                  <a:pt x="5145781" y="4156680"/>
                </a:cubicBezTo>
                <a:cubicBezTo>
                  <a:pt x="5173110" y="4293856"/>
                  <a:pt x="5248265" y="4410456"/>
                  <a:pt x="5378076" y="4485903"/>
                </a:cubicBezTo>
                <a:lnTo>
                  <a:pt x="5440290" y="4513943"/>
                </a:lnTo>
                <a:lnTo>
                  <a:pt x="155415" y="4513943"/>
                </a:lnTo>
                <a:cubicBezTo>
                  <a:pt x="69582" y="4513943"/>
                  <a:pt x="0" y="4444361"/>
                  <a:pt x="0" y="4358528"/>
                </a:cubicBezTo>
                <a:lnTo>
                  <a:pt x="0" y="155415"/>
                </a:lnTo>
                <a:cubicBezTo>
                  <a:pt x="0" y="69582"/>
                  <a:pt x="69582" y="0"/>
                  <a:pt x="155415" y="0"/>
                </a:cubicBezTo>
                <a:close/>
              </a:path>
            </a:pathLst>
          </a:custGeom>
          <a:gradFill>
            <a:gsLst>
              <a:gs pos="0">
                <a:schemeClr val="accent3">
                  <a:alpha val="80000"/>
                </a:schemeClr>
              </a:gs>
              <a:gs pos="100000">
                <a:schemeClr val="accent3">
                  <a:lumMod val="50000"/>
                  <a:alpha val="90000"/>
                </a:schemeClr>
              </a:gs>
            </a:gsLst>
            <a:lin ang="5400000" scaled="1"/>
          </a:gradFill>
          <a:ln>
            <a:noFill/>
          </a:ln>
          <a:effectLst>
            <a:outerShdw blurRad="304800" dist="38100" dir="5400000" algn="t" rotWithShape="0">
              <a:schemeClr val="accent1">
                <a:lumMod val="60000"/>
                <a:lumOff val="4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grpSp>
        <p:nvGrpSpPr>
          <p:cNvPr id="8" name="组合 7">
            <a:extLst>
              <a:ext uri="{FF2B5EF4-FFF2-40B4-BE49-F238E27FC236}">
                <a16:creationId xmlns:a16="http://schemas.microsoft.com/office/drawing/2014/main" id="{E564937D-FEB1-4FAA-8E7B-62CFA11C4B29}"/>
              </a:ext>
            </a:extLst>
          </p:cNvPr>
          <p:cNvGrpSpPr/>
          <p:nvPr userDrawn="1"/>
        </p:nvGrpSpPr>
        <p:grpSpPr>
          <a:xfrm>
            <a:off x="812800" y="648244"/>
            <a:ext cx="1920422" cy="442835"/>
            <a:chOff x="1030611" y="1440402"/>
            <a:chExt cx="2939653" cy="677862"/>
          </a:xfrm>
        </p:grpSpPr>
        <p:sp>
          <p:nvSpPr>
            <p:cNvPr id="9" name="ïṩ1iḑè">
              <a:extLst>
                <a:ext uri="{FF2B5EF4-FFF2-40B4-BE49-F238E27FC236}">
                  <a16:creationId xmlns:a16="http://schemas.microsoft.com/office/drawing/2014/main" id="{B10F3A80-8E12-40A6-9386-3BACF1C0502E}"/>
                </a:ext>
              </a:extLst>
            </p:cNvPr>
            <p:cNvSpPr/>
            <p:nvPr/>
          </p:nvSpPr>
          <p:spPr>
            <a:xfrm>
              <a:off x="1043310" y="1468287"/>
              <a:ext cx="649977" cy="649977"/>
            </a:xfrm>
            <a:prstGeom prst="ellipse">
              <a:avLst/>
            </a:prstGeom>
            <a:solidFill>
              <a:srgbClr val="B9E1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10" name="图形 9">
              <a:extLst>
                <a:ext uri="{FF2B5EF4-FFF2-40B4-BE49-F238E27FC236}">
                  <a16:creationId xmlns:a16="http://schemas.microsoft.com/office/drawing/2014/main" id="{9F339963-A610-4E80-8BC1-324CF66A121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r="74611"/>
            <a:stretch/>
          </p:blipFill>
          <p:spPr>
            <a:xfrm>
              <a:off x="1030611" y="1440402"/>
              <a:ext cx="764138" cy="677862"/>
            </a:xfrm>
            <a:prstGeom prst="rect">
              <a:avLst/>
            </a:prstGeom>
          </p:spPr>
        </p:pic>
        <p:grpSp>
          <p:nvGrpSpPr>
            <p:cNvPr id="11" name="图形 255">
              <a:extLst>
                <a:ext uri="{FF2B5EF4-FFF2-40B4-BE49-F238E27FC236}">
                  <a16:creationId xmlns:a16="http://schemas.microsoft.com/office/drawing/2014/main" id="{DB64B471-2926-41D8-85CB-0179FA909B61}"/>
                </a:ext>
              </a:extLst>
            </p:cNvPr>
            <p:cNvGrpSpPr/>
            <p:nvPr/>
          </p:nvGrpSpPr>
          <p:grpSpPr>
            <a:xfrm>
              <a:off x="1794775" y="1455281"/>
              <a:ext cx="2156121" cy="426727"/>
              <a:chOff x="1794775" y="1455281"/>
              <a:chExt cx="2156121" cy="426727"/>
            </a:xfrm>
            <a:solidFill>
              <a:srgbClr val="0049A0"/>
            </a:solidFill>
          </p:grpSpPr>
          <p:sp>
            <p:nvSpPr>
              <p:cNvPr id="15" name="íṧļide">
                <a:extLst>
                  <a:ext uri="{FF2B5EF4-FFF2-40B4-BE49-F238E27FC236}">
                    <a16:creationId xmlns:a16="http://schemas.microsoft.com/office/drawing/2014/main" id="{EF88221C-1DF0-4468-BB12-265FD42D802D}"/>
                  </a:ext>
                </a:extLst>
              </p:cNvPr>
              <p:cNvSpPr/>
              <p:nvPr/>
            </p:nvSpPr>
            <p:spPr>
              <a:xfrm>
                <a:off x="3688614" y="1455281"/>
                <a:ext cx="262281" cy="187348"/>
              </a:xfrm>
              <a:custGeom>
                <a:avLst/>
                <a:gdLst>
                  <a:gd name="connsiteX0" fmla="*/ 40457 w 262281"/>
                  <a:gd name="connsiteY0" fmla="*/ 87238 h 187348"/>
                  <a:gd name="connsiteX1" fmla="*/ 55316 w 262281"/>
                  <a:gd name="connsiteY1" fmla="*/ 87238 h 187348"/>
                  <a:gd name="connsiteX2" fmla="*/ 102016 w 262281"/>
                  <a:gd name="connsiteY2" fmla="*/ 126508 h 187348"/>
                  <a:gd name="connsiteX3" fmla="*/ 121651 w 262281"/>
                  <a:gd name="connsiteY3" fmla="*/ 94667 h 187348"/>
                  <a:gd name="connsiteX4" fmla="*/ 84768 w 262281"/>
                  <a:gd name="connsiteY4" fmla="*/ 97056 h 187348"/>
                  <a:gd name="connsiteX5" fmla="*/ 79727 w 262281"/>
                  <a:gd name="connsiteY5" fmla="*/ 72379 h 187348"/>
                  <a:gd name="connsiteX6" fmla="*/ 180556 w 262281"/>
                  <a:gd name="connsiteY6" fmla="*/ 1003 h 187348"/>
                  <a:gd name="connsiteX7" fmla="*/ 205233 w 262281"/>
                  <a:gd name="connsiteY7" fmla="*/ 25679 h 187348"/>
                  <a:gd name="connsiteX8" fmla="*/ 163309 w 262281"/>
                  <a:gd name="connsiteY8" fmla="*/ 67338 h 187348"/>
                  <a:gd name="connsiteX9" fmla="*/ 165697 w 262281"/>
                  <a:gd name="connsiteY9" fmla="*/ 77155 h 187348"/>
                  <a:gd name="connsiteX10" fmla="*/ 173127 w 262281"/>
                  <a:gd name="connsiteY10" fmla="*/ 79543 h 187348"/>
                  <a:gd name="connsiteX11" fmla="*/ 251667 w 262281"/>
                  <a:gd name="connsiteY11" fmla="*/ 54867 h 187348"/>
                  <a:gd name="connsiteX12" fmla="*/ 261485 w 262281"/>
                  <a:gd name="connsiteY12" fmla="*/ 67072 h 187348"/>
                  <a:gd name="connsiteX13" fmla="*/ 202579 w 262281"/>
                  <a:gd name="connsiteY13" fmla="*/ 145613 h 187348"/>
                  <a:gd name="connsiteX14" fmla="*/ 163309 w 262281"/>
                  <a:gd name="connsiteY14" fmla="*/ 143225 h 187348"/>
                  <a:gd name="connsiteX15" fmla="*/ 215050 w 262281"/>
                  <a:gd name="connsiteY15" fmla="*/ 79808 h 187348"/>
                  <a:gd name="connsiteX16" fmla="*/ 212662 w 262281"/>
                  <a:gd name="connsiteY16" fmla="*/ 79808 h 187348"/>
                  <a:gd name="connsiteX17" fmla="*/ 155349 w 262281"/>
                  <a:gd name="connsiteY17" fmla="*/ 150389 h 187348"/>
                  <a:gd name="connsiteX18" fmla="*/ 155879 w 262281"/>
                  <a:gd name="connsiteY18" fmla="*/ 162594 h 187348"/>
                  <a:gd name="connsiteX19" fmla="*/ 114221 w 262281"/>
                  <a:gd name="connsiteY19" fmla="*/ 148531 h 187348"/>
                  <a:gd name="connsiteX20" fmla="*/ 77339 w 262281"/>
                  <a:gd name="connsiteY20" fmla="*/ 180372 h 187348"/>
                  <a:gd name="connsiteX21" fmla="*/ 69910 w 262281"/>
                  <a:gd name="connsiteY21" fmla="*/ 175331 h 187348"/>
                  <a:gd name="connsiteX22" fmla="*/ 87157 w 262281"/>
                  <a:gd name="connsiteY22" fmla="*/ 153307 h 187348"/>
                  <a:gd name="connsiteX23" fmla="*/ 74951 w 262281"/>
                  <a:gd name="connsiteY23" fmla="*/ 148266 h 187348"/>
                  <a:gd name="connsiteX24" fmla="*/ 35681 w 262281"/>
                  <a:gd name="connsiteY24" fmla="*/ 185148 h 187348"/>
                  <a:gd name="connsiteX25" fmla="*/ 8616 w 262281"/>
                  <a:gd name="connsiteY25" fmla="*/ 183025 h 187348"/>
                  <a:gd name="connsiteX26" fmla="*/ 3575 w 262281"/>
                  <a:gd name="connsiteY26" fmla="*/ 126508 h 187348"/>
                  <a:gd name="connsiteX27" fmla="*/ 5963 w 262281"/>
                  <a:gd name="connsiteY27" fmla="*/ 126508 h 187348"/>
                  <a:gd name="connsiteX28" fmla="*/ 55050 w 262281"/>
                  <a:gd name="connsiteY28" fmla="*/ 143755 h 187348"/>
                  <a:gd name="connsiteX29" fmla="*/ 40457 w 262281"/>
                  <a:gd name="connsiteY29" fmla="*/ 87238 h 187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262281" h="187348">
                    <a:moveTo>
                      <a:pt x="40457" y="87238"/>
                    </a:moveTo>
                    <a:cubicBezTo>
                      <a:pt x="43376" y="84054"/>
                      <a:pt x="50009" y="84319"/>
                      <a:pt x="55316" y="87238"/>
                    </a:cubicBezTo>
                    <a:cubicBezTo>
                      <a:pt x="61684" y="103424"/>
                      <a:pt x="86360" y="134999"/>
                      <a:pt x="102016" y="126508"/>
                    </a:cubicBezTo>
                    <a:cubicBezTo>
                      <a:pt x="113160" y="121467"/>
                      <a:pt x="128019" y="107404"/>
                      <a:pt x="121651" y="94667"/>
                    </a:cubicBezTo>
                    <a:cubicBezTo>
                      <a:pt x="101750" y="107934"/>
                      <a:pt x="103077" y="112445"/>
                      <a:pt x="84768" y="97056"/>
                    </a:cubicBezTo>
                    <a:cubicBezTo>
                      <a:pt x="78135" y="85911"/>
                      <a:pt x="77339" y="85115"/>
                      <a:pt x="79727" y="72379"/>
                    </a:cubicBezTo>
                    <a:cubicBezTo>
                      <a:pt x="158002" y="79808"/>
                      <a:pt x="144735" y="47437"/>
                      <a:pt x="180556" y="1003"/>
                    </a:cubicBezTo>
                    <a:cubicBezTo>
                      <a:pt x="202579" y="-4039"/>
                      <a:pt x="208417" y="10820"/>
                      <a:pt x="205233" y="25679"/>
                    </a:cubicBezTo>
                    <a:cubicBezTo>
                      <a:pt x="191170" y="39742"/>
                      <a:pt x="177372" y="53540"/>
                      <a:pt x="163309" y="67338"/>
                    </a:cubicBezTo>
                    <a:cubicBezTo>
                      <a:pt x="164105" y="70522"/>
                      <a:pt x="164901" y="73971"/>
                      <a:pt x="165697" y="77155"/>
                    </a:cubicBezTo>
                    <a:cubicBezTo>
                      <a:pt x="168085" y="77951"/>
                      <a:pt x="170738" y="78747"/>
                      <a:pt x="173127" y="79543"/>
                    </a:cubicBezTo>
                    <a:cubicBezTo>
                      <a:pt x="203641" y="73175"/>
                      <a:pt x="212397" y="55663"/>
                      <a:pt x="251667" y="54867"/>
                    </a:cubicBezTo>
                    <a:cubicBezTo>
                      <a:pt x="255116" y="53805"/>
                      <a:pt x="262546" y="56459"/>
                      <a:pt x="261485" y="67072"/>
                    </a:cubicBezTo>
                    <a:cubicBezTo>
                      <a:pt x="268118" y="94402"/>
                      <a:pt x="232032" y="96259"/>
                      <a:pt x="202579" y="145613"/>
                    </a:cubicBezTo>
                    <a:cubicBezTo>
                      <a:pt x="192496" y="150654"/>
                      <a:pt x="170208" y="149062"/>
                      <a:pt x="163309" y="143225"/>
                    </a:cubicBezTo>
                    <a:cubicBezTo>
                      <a:pt x="161982" y="123855"/>
                      <a:pt x="230440" y="105016"/>
                      <a:pt x="215050" y="79808"/>
                    </a:cubicBezTo>
                    <a:cubicBezTo>
                      <a:pt x="214254" y="79808"/>
                      <a:pt x="213458" y="79808"/>
                      <a:pt x="212662" y="79808"/>
                    </a:cubicBezTo>
                    <a:cubicBezTo>
                      <a:pt x="176310" y="87503"/>
                      <a:pt x="104669" y="116691"/>
                      <a:pt x="155349" y="150389"/>
                    </a:cubicBezTo>
                    <a:cubicBezTo>
                      <a:pt x="159594" y="153042"/>
                      <a:pt x="160656" y="162064"/>
                      <a:pt x="155879" y="162594"/>
                    </a:cubicBezTo>
                    <a:cubicBezTo>
                      <a:pt x="133326" y="163390"/>
                      <a:pt x="123508" y="160206"/>
                      <a:pt x="114221" y="148531"/>
                    </a:cubicBezTo>
                    <a:cubicBezTo>
                      <a:pt x="97505" y="156757"/>
                      <a:pt x="113691" y="177188"/>
                      <a:pt x="77339" y="180372"/>
                    </a:cubicBezTo>
                    <a:cubicBezTo>
                      <a:pt x="73093" y="180372"/>
                      <a:pt x="71236" y="180107"/>
                      <a:pt x="69910" y="175331"/>
                    </a:cubicBezTo>
                    <a:cubicBezTo>
                      <a:pt x="81850" y="166309"/>
                      <a:pt x="84503" y="160737"/>
                      <a:pt x="87157" y="153307"/>
                    </a:cubicBezTo>
                    <a:cubicBezTo>
                      <a:pt x="79462" y="144286"/>
                      <a:pt x="78135" y="146939"/>
                      <a:pt x="74951" y="148266"/>
                    </a:cubicBezTo>
                    <a:cubicBezTo>
                      <a:pt x="61949" y="160472"/>
                      <a:pt x="48682" y="172943"/>
                      <a:pt x="35681" y="185148"/>
                    </a:cubicBezTo>
                    <a:cubicBezTo>
                      <a:pt x="25333" y="188598"/>
                      <a:pt x="19230" y="188067"/>
                      <a:pt x="8616" y="183025"/>
                    </a:cubicBezTo>
                    <a:cubicBezTo>
                      <a:pt x="-1201" y="166574"/>
                      <a:pt x="-2263" y="146939"/>
                      <a:pt x="3575" y="126508"/>
                    </a:cubicBezTo>
                    <a:cubicBezTo>
                      <a:pt x="4371" y="126508"/>
                      <a:pt x="5167" y="126508"/>
                      <a:pt x="5963" y="126508"/>
                    </a:cubicBezTo>
                    <a:cubicBezTo>
                      <a:pt x="29843" y="135795"/>
                      <a:pt x="30905" y="163125"/>
                      <a:pt x="55050" y="143755"/>
                    </a:cubicBezTo>
                    <a:cubicBezTo>
                      <a:pt x="61684" y="114568"/>
                      <a:pt x="44172" y="110853"/>
                      <a:pt x="40457" y="87238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" name="iṣḷídé">
                <a:extLst>
                  <a:ext uri="{FF2B5EF4-FFF2-40B4-BE49-F238E27FC236}">
                    <a16:creationId xmlns:a16="http://schemas.microsoft.com/office/drawing/2014/main" id="{746C1109-B7A9-4DFD-B5F8-5D9D9326F28D}"/>
                  </a:ext>
                </a:extLst>
              </p:cNvPr>
              <p:cNvSpPr/>
              <p:nvPr/>
            </p:nvSpPr>
            <p:spPr>
              <a:xfrm>
                <a:off x="1794775" y="1489986"/>
                <a:ext cx="294159" cy="392022"/>
              </a:xfrm>
              <a:custGeom>
                <a:avLst/>
                <a:gdLst>
                  <a:gd name="connsiteX0" fmla="*/ 171382 w 294159"/>
                  <a:gd name="connsiteY0" fmla="*/ 261 h 392022"/>
                  <a:gd name="connsiteX1" fmla="*/ 223654 w 294159"/>
                  <a:gd name="connsiteY1" fmla="*/ 20427 h 392022"/>
                  <a:gd name="connsiteX2" fmla="*/ 226042 w 294159"/>
                  <a:gd name="connsiteY2" fmla="*/ 138503 h 392022"/>
                  <a:gd name="connsiteX3" fmla="*/ 260536 w 294159"/>
                  <a:gd name="connsiteY3" fmla="*/ 138503 h 392022"/>
                  <a:gd name="connsiteX4" fmla="*/ 260536 w 294159"/>
                  <a:gd name="connsiteY4" fmla="*/ 140891 h 392022"/>
                  <a:gd name="connsiteX5" fmla="*/ 231083 w 294159"/>
                  <a:gd name="connsiteY5" fmla="*/ 170609 h 392022"/>
                  <a:gd name="connsiteX6" fmla="*/ 270353 w 294159"/>
                  <a:gd name="connsiteY6" fmla="*/ 273825 h 392022"/>
                  <a:gd name="connsiteX7" fmla="*/ 272741 w 294159"/>
                  <a:gd name="connsiteY7" fmla="*/ 214920 h 392022"/>
                  <a:gd name="connsiteX8" fmla="*/ 285743 w 294159"/>
                  <a:gd name="connsiteY8" fmla="*/ 212532 h 392022"/>
                  <a:gd name="connsiteX9" fmla="*/ 275395 w 294159"/>
                  <a:gd name="connsiteY9" fmla="*/ 367490 h 392022"/>
                  <a:gd name="connsiteX10" fmla="*/ 273007 w 294159"/>
                  <a:gd name="connsiteY10" fmla="*/ 367490 h 392022"/>
                  <a:gd name="connsiteX11" fmla="*/ 214101 w 294159"/>
                  <a:gd name="connsiteY11" fmla="*/ 274091 h 392022"/>
                  <a:gd name="connsiteX12" fmla="*/ 63919 w 294159"/>
                  <a:gd name="connsiteY12" fmla="*/ 389248 h 392022"/>
                  <a:gd name="connsiteX13" fmla="*/ 2361 w 294159"/>
                  <a:gd name="connsiteY13" fmla="*/ 372001 h 392022"/>
                  <a:gd name="connsiteX14" fmla="*/ 2361 w 294159"/>
                  <a:gd name="connsiteY14" fmla="*/ 362183 h 392022"/>
                  <a:gd name="connsiteX15" fmla="*/ 9790 w 294159"/>
                  <a:gd name="connsiteY15" fmla="*/ 357142 h 392022"/>
                  <a:gd name="connsiteX16" fmla="*/ 68696 w 294159"/>
                  <a:gd name="connsiteY16" fmla="*/ 342283 h 392022"/>
                  <a:gd name="connsiteX17" fmla="*/ 171913 w 294159"/>
                  <a:gd name="connsiteY17" fmla="*/ 248884 h 392022"/>
                  <a:gd name="connsiteX18" fmla="*/ 149889 w 294159"/>
                  <a:gd name="connsiteY18" fmla="*/ 253925 h 392022"/>
                  <a:gd name="connsiteX19" fmla="*/ 115395 w 294159"/>
                  <a:gd name="connsiteY19" fmla="*/ 280990 h 392022"/>
                  <a:gd name="connsiteX20" fmla="*/ 110354 w 294159"/>
                  <a:gd name="connsiteY20" fmla="*/ 273560 h 392022"/>
                  <a:gd name="connsiteX21" fmla="*/ 113007 w 294159"/>
                  <a:gd name="connsiteY21" fmla="*/ 219696 h 392022"/>
                  <a:gd name="connsiteX22" fmla="*/ 98148 w 294159"/>
                  <a:gd name="connsiteY22" fmla="*/ 219696 h 392022"/>
                  <a:gd name="connsiteX23" fmla="*/ 44019 w 294159"/>
                  <a:gd name="connsiteY23" fmla="*/ 258966 h 392022"/>
                  <a:gd name="connsiteX24" fmla="*/ 2361 w 294159"/>
                  <a:gd name="connsiteY24" fmla="*/ 236943 h 392022"/>
                  <a:gd name="connsiteX25" fmla="*/ 7402 w 294159"/>
                  <a:gd name="connsiteY25" fmla="*/ 212267 h 392022"/>
                  <a:gd name="connsiteX26" fmla="*/ 194201 w 294159"/>
                  <a:gd name="connsiteY26" fmla="*/ 150708 h 392022"/>
                  <a:gd name="connsiteX27" fmla="*/ 171382 w 294159"/>
                  <a:gd name="connsiteY27" fmla="*/ 261 h 392022"/>
                  <a:gd name="connsiteX28" fmla="*/ 171382 w 294159"/>
                  <a:gd name="connsiteY28" fmla="*/ 261 h 392022"/>
                  <a:gd name="connsiteX29" fmla="*/ 186772 w 294159"/>
                  <a:gd name="connsiteY29" fmla="*/ 182814 h 392022"/>
                  <a:gd name="connsiteX30" fmla="*/ 181730 w 294159"/>
                  <a:gd name="connsiteY30" fmla="*/ 214920 h 392022"/>
                  <a:gd name="connsiteX31" fmla="*/ 196589 w 294159"/>
                  <a:gd name="connsiteY31" fmla="*/ 236943 h 392022"/>
                  <a:gd name="connsiteX32" fmla="*/ 206407 w 294159"/>
                  <a:gd name="connsiteY32" fmla="*/ 236943 h 392022"/>
                  <a:gd name="connsiteX33" fmla="*/ 208795 w 294159"/>
                  <a:gd name="connsiteY33" fmla="*/ 234555 h 392022"/>
                  <a:gd name="connsiteX34" fmla="*/ 194201 w 294159"/>
                  <a:gd name="connsiteY34" fmla="*/ 182814 h 392022"/>
                  <a:gd name="connsiteX35" fmla="*/ 186772 w 294159"/>
                  <a:gd name="connsiteY35" fmla="*/ 182814 h 392022"/>
                  <a:gd name="connsiteX36" fmla="*/ 186772 w 294159"/>
                  <a:gd name="connsiteY36" fmla="*/ 182814 h 392022"/>
                  <a:gd name="connsiteX37" fmla="*/ 140072 w 294159"/>
                  <a:gd name="connsiteY37" fmla="*/ 197673 h 392022"/>
                  <a:gd name="connsiteX38" fmla="*/ 129724 w 294159"/>
                  <a:gd name="connsiteY38" fmla="*/ 219696 h 392022"/>
                  <a:gd name="connsiteX39" fmla="*/ 161299 w 294159"/>
                  <a:gd name="connsiteY39" fmla="*/ 225534 h 392022"/>
                  <a:gd name="connsiteX40" fmla="*/ 159176 w 294159"/>
                  <a:gd name="connsiteY40" fmla="*/ 197673 h 392022"/>
                  <a:gd name="connsiteX41" fmla="*/ 140072 w 294159"/>
                  <a:gd name="connsiteY41" fmla="*/ 197673 h 392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294159" h="392022">
                    <a:moveTo>
                      <a:pt x="171382" y="261"/>
                    </a:moveTo>
                    <a:cubicBezTo>
                      <a:pt x="196854" y="-1331"/>
                      <a:pt x="215428" y="4241"/>
                      <a:pt x="223654" y="20427"/>
                    </a:cubicBezTo>
                    <a:cubicBezTo>
                      <a:pt x="223123" y="60227"/>
                      <a:pt x="219674" y="97110"/>
                      <a:pt x="226042" y="138503"/>
                    </a:cubicBezTo>
                    <a:cubicBezTo>
                      <a:pt x="237451" y="138503"/>
                      <a:pt x="248861" y="138503"/>
                      <a:pt x="260536" y="138503"/>
                    </a:cubicBezTo>
                    <a:cubicBezTo>
                      <a:pt x="260536" y="139299"/>
                      <a:pt x="260536" y="140095"/>
                      <a:pt x="260536" y="140891"/>
                    </a:cubicBezTo>
                    <a:cubicBezTo>
                      <a:pt x="257086" y="160791"/>
                      <a:pt x="245942" y="163179"/>
                      <a:pt x="231083" y="170609"/>
                    </a:cubicBezTo>
                    <a:cubicBezTo>
                      <a:pt x="231083" y="209083"/>
                      <a:pt x="240105" y="264804"/>
                      <a:pt x="270353" y="273825"/>
                    </a:cubicBezTo>
                    <a:cubicBezTo>
                      <a:pt x="271149" y="254190"/>
                      <a:pt x="271945" y="234555"/>
                      <a:pt x="272741" y="214920"/>
                    </a:cubicBezTo>
                    <a:cubicBezTo>
                      <a:pt x="274864" y="201388"/>
                      <a:pt x="281232" y="204307"/>
                      <a:pt x="285743" y="212532"/>
                    </a:cubicBezTo>
                    <a:cubicBezTo>
                      <a:pt x="297153" y="250210"/>
                      <a:pt x="299806" y="353427"/>
                      <a:pt x="275395" y="367490"/>
                    </a:cubicBezTo>
                    <a:cubicBezTo>
                      <a:pt x="274599" y="367490"/>
                      <a:pt x="273803" y="367490"/>
                      <a:pt x="273007" y="367490"/>
                    </a:cubicBezTo>
                    <a:cubicBezTo>
                      <a:pt x="237982" y="352366"/>
                      <a:pt x="247004" y="285766"/>
                      <a:pt x="214101" y="274091"/>
                    </a:cubicBezTo>
                    <a:cubicBezTo>
                      <a:pt x="159176" y="306462"/>
                      <a:pt x="89657" y="373858"/>
                      <a:pt x="63919" y="389248"/>
                    </a:cubicBezTo>
                    <a:cubicBezTo>
                      <a:pt x="37386" y="399596"/>
                      <a:pt x="16954" y="378104"/>
                      <a:pt x="2361" y="372001"/>
                    </a:cubicBezTo>
                    <a:cubicBezTo>
                      <a:pt x="2361" y="368817"/>
                      <a:pt x="2361" y="365367"/>
                      <a:pt x="2361" y="362183"/>
                    </a:cubicBezTo>
                    <a:cubicBezTo>
                      <a:pt x="4749" y="360591"/>
                      <a:pt x="7402" y="358999"/>
                      <a:pt x="9790" y="357142"/>
                    </a:cubicBezTo>
                    <a:cubicBezTo>
                      <a:pt x="25180" y="343610"/>
                      <a:pt x="46672" y="350774"/>
                      <a:pt x="68696" y="342283"/>
                    </a:cubicBezTo>
                    <a:cubicBezTo>
                      <a:pt x="95760" y="331935"/>
                      <a:pt x="185710" y="279928"/>
                      <a:pt x="171913" y="248884"/>
                    </a:cubicBezTo>
                    <a:cubicBezTo>
                      <a:pt x="164218" y="246761"/>
                      <a:pt x="158115" y="247026"/>
                      <a:pt x="149889" y="253925"/>
                    </a:cubicBezTo>
                    <a:cubicBezTo>
                      <a:pt x="145909" y="273295"/>
                      <a:pt x="138745" y="280724"/>
                      <a:pt x="115395" y="280990"/>
                    </a:cubicBezTo>
                    <a:cubicBezTo>
                      <a:pt x="113803" y="278602"/>
                      <a:pt x="112211" y="275948"/>
                      <a:pt x="110354" y="273560"/>
                    </a:cubicBezTo>
                    <a:cubicBezTo>
                      <a:pt x="100802" y="250210"/>
                      <a:pt x="126540" y="225534"/>
                      <a:pt x="113007" y="219696"/>
                    </a:cubicBezTo>
                    <a:cubicBezTo>
                      <a:pt x="108496" y="217308"/>
                      <a:pt x="104782" y="217574"/>
                      <a:pt x="98148" y="219696"/>
                    </a:cubicBezTo>
                    <a:cubicBezTo>
                      <a:pt x="80105" y="232698"/>
                      <a:pt x="49856" y="260559"/>
                      <a:pt x="44019" y="258966"/>
                    </a:cubicBezTo>
                    <a:cubicBezTo>
                      <a:pt x="24649" y="257374"/>
                      <a:pt x="12709" y="254456"/>
                      <a:pt x="2361" y="236943"/>
                    </a:cubicBezTo>
                    <a:cubicBezTo>
                      <a:pt x="-823" y="228718"/>
                      <a:pt x="-2150" y="221288"/>
                      <a:pt x="7402" y="212267"/>
                    </a:cubicBezTo>
                    <a:cubicBezTo>
                      <a:pt x="71084" y="213328"/>
                      <a:pt x="150951" y="178569"/>
                      <a:pt x="194201" y="150708"/>
                    </a:cubicBezTo>
                    <a:cubicBezTo>
                      <a:pt x="194201" y="36082"/>
                      <a:pt x="168728" y="53329"/>
                      <a:pt x="171382" y="261"/>
                    </a:cubicBezTo>
                    <a:lnTo>
                      <a:pt x="171382" y="261"/>
                    </a:lnTo>
                    <a:close/>
                    <a:moveTo>
                      <a:pt x="186772" y="182814"/>
                    </a:moveTo>
                    <a:cubicBezTo>
                      <a:pt x="181995" y="192366"/>
                      <a:pt x="180669" y="203776"/>
                      <a:pt x="181730" y="214920"/>
                    </a:cubicBezTo>
                    <a:cubicBezTo>
                      <a:pt x="185710" y="224207"/>
                      <a:pt x="189956" y="230841"/>
                      <a:pt x="196589" y="236943"/>
                    </a:cubicBezTo>
                    <a:cubicBezTo>
                      <a:pt x="199773" y="236943"/>
                      <a:pt x="203223" y="236943"/>
                      <a:pt x="206407" y="236943"/>
                    </a:cubicBezTo>
                    <a:cubicBezTo>
                      <a:pt x="207203" y="236147"/>
                      <a:pt x="207999" y="235351"/>
                      <a:pt x="208795" y="234555"/>
                    </a:cubicBezTo>
                    <a:cubicBezTo>
                      <a:pt x="203223" y="214920"/>
                      <a:pt x="200835" y="198204"/>
                      <a:pt x="194201" y="182814"/>
                    </a:cubicBezTo>
                    <a:cubicBezTo>
                      <a:pt x="191548" y="182814"/>
                      <a:pt x="189160" y="182814"/>
                      <a:pt x="186772" y="182814"/>
                    </a:cubicBezTo>
                    <a:lnTo>
                      <a:pt x="186772" y="182814"/>
                    </a:lnTo>
                    <a:close/>
                    <a:moveTo>
                      <a:pt x="140072" y="197673"/>
                    </a:moveTo>
                    <a:cubicBezTo>
                      <a:pt x="129724" y="203245"/>
                      <a:pt x="130254" y="210940"/>
                      <a:pt x="129724" y="219696"/>
                    </a:cubicBezTo>
                    <a:cubicBezTo>
                      <a:pt x="140603" y="234290"/>
                      <a:pt x="152277" y="227656"/>
                      <a:pt x="161299" y="225534"/>
                    </a:cubicBezTo>
                    <a:cubicBezTo>
                      <a:pt x="164218" y="216512"/>
                      <a:pt x="164483" y="203776"/>
                      <a:pt x="159176" y="197673"/>
                    </a:cubicBezTo>
                    <a:cubicBezTo>
                      <a:pt x="148032" y="197673"/>
                      <a:pt x="147501" y="197673"/>
                      <a:pt x="140072" y="197673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" name="ïṥļïḓé">
                <a:extLst>
                  <a:ext uri="{FF2B5EF4-FFF2-40B4-BE49-F238E27FC236}">
                    <a16:creationId xmlns:a16="http://schemas.microsoft.com/office/drawing/2014/main" id="{7A84540C-353B-49E0-91A5-F8FE34C412A3}"/>
                  </a:ext>
                </a:extLst>
              </p:cNvPr>
              <p:cNvSpPr/>
              <p:nvPr/>
            </p:nvSpPr>
            <p:spPr>
              <a:xfrm>
                <a:off x="2316265" y="1493719"/>
                <a:ext cx="165529" cy="318248"/>
              </a:xfrm>
              <a:custGeom>
                <a:avLst/>
                <a:gdLst>
                  <a:gd name="connsiteX0" fmla="*/ 132279 w 165529"/>
                  <a:gd name="connsiteY0" fmla="*/ 2100 h 318248"/>
                  <a:gd name="connsiteX1" fmla="*/ 151914 w 165529"/>
                  <a:gd name="connsiteY1" fmla="*/ 2100 h 318248"/>
                  <a:gd name="connsiteX2" fmla="*/ 161731 w 165529"/>
                  <a:gd name="connsiteY2" fmla="*/ 43758 h 318248"/>
                  <a:gd name="connsiteX3" fmla="*/ 109990 w 165529"/>
                  <a:gd name="connsiteY3" fmla="*/ 107705 h 318248"/>
                  <a:gd name="connsiteX4" fmla="*/ 115032 w 165529"/>
                  <a:gd name="connsiteY4" fmla="*/ 107705 h 318248"/>
                  <a:gd name="connsiteX5" fmla="*/ 146872 w 165529"/>
                  <a:gd name="connsiteY5" fmla="*/ 117523 h 318248"/>
                  <a:gd name="connsiteX6" fmla="*/ 146872 w 165529"/>
                  <a:gd name="connsiteY6" fmla="*/ 139546 h 318248"/>
                  <a:gd name="connsiteX7" fmla="*/ 122196 w 165529"/>
                  <a:gd name="connsiteY7" fmla="*/ 154405 h 318248"/>
                  <a:gd name="connsiteX8" fmla="*/ 132013 w 165529"/>
                  <a:gd name="connsiteY8" fmla="*/ 186245 h 318248"/>
                  <a:gd name="connsiteX9" fmla="*/ 102561 w 165529"/>
                  <a:gd name="connsiteY9" fmla="*/ 223128 h 318248"/>
                  <a:gd name="connsiteX10" fmla="*/ 104949 w 165529"/>
                  <a:gd name="connsiteY10" fmla="*/ 232945 h 318248"/>
                  <a:gd name="connsiteX11" fmla="*/ 136789 w 165529"/>
                  <a:gd name="connsiteY11" fmla="*/ 215698 h 318248"/>
                  <a:gd name="connsiteX12" fmla="*/ 163854 w 165529"/>
                  <a:gd name="connsiteY12" fmla="*/ 220740 h 318248"/>
                  <a:gd name="connsiteX13" fmla="*/ 154036 w 165529"/>
                  <a:gd name="connsiteY13" fmla="*/ 245416 h 318248"/>
                  <a:gd name="connsiteX14" fmla="*/ 97519 w 165529"/>
                  <a:gd name="connsiteY14" fmla="*/ 262663 h 318248"/>
                  <a:gd name="connsiteX15" fmla="*/ 95131 w 165529"/>
                  <a:gd name="connsiteY15" fmla="*/ 270093 h 318248"/>
                  <a:gd name="connsiteX16" fmla="*/ 29858 w 165529"/>
                  <a:gd name="connsiteY16" fmla="*/ 317058 h 318248"/>
                  <a:gd name="connsiteX17" fmla="*/ 55861 w 165529"/>
                  <a:gd name="connsiteY17" fmla="*/ 289728 h 318248"/>
                  <a:gd name="connsiteX18" fmla="*/ 53207 w 165529"/>
                  <a:gd name="connsiteY18" fmla="*/ 278849 h 318248"/>
                  <a:gd name="connsiteX19" fmla="*/ 27735 w 165529"/>
                  <a:gd name="connsiteY19" fmla="*/ 275134 h 318248"/>
                  <a:gd name="connsiteX20" fmla="*/ 33838 w 165529"/>
                  <a:gd name="connsiteY20" fmla="*/ 255234 h 318248"/>
                  <a:gd name="connsiteX21" fmla="*/ 70720 w 165529"/>
                  <a:gd name="connsiteY21" fmla="*/ 235599 h 318248"/>
                  <a:gd name="connsiteX22" fmla="*/ 65678 w 165529"/>
                  <a:gd name="connsiteY22" fmla="*/ 230557 h 318248"/>
                  <a:gd name="connsiteX23" fmla="*/ 18979 w 165529"/>
                  <a:gd name="connsiteY23" fmla="*/ 237987 h 318248"/>
                  <a:gd name="connsiteX24" fmla="*/ 11549 w 165529"/>
                  <a:gd name="connsiteY24" fmla="*/ 223128 h 318248"/>
                  <a:gd name="connsiteX25" fmla="*/ 33572 w 165529"/>
                  <a:gd name="connsiteY25" fmla="*/ 146975 h 318248"/>
                  <a:gd name="connsiteX26" fmla="*/ 1732 w 165529"/>
                  <a:gd name="connsiteY26" fmla="*/ 129728 h 318248"/>
                  <a:gd name="connsiteX27" fmla="*/ 5977 w 165529"/>
                  <a:gd name="connsiteY27" fmla="*/ 113012 h 318248"/>
                  <a:gd name="connsiteX28" fmla="*/ 53473 w 165529"/>
                  <a:gd name="connsiteY28" fmla="*/ 95499 h 318248"/>
                  <a:gd name="connsiteX29" fmla="*/ 61964 w 165529"/>
                  <a:gd name="connsiteY29" fmla="*/ 56229 h 318248"/>
                  <a:gd name="connsiteX30" fmla="*/ 75496 w 165529"/>
                  <a:gd name="connsiteY30" fmla="*/ 56229 h 318248"/>
                  <a:gd name="connsiteX31" fmla="*/ 84783 w 165529"/>
                  <a:gd name="connsiteY31" fmla="*/ 69762 h 318248"/>
                  <a:gd name="connsiteX32" fmla="*/ 99907 w 165529"/>
                  <a:gd name="connsiteY32" fmla="*/ 33941 h 318248"/>
                  <a:gd name="connsiteX33" fmla="*/ 109725 w 165529"/>
                  <a:gd name="connsiteY33" fmla="*/ 55964 h 318248"/>
                  <a:gd name="connsiteX34" fmla="*/ 124584 w 165529"/>
                  <a:gd name="connsiteY34" fmla="*/ 50923 h 318248"/>
                  <a:gd name="connsiteX35" fmla="*/ 132279 w 165529"/>
                  <a:gd name="connsiteY35" fmla="*/ 2100 h 318248"/>
                  <a:gd name="connsiteX36" fmla="*/ 132279 w 165529"/>
                  <a:gd name="connsiteY36" fmla="*/ 2100 h 318248"/>
                  <a:gd name="connsiteX37" fmla="*/ 63556 w 165529"/>
                  <a:gd name="connsiteY37" fmla="*/ 193940 h 318248"/>
                  <a:gd name="connsiteX38" fmla="*/ 51350 w 165529"/>
                  <a:gd name="connsiteY38" fmla="*/ 215963 h 318248"/>
                  <a:gd name="connsiteX39" fmla="*/ 61168 w 165529"/>
                  <a:gd name="connsiteY39" fmla="*/ 215963 h 318248"/>
                  <a:gd name="connsiteX40" fmla="*/ 70985 w 165529"/>
                  <a:gd name="connsiteY40" fmla="*/ 196328 h 318248"/>
                  <a:gd name="connsiteX41" fmla="*/ 63556 w 165529"/>
                  <a:gd name="connsiteY41" fmla="*/ 193940 h 318248"/>
                  <a:gd name="connsiteX42" fmla="*/ 63556 w 165529"/>
                  <a:gd name="connsiteY42" fmla="*/ 193940 h 318248"/>
                  <a:gd name="connsiteX43" fmla="*/ 63556 w 165529"/>
                  <a:gd name="connsiteY43" fmla="*/ 164488 h 318248"/>
                  <a:gd name="connsiteX44" fmla="*/ 65944 w 165529"/>
                  <a:gd name="connsiteY44" fmla="*/ 179347 h 318248"/>
                  <a:gd name="connsiteX45" fmla="*/ 68332 w 165529"/>
                  <a:gd name="connsiteY45" fmla="*/ 179347 h 318248"/>
                  <a:gd name="connsiteX46" fmla="*/ 75761 w 165529"/>
                  <a:gd name="connsiteY46" fmla="*/ 164488 h 318248"/>
                  <a:gd name="connsiteX47" fmla="*/ 63556 w 165529"/>
                  <a:gd name="connsiteY47" fmla="*/ 164488 h 318248"/>
                  <a:gd name="connsiteX48" fmla="*/ 63556 w 165529"/>
                  <a:gd name="connsiteY48" fmla="*/ 164488 h 318248"/>
                  <a:gd name="connsiteX49" fmla="*/ 60902 w 165529"/>
                  <a:gd name="connsiteY49" fmla="*/ 115135 h 318248"/>
                  <a:gd name="connsiteX50" fmla="*/ 46309 w 165529"/>
                  <a:gd name="connsiteY50" fmla="*/ 132382 h 318248"/>
                  <a:gd name="connsiteX51" fmla="*/ 78149 w 165529"/>
                  <a:gd name="connsiteY51" fmla="*/ 147241 h 318248"/>
                  <a:gd name="connsiteX52" fmla="*/ 78149 w 165529"/>
                  <a:gd name="connsiteY52" fmla="*/ 142199 h 318248"/>
                  <a:gd name="connsiteX53" fmla="*/ 78149 w 165529"/>
                  <a:gd name="connsiteY53" fmla="*/ 122564 h 318248"/>
                  <a:gd name="connsiteX54" fmla="*/ 73108 w 165529"/>
                  <a:gd name="connsiteY54" fmla="*/ 115135 h 318248"/>
                  <a:gd name="connsiteX55" fmla="*/ 60902 w 165529"/>
                  <a:gd name="connsiteY55" fmla="*/ 115135 h 318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165529" h="318248">
                    <a:moveTo>
                      <a:pt x="132279" y="2100"/>
                    </a:moveTo>
                    <a:cubicBezTo>
                      <a:pt x="138381" y="-1084"/>
                      <a:pt x="146076" y="-288"/>
                      <a:pt x="151914" y="2100"/>
                    </a:cubicBezTo>
                    <a:cubicBezTo>
                      <a:pt x="163323" y="8734"/>
                      <a:pt x="165446" y="23858"/>
                      <a:pt x="161731" y="43758"/>
                    </a:cubicBezTo>
                    <a:cubicBezTo>
                      <a:pt x="151383" y="72680"/>
                      <a:pt x="102561" y="78252"/>
                      <a:pt x="109990" y="107705"/>
                    </a:cubicBezTo>
                    <a:cubicBezTo>
                      <a:pt x="111582" y="107705"/>
                      <a:pt x="113174" y="107705"/>
                      <a:pt x="115032" y="107705"/>
                    </a:cubicBezTo>
                    <a:cubicBezTo>
                      <a:pt x="128564" y="107970"/>
                      <a:pt x="143954" y="106644"/>
                      <a:pt x="146872" y="117523"/>
                    </a:cubicBezTo>
                    <a:cubicBezTo>
                      <a:pt x="151383" y="126013"/>
                      <a:pt x="150587" y="135035"/>
                      <a:pt x="146872" y="139546"/>
                    </a:cubicBezTo>
                    <a:cubicBezTo>
                      <a:pt x="138647" y="144587"/>
                      <a:pt x="123522" y="143791"/>
                      <a:pt x="122196" y="154405"/>
                    </a:cubicBezTo>
                    <a:cubicBezTo>
                      <a:pt x="131217" y="163957"/>
                      <a:pt x="133871" y="172979"/>
                      <a:pt x="132013" y="186245"/>
                    </a:cubicBezTo>
                    <a:cubicBezTo>
                      <a:pt x="125114" y="201370"/>
                      <a:pt x="116624" y="215433"/>
                      <a:pt x="102561" y="223128"/>
                    </a:cubicBezTo>
                    <a:cubicBezTo>
                      <a:pt x="103357" y="226312"/>
                      <a:pt x="104153" y="229761"/>
                      <a:pt x="104949" y="232945"/>
                    </a:cubicBezTo>
                    <a:cubicBezTo>
                      <a:pt x="124318" y="232945"/>
                      <a:pt x="124053" y="230557"/>
                      <a:pt x="136789" y="215698"/>
                    </a:cubicBezTo>
                    <a:cubicBezTo>
                      <a:pt x="150587" y="209065"/>
                      <a:pt x="156690" y="214106"/>
                      <a:pt x="163854" y="220740"/>
                    </a:cubicBezTo>
                    <a:cubicBezTo>
                      <a:pt x="168365" y="233741"/>
                      <a:pt x="163323" y="239048"/>
                      <a:pt x="154036" y="245416"/>
                    </a:cubicBezTo>
                    <a:cubicBezTo>
                      <a:pt x="135197" y="251254"/>
                      <a:pt x="116358" y="256826"/>
                      <a:pt x="97519" y="262663"/>
                    </a:cubicBezTo>
                    <a:cubicBezTo>
                      <a:pt x="96723" y="265051"/>
                      <a:pt x="95927" y="267705"/>
                      <a:pt x="95131" y="270093"/>
                    </a:cubicBezTo>
                    <a:cubicBezTo>
                      <a:pt x="88763" y="281237"/>
                      <a:pt x="64882" y="326079"/>
                      <a:pt x="29858" y="317058"/>
                    </a:cubicBezTo>
                    <a:cubicBezTo>
                      <a:pt x="24551" y="312812"/>
                      <a:pt x="54004" y="291585"/>
                      <a:pt x="55861" y="289728"/>
                    </a:cubicBezTo>
                    <a:cubicBezTo>
                      <a:pt x="56392" y="285748"/>
                      <a:pt x="54799" y="282033"/>
                      <a:pt x="53207" y="278849"/>
                    </a:cubicBezTo>
                    <a:cubicBezTo>
                      <a:pt x="44982" y="275665"/>
                      <a:pt x="35430" y="278584"/>
                      <a:pt x="27735" y="275134"/>
                    </a:cubicBezTo>
                    <a:cubicBezTo>
                      <a:pt x="24020" y="270623"/>
                      <a:pt x="24816" y="257622"/>
                      <a:pt x="33838" y="255234"/>
                    </a:cubicBezTo>
                    <a:cubicBezTo>
                      <a:pt x="49493" y="253111"/>
                      <a:pt x="62760" y="245947"/>
                      <a:pt x="70720" y="235599"/>
                    </a:cubicBezTo>
                    <a:cubicBezTo>
                      <a:pt x="69128" y="234007"/>
                      <a:pt x="67536" y="232415"/>
                      <a:pt x="65678" y="230557"/>
                    </a:cubicBezTo>
                    <a:cubicBezTo>
                      <a:pt x="44982" y="236129"/>
                      <a:pt x="38879" y="242232"/>
                      <a:pt x="18979" y="237987"/>
                    </a:cubicBezTo>
                    <a:cubicBezTo>
                      <a:pt x="14468" y="235599"/>
                      <a:pt x="11815" y="231884"/>
                      <a:pt x="11549" y="223128"/>
                    </a:cubicBezTo>
                    <a:cubicBezTo>
                      <a:pt x="1732" y="199778"/>
                      <a:pt x="37287" y="189960"/>
                      <a:pt x="33572" y="146975"/>
                    </a:cubicBezTo>
                    <a:cubicBezTo>
                      <a:pt x="26674" y="138219"/>
                      <a:pt x="17121" y="139811"/>
                      <a:pt x="1732" y="129728"/>
                    </a:cubicBezTo>
                    <a:cubicBezTo>
                      <a:pt x="-1983" y="123625"/>
                      <a:pt x="670" y="115931"/>
                      <a:pt x="5977" y="113012"/>
                    </a:cubicBezTo>
                    <a:cubicBezTo>
                      <a:pt x="22428" y="110093"/>
                      <a:pt x="49227" y="109032"/>
                      <a:pt x="53473" y="95499"/>
                    </a:cubicBezTo>
                    <a:cubicBezTo>
                      <a:pt x="57453" y="82498"/>
                      <a:pt x="51881" y="69231"/>
                      <a:pt x="61964" y="56229"/>
                    </a:cubicBezTo>
                    <a:cubicBezTo>
                      <a:pt x="66209" y="55699"/>
                      <a:pt x="70985" y="54372"/>
                      <a:pt x="75496" y="56229"/>
                    </a:cubicBezTo>
                    <a:cubicBezTo>
                      <a:pt x="79211" y="66312"/>
                      <a:pt x="74169" y="65782"/>
                      <a:pt x="84783" y="69762"/>
                    </a:cubicBezTo>
                    <a:cubicBezTo>
                      <a:pt x="89294" y="49330"/>
                      <a:pt x="77619" y="31022"/>
                      <a:pt x="99907" y="33941"/>
                    </a:cubicBezTo>
                    <a:cubicBezTo>
                      <a:pt x="102030" y="44554"/>
                      <a:pt x="103357" y="50126"/>
                      <a:pt x="109725" y="55964"/>
                    </a:cubicBezTo>
                    <a:cubicBezTo>
                      <a:pt x="117685" y="55964"/>
                      <a:pt x="118746" y="56760"/>
                      <a:pt x="124584" y="50923"/>
                    </a:cubicBezTo>
                    <a:cubicBezTo>
                      <a:pt x="124053" y="30226"/>
                      <a:pt x="125645" y="2100"/>
                      <a:pt x="132279" y="2100"/>
                    </a:cubicBezTo>
                    <a:lnTo>
                      <a:pt x="132279" y="2100"/>
                    </a:lnTo>
                    <a:close/>
                    <a:moveTo>
                      <a:pt x="63556" y="193940"/>
                    </a:moveTo>
                    <a:cubicBezTo>
                      <a:pt x="56392" y="201635"/>
                      <a:pt x="53738" y="202431"/>
                      <a:pt x="51350" y="215963"/>
                    </a:cubicBezTo>
                    <a:cubicBezTo>
                      <a:pt x="54534" y="215963"/>
                      <a:pt x="57984" y="215963"/>
                      <a:pt x="61168" y="215963"/>
                    </a:cubicBezTo>
                    <a:cubicBezTo>
                      <a:pt x="68862" y="209861"/>
                      <a:pt x="69659" y="209861"/>
                      <a:pt x="70985" y="196328"/>
                    </a:cubicBezTo>
                    <a:cubicBezTo>
                      <a:pt x="68332" y="195532"/>
                      <a:pt x="65944" y="194736"/>
                      <a:pt x="63556" y="193940"/>
                    </a:cubicBezTo>
                    <a:lnTo>
                      <a:pt x="63556" y="193940"/>
                    </a:lnTo>
                    <a:close/>
                    <a:moveTo>
                      <a:pt x="63556" y="164488"/>
                    </a:moveTo>
                    <a:cubicBezTo>
                      <a:pt x="64352" y="169529"/>
                      <a:pt x="65148" y="174305"/>
                      <a:pt x="65944" y="179347"/>
                    </a:cubicBezTo>
                    <a:cubicBezTo>
                      <a:pt x="66740" y="179347"/>
                      <a:pt x="67536" y="179347"/>
                      <a:pt x="68332" y="179347"/>
                    </a:cubicBezTo>
                    <a:cubicBezTo>
                      <a:pt x="79741" y="174836"/>
                      <a:pt x="77884" y="175632"/>
                      <a:pt x="75761" y="164488"/>
                    </a:cubicBezTo>
                    <a:cubicBezTo>
                      <a:pt x="71516" y="164488"/>
                      <a:pt x="67536" y="164488"/>
                      <a:pt x="63556" y="164488"/>
                    </a:cubicBezTo>
                    <a:lnTo>
                      <a:pt x="63556" y="164488"/>
                    </a:lnTo>
                    <a:close/>
                    <a:moveTo>
                      <a:pt x="60902" y="115135"/>
                    </a:moveTo>
                    <a:cubicBezTo>
                      <a:pt x="56126" y="120972"/>
                      <a:pt x="51085" y="126544"/>
                      <a:pt x="46309" y="132382"/>
                    </a:cubicBezTo>
                    <a:cubicBezTo>
                      <a:pt x="53473" y="144322"/>
                      <a:pt x="57984" y="147771"/>
                      <a:pt x="78149" y="147241"/>
                    </a:cubicBezTo>
                    <a:cubicBezTo>
                      <a:pt x="78149" y="145649"/>
                      <a:pt x="78149" y="144057"/>
                      <a:pt x="78149" y="142199"/>
                    </a:cubicBezTo>
                    <a:cubicBezTo>
                      <a:pt x="78149" y="135566"/>
                      <a:pt x="78149" y="129198"/>
                      <a:pt x="78149" y="122564"/>
                    </a:cubicBezTo>
                    <a:cubicBezTo>
                      <a:pt x="76557" y="120176"/>
                      <a:pt x="74965" y="117523"/>
                      <a:pt x="73108" y="115135"/>
                    </a:cubicBezTo>
                    <a:cubicBezTo>
                      <a:pt x="69128" y="115135"/>
                      <a:pt x="65148" y="115135"/>
                      <a:pt x="60902" y="115135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" name="ïṧlïḑê">
                <a:extLst>
                  <a:ext uri="{FF2B5EF4-FFF2-40B4-BE49-F238E27FC236}">
                    <a16:creationId xmlns:a16="http://schemas.microsoft.com/office/drawing/2014/main" id="{D47B441A-9ED6-4C85-B195-2548E8221A9F}"/>
                  </a:ext>
                </a:extLst>
              </p:cNvPr>
              <p:cNvSpPr/>
              <p:nvPr/>
            </p:nvSpPr>
            <p:spPr>
              <a:xfrm>
                <a:off x="2241662" y="1514923"/>
                <a:ext cx="54313" cy="101530"/>
              </a:xfrm>
              <a:custGeom>
                <a:avLst/>
                <a:gdLst>
                  <a:gd name="connsiteX0" fmla="*/ 17960 w 54313"/>
                  <a:gd name="connsiteY0" fmla="*/ 0 h 101530"/>
                  <a:gd name="connsiteX1" fmla="*/ 54312 w 54313"/>
                  <a:gd name="connsiteY1" fmla="*/ 42454 h 101530"/>
                  <a:gd name="connsiteX2" fmla="*/ 7612 w 54313"/>
                  <a:gd name="connsiteY2" fmla="*/ 101360 h 101530"/>
                  <a:gd name="connsiteX3" fmla="*/ 182 w 54313"/>
                  <a:gd name="connsiteY3" fmla="*/ 84113 h 101530"/>
                  <a:gd name="connsiteX4" fmla="*/ 17960 w 54313"/>
                  <a:gd name="connsiteY4" fmla="*/ 0 h 101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313" h="101530">
                    <a:moveTo>
                      <a:pt x="17960" y="0"/>
                    </a:moveTo>
                    <a:cubicBezTo>
                      <a:pt x="29370" y="3449"/>
                      <a:pt x="46617" y="15920"/>
                      <a:pt x="54312" y="42454"/>
                    </a:cubicBezTo>
                    <a:cubicBezTo>
                      <a:pt x="54577" y="55191"/>
                      <a:pt x="32023" y="104809"/>
                      <a:pt x="7612" y="101360"/>
                    </a:cubicBezTo>
                    <a:cubicBezTo>
                      <a:pt x="2836" y="97910"/>
                      <a:pt x="-879" y="95787"/>
                      <a:pt x="182" y="84113"/>
                    </a:cubicBezTo>
                    <a:cubicBezTo>
                      <a:pt x="13980" y="56517"/>
                      <a:pt x="-1675" y="14063"/>
                      <a:pt x="17960" y="0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" name="ïṡľîḓè">
                <a:extLst>
                  <a:ext uri="{FF2B5EF4-FFF2-40B4-BE49-F238E27FC236}">
                    <a16:creationId xmlns:a16="http://schemas.microsoft.com/office/drawing/2014/main" id="{45309C42-7346-4929-9A7E-26E4CA60AA28}"/>
                  </a:ext>
                </a:extLst>
              </p:cNvPr>
              <p:cNvSpPr/>
              <p:nvPr/>
            </p:nvSpPr>
            <p:spPr>
              <a:xfrm>
                <a:off x="3250014" y="1518573"/>
                <a:ext cx="263071" cy="354315"/>
              </a:xfrm>
              <a:custGeom>
                <a:avLst/>
                <a:gdLst>
                  <a:gd name="connsiteX0" fmla="*/ 184265 w 263071"/>
                  <a:gd name="connsiteY0" fmla="*/ 1923 h 354315"/>
                  <a:gd name="connsiteX1" fmla="*/ 238395 w 263071"/>
                  <a:gd name="connsiteY1" fmla="*/ 65870 h 354315"/>
                  <a:gd name="connsiteX2" fmla="*/ 206554 w 263071"/>
                  <a:gd name="connsiteY2" fmla="*/ 161657 h 354315"/>
                  <a:gd name="connsiteX3" fmla="*/ 213983 w 263071"/>
                  <a:gd name="connsiteY3" fmla="*/ 161657 h 354315"/>
                  <a:gd name="connsiteX4" fmla="*/ 238660 w 263071"/>
                  <a:gd name="connsiteY4" fmla="*/ 136981 h 354315"/>
                  <a:gd name="connsiteX5" fmla="*/ 250866 w 263071"/>
                  <a:gd name="connsiteY5" fmla="*/ 139369 h 354315"/>
                  <a:gd name="connsiteX6" fmla="*/ 263071 w 263071"/>
                  <a:gd name="connsiteY6" fmla="*/ 156616 h 354315"/>
                  <a:gd name="connsiteX7" fmla="*/ 194348 w 263071"/>
                  <a:gd name="connsiteY7" fmla="*/ 208357 h 354315"/>
                  <a:gd name="connsiteX8" fmla="*/ 86090 w 263071"/>
                  <a:gd name="connsiteY8" fmla="*/ 336250 h 354315"/>
                  <a:gd name="connsiteX9" fmla="*/ 14714 w 263071"/>
                  <a:gd name="connsiteY9" fmla="*/ 351109 h 354315"/>
                  <a:gd name="connsiteX10" fmla="*/ 4896 w 263071"/>
                  <a:gd name="connsiteY10" fmla="*/ 329086 h 354315"/>
                  <a:gd name="connsiteX11" fmla="*/ 122972 w 263071"/>
                  <a:gd name="connsiteY11" fmla="*/ 220828 h 354315"/>
                  <a:gd name="connsiteX12" fmla="*/ 37002 w 263071"/>
                  <a:gd name="connsiteY12" fmla="*/ 238075 h 354315"/>
                  <a:gd name="connsiteX13" fmla="*/ 27184 w 263071"/>
                  <a:gd name="connsiteY13" fmla="*/ 233033 h 354315"/>
                  <a:gd name="connsiteX14" fmla="*/ 32226 w 263071"/>
                  <a:gd name="connsiteY14" fmla="*/ 213398 h 354315"/>
                  <a:gd name="connsiteX15" fmla="*/ 172325 w 263071"/>
                  <a:gd name="connsiteY15" fmla="*/ 117611 h 354315"/>
                  <a:gd name="connsiteX16" fmla="*/ 189572 w 263071"/>
                  <a:gd name="connsiteY16" fmla="*/ 65870 h 354315"/>
                  <a:gd name="connsiteX17" fmla="*/ 157731 w 263071"/>
                  <a:gd name="connsiteY17" fmla="*/ 9352 h 354315"/>
                  <a:gd name="connsiteX18" fmla="*/ 184265 w 263071"/>
                  <a:gd name="connsiteY18" fmla="*/ 1923 h 3543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63071" h="354315">
                    <a:moveTo>
                      <a:pt x="184265" y="1923"/>
                    </a:moveTo>
                    <a:cubicBezTo>
                      <a:pt x="202308" y="21558"/>
                      <a:pt x="222474" y="27926"/>
                      <a:pt x="238395" y="65870"/>
                    </a:cubicBezTo>
                    <a:cubicBezTo>
                      <a:pt x="241844" y="95322"/>
                      <a:pt x="197798" y="139103"/>
                      <a:pt x="206554" y="161657"/>
                    </a:cubicBezTo>
                    <a:cubicBezTo>
                      <a:pt x="208942" y="161657"/>
                      <a:pt x="211595" y="161657"/>
                      <a:pt x="213983" y="161657"/>
                    </a:cubicBezTo>
                    <a:cubicBezTo>
                      <a:pt x="222209" y="153432"/>
                      <a:pt x="230434" y="145206"/>
                      <a:pt x="238660" y="136981"/>
                    </a:cubicBezTo>
                    <a:cubicBezTo>
                      <a:pt x="242640" y="137777"/>
                      <a:pt x="246885" y="138573"/>
                      <a:pt x="250866" y="139369"/>
                    </a:cubicBezTo>
                    <a:cubicBezTo>
                      <a:pt x="259091" y="144145"/>
                      <a:pt x="260683" y="145206"/>
                      <a:pt x="263071" y="156616"/>
                    </a:cubicBezTo>
                    <a:cubicBezTo>
                      <a:pt x="245293" y="181558"/>
                      <a:pt x="215841" y="187395"/>
                      <a:pt x="194348" y="208357"/>
                    </a:cubicBezTo>
                    <a:cubicBezTo>
                      <a:pt x="158262" y="251076"/>
                      <a:pt x="122176" y="293531"/>
                      <a:pt x="86090" y="336250"/>
                    </a:cubicBezTo>
                    <a:cubicBezTo>
                      <a:pt x="69108" y="350048"/>
                      <a:pt x="58760" y="359600"/>
                      <a:pt x="14714" y="351109"/>
                    </a:cubicBezTo>
                    <a:cubicBezTo>
                      <a:pt x="3039" y="345272"/>
                      <a:pt x="-5983" y="333862"/>
                      <a:pt x="4896" y="329086"/>
                    </a:cubicBezTo>
                    <a:cubicBezTo>
                      <a:pt x="55576" y="318738"/>
                      <a:pt x="107317" y="264343"/>
                      <a:pt x="122972" y="220828"/>
                    </a:cubicBezTo>
                    <a:cubicBezTo>
                      <a:pt x="99357" y="226134"/>
                      <a:pt x="68577" y="250280"/>
                      <a:pt x="37002" y="238075"/>
                    </a:cubicBezTo>
                    <a:cubicBezTo>
                      <a:pt x="33818" y="236483"/>
                      <a:pt x="31961" y="235687"/>
                      <a:pt x="27184" y="233033"/>
                    </a:cubicBezTo>
                    <a:cubicBezTo>
                      <a:pt x="24000" y="221358"/>
                      <a:pt x="25858" y="218174"/>
                      <a:pt x="32226" y="213398"/>
                    </a:cubicBezTo>
                    <a:cubicBezTo>
                      <a:pt x="127748" y="198009"/>
                      <a:pt x="156670" y="195090"/>
                      <a:pt x="172325" y="117611"/>
                    </a:cubicBezTo>
                    <a:cubicBezTo>
                      <a:pt x="178693" y="105670"/>
                      <a:pt x="194348" y="86035"/>
                      <a:pt x="189572" y="65870"/>
                    </a:cubicBezTo>
                    <a:cubicBezTo>
                      <a:pt x="184531" y="44377"/>
                      <a:pt x="161977" y="35886"/>
                      <a:pt x="157731" y="9352"/>
                    </a:cubicBezTo>
                    <a:cubicBezTo>
                      <a:pt x="159058" y="596"/>
                      <a:pt x="167814" y="-2323"/>
                      <a:pt x="184265" y="1923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" name="iṩlîďe">
                <a:extLst>
                  <a:ext uri="{FF2B5EF4-FFF2-40B4-BE49-F238E27FC236}">
                    <a16:creationId xmlns:a16="http://schemas.microsoft.com/office/drawing/2014/main" id="{B387207C-5EDC-4EF7-B367-F710ECA35415}"/>
                  </a:ext>
                </a:extLst>
              </p:cNvPr>
              <p:cNvSpPr/>
              <p:nvPr/>
            </p:nvSpPr>
            <p:spPr>
              <a:xfrm>
                <a:off x="2905824" y="1542784"/>
                <a:ext cx="284873" cy="305018"/>
              </a:xfrm>
              <a:custGeom>
                <a:avLst/>
                <a:gdLst>
                  <a:gd name="connsiteX0" fmla="*/ 95687 w 284873"/>
                  <a:gd name="connsiteY0" fmla="*/ 199004 h 305018"/>
                  <a:gd name="connsiteX1" fmla="*/ 107892 w 284873"/>
                  <a:gd name="connsiteY1" fmla="*/ 199004 h 305018"/>
                  <a:gd name="connsiteX2" fmla="*/ 152204 w 284873"/>
                  <a:gd name="connsiteY2" fmla="*/ 142487 h 305018"/>
                  <a:gd name="connsiteX3" fmla="*/ 186698 w 284873"/>
                  <a:gd name="connsiteY3" fmla="*/ 147529 h 305018"/>
                  <a:gd name="connsiteX4" fmla="*/ 211375 w 284873"/>
                  <a:gd name="connsiteY4" fmla="*/ 122852 h 305018"/>
                  <a:gd name="connsiteX5" fmla="*/ 238439 w 284873"/>
                  <a:gd name="connsiteY5" fmla="*/ 122852 h 305018"/>
                  <a:gd name="connsiteX6" fmla="*/ 255421 w 284873"/>
                  <a:gd name="connsiteY6" fmla="*/ 159469 h 305018"/>
                  <a:gd name="connsiteX7" fmla="*/ 240562 w 284873"/>
                  <a:gd name="connsiteY7" fmla="*/ 171674 h 305018"/>
                  <a:gd name="connsiteX8" fmla="*/ 255421 w 284873"/>
                  <a:gd name="connsiteY8" fmla="*/ 198739 h 305018"/>
                  <a:gd name="connsiteX9" fmla="*/ 211109 w 284873"/>
                  <a:gd name="connsiteY9" fmla="*/ 260298 h 305018"/>
                  <a:gd name="connsiteX10" fmla="*/ 284874 w 284873"/>
                  <a:gd name="connsiteY10" fmla="*/ 265339 h 305018"/>
                  <a:gd name="connsiteX11" fmla="*/ 282486 w 284873"/>
                  <a:gd name="connsiteY11" fmla="*/ 282586 h 305018"/>
                  <a:gd name="connsiteX12" fmla="*/ 171839 w 284873"/>
                  <a:gd name="connsiteY12" fmla="*/ 267727 h 305018"/>
                  <a:gd name="connsiteX13" fmla="*/ 201292 w 284873"/>
                  <a:gd name="connsiteY13" fmla="*/ 208822 h 305018"/>
                  <a:gd name="connsiteX14" fmla="*/ 198904 w 284873"/>
                  <a:gd name="connsiteY14" fmla="*/ 184145 h 305018"/>
                  <a:gd name="connsiteX15" fmla="*/ 216151 w 284873"/>
                  <a:gd name="connsiteY15" fmla="*/ 171940 h 305018"/>
                  <a:gd name="connsiteX16" fmla="*/ 213763 w 284873"/>
                  <a:gd name="connsiteY16" fmla="*/ 154693 h 305018"/>
                  <a:gd name="connsiteX17" fmla="*/ 149816 w 284873"/>
                  <a:gd name="connsiteY17" fmla="*/ 171940 h 305018"/>
                  <a:gd name="connsiteX18" fmla="*/ 100994 w 284873"/>
                  <a:gd name="connsiteY18" fmla="*/ 259502 h 305018"/>
                  <a:gd name="connsiteX19" fmla="*/ 81093 w 284873"/>
                  <a:gd name="connsiteY19" fmla="*/ 275157 h 305018"/>
                  <a:gd name="connsiteX20" fmla="*/ 65173 w 284873"/>
                  <a:gd name="connsiteY20" fmla="*/ 267993 h 305018"/>
                  <a:gd name="connsiteX21" fmla="*/ 29617 w 284873"/>
                  <a:gd name="connsiteY21" fmla="*/ 304609 h 305018"/>
                  <a:gd name="connsiteX22" fmla="*/ 2553 w 284873"/>
                  <a:gd name="connsiteY22" fmla="*/ 297180 h 305018"/>
                  <a:gd name="connsiteX23" fmla="*/ 71276 w 284873"/>
                  <a:gd name="connsiteY23" fmla="*/ 215986 h 305018"/>
                  <a:gd name="connsiteX24" fmla="*/ 71276 w 284873"/>
                  <a:gd name="connsiteY24" fmla="*/ 159469 h 305018"/>
                  <a:gd name="connsiteX25" fmla="*/ 61458 w 284873"/>
                  <a:gd name="connsiteY25" fmla="*/ 159469 h 305018"/>
                  <a:gd name="connsiteX26" fmla="*/ 29617 w 284873"/>
                  <a:gd name="connsiteY26" fmla="*/ 174328 h 305018"/>
                  <a:gd name="connsiteX27" fmla="*/ 17412 w 284873"/>
                  <a:gd name="connsiteY27" fmla="*/ 162122 h 305018"/>
                  <a:gd name="connsiteX28" fmla="*/ 135488 w 284873"/>
                  <a:gd name="connsiteY28" fmla="*/ 0 h 305018"/>
                  <a:gd name="connsiteX29" fmla="*/ 164940 w 284873"/>
                  <a:gd name="connsiteY29" fmla="*/ 9818 h 305018"/>
                  <a:gd name="connsiteX30" fmla="*/ 164940 w 284873"/>
                  <a:gd name="connsiteY30" fmla="*/ 12206 h 305018"/>
                  <a:gd name="connsiteX31" fmla="*/ 152735 w 284873"/>
                  <a:gd name="connsiteY31" fmla="*/ 53864 h 305018"/>
                  <a:gd name="connsiteX32" fmla="*/ 64377 w 284873"/>
                  <a:gd name="connsiteY32" fmla="*/ 125240 h 305018"/>
                  <a:gd name="connsiteX33" fmla="*/ 66765 w 284873"/>
                  <a:gd name="connsiteY33" fmla="*/ 130282 h 305018"/>
                  <a:gd name="connsiteX34" fmla="*/ 69153 w 284873"/>
                  <a:gd name="connsiteY34" fmla="*/ 130282 h 305018"/>
                  <a:gd name="connsiteX35" fmla="*/ 78970 w 284873"/>
                  <a:gd name="connsiteY35" fmla="*/ 127893 h 305018"/>
                  <a:gd name="connsiteX36" fmla="*/ 128058 w 284873"/>
                  <a:gd name="connsiteY36" fmla="*/ 83582 h 305018"/>
                  <a:gd name="connsiteX37" fmla="*/ 133100 w 284873"/>
                  <a:gd name="connsiteY37" fmla="*/ 85970 h 305018"/>
                  <a:gd name="connsiteX38" fmla="*/ 133100 w 284873"/>
                  <a:gd name="connsiteY38" fmla="*/ 117811 h 305018"/>
                  <a:gd name="connsiteX39" fmla="*/ 95687 w 284873"/>
                  <a:gd name="connsiteY39" fmla="*/ 199004 h 305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284873" h="305018">
                    <a:moveTo>
                      <a:pt x="95687" y="199004"/>
                    </a:moveTo>
                    <a:cubicBezTo>
                      <a:pt x="99667" y="199004"/>
                      <a:pt x="103912" y="199004"/>
                      <a:pt x="107892" y="199004"/>
                    </a:cubicBezTo>
                    <a:cubicBezTo>
                      <a:pt x="122751" y="180165"/>
                      <a:pt x="137345" y="161326"/>
                      <a:pt x="152204" y="142487"/>
                    </a:cubicBezTo>
                    <a:cubicBezTo>
                      <a:pt x="170778" y="145937"/>
                      <a:pt x="171574" y="153366"/>
                      <a:pt x="186698" y="147529"/>
                    </a:cubicBezTo>
                    <a:cubicBezTo>
                      <a:pt x="191740" y="137180"/>
                      <a:pt x="202353" y="129486"/>
                      <a:pt x="211375" y="122852"/>
                    </a:cubicBezTo>
                    <a:cubicBezTo>
                      <a:pt x="220396" y="122852"/>
                      <a:pt x="229418" y="122852"/>
                      <a:pt x="238439" y="122852"/>
                    </a:cubicBezTo>
                    <a:cubicBezTo>
                      <a:pt x="244807" y="138772"/>
                      <a:pt x="253298" y="138242"/>
                      <a:pt x="255421" y="159469"/>
                    </a:cubicBezTo>
                    <a:cubicBezTo>
                      <a:pt x="250380" y="163449"/>
                      <a:pt x="245604" y="167694"/>
                      <a:pt x="240562" y="171674"/>
                    </a:cubicBezTo>
                    <a:cubicBezTo>
                      <a:pt x="247196" y="184676"/>
                      <a:pt x="252768" y="179900"/>
                      <a:pt x="255421" y="198739"/>
                    </a:cubicBezTo>
                    <a:cubicBezTo>
                      <a:pt x="244807" y="223946"/>
                      <a:pt x="219335" y="235887"/>
                      <a:pt x="211109" y="260298"/>
                    </a:cubicBezTo>
                    <a:cubicBezTo>
                      <a:pt x="229418" y="266135"/>
                      <a:pt x="283282" y="232172"/>
                      <a:pt x="284874" y="265339"/>
                    </a:cubicBezTo>
                    <a:cubicBezTo>
                      <a:pt x="284078" y="271177"/>
                      <a:pt x="283282" y="276749"/>
                      <a:pt x="282486" y="282586"/>
                    </a:cubicBezTo>
                    <a:cubicBezTo>
                      <a:pt x="252502" y="291342"/>
                      <a:pt x="177677" y="306467"/>
                      <a:pt x="171839" y="267727"/>
                    </a:cubicBezTo>
                    <a:cubicBezTo>
                      <a:pt x="176085" y="236152"/>
                      <a:pt x="201823" y="239601"/>
                      <a:pt x="201292" y="208822"/>
                    </a:cubicBezTo>
                    <a:cubicBezTo>
                      <a:pt x="190944" y="194494"/>
                      <a:pt x="189086" y="198739"/>
                      <a:pt x="198904" y="184145"/>
                    </a:cubicBezTo>
                    <a:cubicBezTo>
                      <a:pt x="209517" y="181227"/>
                      <a:pt x="210579" y="179104"/>
                      <a:pt x="216151" y="171940"/>
                    </a:cubicBezTo>
                    <a:cubicBezTo>
                      <a:pt x="215355" y="166102"/>
                      <a:pt x="214559" y="160530"/>
                      <a:pt x="213763" y="154693"/>
                    </a:cubicBezTo>
                    <a:cubicBezTo>
                      <a:pt x="186167" y="187595"/>
                      <a:pt x="179003" y="173266"/>
                      <a:pt x="149816" y="171940"/>
                    </a:cubicBezTo>
                    <a:cubicBezTo>
                      <a:pt x="149020" y="173797"/>
                      <a:pt x="108954" y="212006"/>
                      <a:pt x="100994" y="259502"/>
                    </a:cubicBezTo>
                    <a:cubicBezTo>
                      <a:pt x="97279" y="281525"/>
                      <a:pt x="81358" y="274891"/>
                      <a:pt x="81093" y="275157"/>
                    </a:cubicBezTo>
                    <a:cubicBezTo>
                      <a:pt x="72602" y="273034"/>
                      <a:pt x="73398" y="266135"/>
                      <a:pt x="65173" y="267993"/>
                    </a:cubicBezTo>
                    <a:cubicBezTo>
                      <a:pt x="47395" y="275687"/>
                      <a:pt x="39435" y="292404"/>
                      <a:pt x="29617" y="304609"/>
                    </a:cubicBezTo>
                    <a:cubicBezTo>
                      <a:pt x="14758" y="305405"/>
                      <a:pt x="8390" y="305936"/>
                      <a:pt x="2553" y="297180"/>
                    </a:cubicBezTo>
                    <a:cubicBezTo>
                      <a:pt x="-13102" y="257379"/>
                      <a:pt x="47395" y="227396"/>
                      <a:pt x="71276" y="215986"/>
                    </a:cubicBezTo>
                    <a:cubicBezTo>
                      <a:pt x="71276" y="197147"/>
                      <a:pt x="71276" y="178308"/>
                      <a:pt x="71276" y="159469"/>
                    </a:cubicBezTo>
                    <a:cubicBezTo>
                      <a:pt x="68091" y="159469"/>
                      <a:pt x="64642" y="159469"/>
                      <a:pt x="61458" y="159469"/>
                    </a:cubicBezTo>
                    <a:cubicBezTo>
                      <a:pt x="50579" y="168490"/>
                      <a:pt x="50048" y="173532"/>
                      <a:pt x="29617" y="174328"/>
                    </a:cubicBezTo>
                    <a:cubicBezTo>
                      <a:pt x="25637" y="170348"/>
                      <a:pt x="21392" y="166102"/>
                      <a:pt x="17412" y="162122"/>
                    </a:cubicBezTo>
                    <a:cubicBezTo>
                      <a:pt x="24045" y="88623"/>
                      <a:pt x="116649" y="66069"/>
                      <a:pt x="135488" y="0"/>
                    </a:cubicBezTo>
                    <a:cubicBezTo>
                      <a:pt x="153531" y="0"/>
                      <a:pt x="155388" y="3184"/>
                      <a:pt x="164940" y="9818"/>
                    </a:cubicBezTo>
                    <a:cubicBezTo>
                      <a:pt x="164940" y="10614"/>
                      <a:pt x="164940" y="11410"/>
                      <a:pt x="164940" y="12206"/>
                    </a:cubicBezTo>
                    <a:cubicBezTo>
                      <a:pt x="165736" y="36351"/>
                      <a:pt x="161756" y="41924"/>
                      <a:pt x="152735" y="53864"/>
                    </a:cubicBezTo>
                    <a:cubicBezTo>
                      <a:pt x="116649" y="57579"/>
                      <a:pt x="71806" y="93134"/>
                      <a:pt x="64377" y="125240"/>
                    </a:cubicBezTo>
                    <a:cubicBezTo>
                      <a:pt x="65173" y="126832"/>
                      <a:pt x="65969" y="128424"/>
                      <a:pt x="66765" y="130282"/>
                    </a:cubicBezTo>
                    <a:cubicBezTo>
                      <a:pt x="67561" y="130282"/>
                      <a:pt x="68357" y="130282"/>
                      <a:pt x="69153" y="130282"/>
                    </a:cubicBezTo>
                    <a:cubicBezTo>
                      <a:pt x="72337" y="129486"/>
                      <a:pt x="75786" y="128690"/>
                      <a:pt x="78970" y="127893"/>
                    </a:cubicBezTo>
                    <a:cubicBezTo>
                      <a:pt x="100463" y="116749"/>
                      <a:pt x="102055" y="90746"/>
                      <a:pt x="128058" y="83582"/>
                    </a:cubicBezTo>
                    <a:cubicBezTo>
                      <a:pt x="129650" y="84378"/>
                      <a:pt x="131242" y="85174"/>
                      <a:pt x="133100" y="85970"/>
                    </a:cubicBezTo>
                    <a:cubicBezTo>
                      <a:pt x="138937" y="96849"/>
                      <a:pt x="136814" y="109054"/>
                      <a:pt x="133100" y="117811"/>
                    </a:cubicBezTo>
                    <a:cubicBezTo>
                      <a:pt x="106300" y="135323"/>
                      <a:pt x="94891" y="153366"/>
                      <a:pt x="95687" y="199004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" name="îŝ1íďê">
                <a:extLst>
                  <a:ext uri="{FF2B5EF4-FFF2-40B4-BE49-F238E27FC236}">
                    <a16:creationId xmlns:a16="http://schemas.microsoft.com/office/drawing/2014/main" id="{8F19BC75-2963-4033-B3E9-72793A4B2E7B}"/>
                  </a:ext>
                </a:extLst>
              </p:cNvPr>
              <p:cNvSpPr/>
              <p:nvPr/>
            </p:nvSpPr>
            <p:spPr>
              <a:xfrm>
                <a:off x="3095174" y="1535800"/>
                <a:ext cx="120200" cy="104941"/>
              </a:xfrm>
              <a:custGeom>
                <a:avLst/>
                <a:gdLst>
                  <a:gd name="connsiteX0" fmla="*/ 83318 w 120200"/>
                  <a:gd name="connsiteY0" fmla="*/ 6719 h 104941"/>
                  <a:gd name="connsiteX1" fmla="*/ 120200 w 120200"/>
                  <a:gd name="connsiteY1" fmla="*/ 9107 h 104941"/>
                  <a:gd name="connsiteX2" fmla="*/ 117812 w 120200"/>
                  <a:gd name="connsiteY2" fmla="*/ 26354 h 104941"/>
                  <a:gd name="connsiteX3" fmla="*/ 53866 w 120200"/>
                  <a:gd name="connsiteY3" fmla="*/ 104894 h 104941"/>
                  <a:gd name="connsiteX4" fmla="*/ 4778 w 120200"/>
                  <a:gd name="connsiteY4" fmla="*/ 95077 h 104941"/>
                  <a:gd name="connsiteX5" fmla="*/ 7166 w 120200"/>
                  <a:gd name="connsiteY5" fmla="*/ 60583 h 104941"/>
                  <a:gd name="connsiteX6" fmla="*/ 45375 w 120200"/>
                  <a:gd name="connsiteY6" fmla="*/ 69870 h 104941"/>
                  <a:gd name="connsiteX7" fmla="*/ 83318 w 120200"/>
                  <a:gd name="connsiteY7" fmla="*/ 6719 h 104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0200" h="104941">
                    <a:moveTo>
                      <a:pt x="83318" y="6719"/>
                    </a:moveTo>
                    <a:cubicBezTo>
                      <a:pt x="97646" y="-4160"/>
                      <a:pt x="107995" y="-711"/>
                      <a:pt x="120200" y="9107"/>
                    </a:cubicBezTo>
                    <a:cubicBezTo>
                      <a:pt x="119404" y="14944"/>
                      <a:pt x="118608" y="20516"/>
                      <a:pt x="117812" y="26354"/>
                    </a:cubicBezTo>
                    <a:cubicBezTo>
                      <a:pt x="117016" y="27946"/>
                      <a:pt x="74562" y="59256"/>
                      <a:pt x="53866" y="104894"/>
                    </a:cubicBezTo>
                    <a:cubicBezTo>
                      <a:pt x="30250" y="105425"/>
                      <a:pt x="19902" y="101445"/>
                      <a:pt x="4778" y="95077"/>
                    </a:cubicBezTo>
                    <a:cubicBezTo>
                      <a:pt x="-1060" y="87117"/>
                      <a:pt x="-2917" y="79952"/>
                      <a:pt x="7166" y="60583"/>
                    </a:cubicBezTo>
                    <a:cubicBezTo>
                      <a:pt x="34230" y="54480"/>
                      <a:pt x="24944" y="75176"/>
                      <a:pt x="45375" y="69870"/>
                    </a:cubicBezTo>
                    <a:cubicBezTo>
                      <a:pt x="56254" y="46254"/>
                      <a:pt x="72705" y="35110"/>
                      <a:pt x="83318" y="6719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" name="ïṩľíḓé">
                <a:extLst>
                  <a:ext uri="{FF2B5EF4-FFF2-40B4-BE49-F238E27FC236}">
                    <a16:creationId xmlns:a16="http://schemas.microsoft.com/office/drawing/2014/main" id="{5116FBCC-DFEC-4A10-A0CC-848EC8E975DB}"/>
                  </a:ext>
                </a:extLst>
              </p:cNvPr>
              <p:cNvSpPr/>
              <p:nvPr/>
            </p:nvSpPr>
            <p:spPr>
              <a:xfrm>
                <a:off x="2064775" y="1557378"/>
                <a:ext cx="46787" cy="62206"/>
              </a:xfrm>
              <a:custGeom>
                <a:avLst/>
                <a:gdLst>
                  <a:gd name="connsiteX0" fmla="*/ 5130 w 46787"/>
                  <a:gd name="connsiteY0" fmla="*/ 0 h 62206"/>
                  <a:gd name="connsiteX1" fmla="*/ 46788 w 46787"/>
                  <a:gd name="connsiteY1" fmla="*/ 41658 h 62206"/>
                  <a:gd name="connsiteX2" fmla="*/ 88 w 46787"/>
                  <a:gd name="connsiteY2" fmla="*/ 56517 h 62206"/>
                  <a:gd name="connsiteX3" fmla="*/ 5130 w 46787"/>
                  <a:gd name="connsiteY3" fmla="*/ 0 h 62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787" h="62206">
                    <a:moveTo>
                      <a:pt x="5130" y="0"/>
                    </a:moveTo>
                    <a:cubicBezTo>
                      <a:pt x="29010" y="3715"/>
                      <a:pt x="42542" y="18574"/>
                      <a:pt x="46788" y="41658"/>
                    </a:cubicBezTo>
                    <a:cubicBezTo>
                      <a:pt x="29275" y="56517"/>
                      <a:pt x="21315" y="70315"/>
                      <a:pt x="88" y="56517"/>
                    </a:cubicBezTo>
                    <a:cubicBezTo>
                      <a:pt x="-177" y="35290"/>
                      <a:pt x="-177" y="12206"/>
                      <a:pt x="5130" y="0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" name="îSḷîdé">
                <a:extLst>
                  <a:ext uri="{FF2B5EF4-FFF2-40B4-BE49-F238E27FC236}">
                    <a16:creationId xmlns:a16="http://schemas.microsoft.com/office/drawing/2014/main" id="{B7D3193D-2FF8-41DF-9AC2-FF41BE2F0C87}"/>
                  </a:ext>
                </a:extLst>
              </p:cNvPr>
              <p:cNvSpPr/>
              <p:nvPr/>
            </p:nvSpPr>
            <p:spPr>
              <a:xfrm>
                <a:off x="2645126" y="1579301"/>
                <a:ext cx="140398" cy="160099"/>
              </a:xfrm>
              <a:custGeom>
                <a:avLst/>
                <a:gdLst>
                  <a:gd name="connsiteX0" fmla="*/ 78840 w 140398"/>
                  <a:gd name="connsiteY0" fmla="*/ 100 h 160099"/>
                  <a:gd name="connsiteX1" fmla="*/ 132969 w 140398"/>
                  <a:gd name="connsiteY1" fmla="*/ 19735 h 160099"/>
                  <a:gd name="connsiteX2" fmla="*/ 140399 w 140398"/>
                  <a:gd name="connsiteY2" fmla="*/ 34594 h 160099"/>
                  <a:gd name="connsiteX3" fmla="*/ 140399 w 140398"/>
                  <a:gd name="connsiteY3" fmla="*/ 51841 h 160099"/>
                  <a:gd name="connsiteX4" fmla="*/ 27364 w 140398"/>
                  <a:gd name="connsiteY4" fmla="*/ 160100 h 160099"/>
                  <a:gd name="connsiteX5" fmla="*/ 24976 w 140398"/>
                  <a:gd name="connsiteY5" fmla="*/ 142853 h 160099"/>
                  <a:gd name="connsiteX6" fmla="*/ 103516 w 140398"/>
                  <a:gd name="connsiteY6" fmla="*/ 42024 h 160099"/>
                  <a:gd name="connsiteX7" fmla="*/ 98475 w 140398"/>
                  <a:gd name="connsiteY7" fmla="*/ 24777 h 160099"/>
                  <a:gd name="connsiteX8" fmla="*/ 88657 w 140398"/>
                  <a:gd name="connsiteY8" fmla="*/ 24777 h 160099"/>
                  <a:gd name="connsiteX9" fmla="*/ 29752 w 140398"/>
                  <a:gd name="connsiteY9" fmla="*/ 54229 h 160099"/>
                  <a:gd name="connsiteX10" fmla="*/ 2688 w 140398"/>
                  <a:gd name="connsiteY10" fmla="*/ 34594 h 160099"/>
                  <a:gd name="connsiteX11" fmla="*/ 2688 w 140398"/>
                  <a:gd name="connsiteY11" fmla="*/ 17347 h 160099"/>
                  <a:gd name="connsiteX12" fmla="*/ 78840 w 140398"/>
                  <a:gd name="connsiteY12" fmla="*/ 100 h 160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40398" h="160099">
                    <a:moveTo>
                      <a:pt x="78840" y="100"/>
                    </a:moveTo>
                    <a:cubicBezTo>
                      <a:pt x="112273" y="-961"/>
                      <a:pt x="116253" y="6468"/>
                      <a:pt x="132969" y="19735"/>
                    </a:cubicBezTo>
                    <a:cubicBezTo>
                      <a:pt x="135357" y="24777"/>
                      <a:pt x="138011" y="29553"/>
                      <a:pt x="140399" y="34594"/>
                    </a:cubicBezTo>
                    <a:cubicBezTo>
                      <a:pt x="140399" y="40432"/>
                      <a:pt x="140399" y="46004"/>
                      <a:pt x="140399" y="51841"/>
                    </a:cubicBezTo>
                    <a:cubicBezTo>
                      <a:pt x="78309" y="100133"/>
                      <a:pt x="69553" y="151874"/>
                      <a:pt x="27364" y="160100"/>
                    </a:cubicBezTo>
                    <a:cubicBezTo>
                      <a:pt x="21792" y="157181"/>
                      <a:pt x="20465" y="152139"/>
                      <a:pt x="24976" y="142853"/>
                    </a:cubicBezTo>
                    <a:cubicBezTo>
                      <a:pt x="51245" y="109155"/>
                      <a:pt x="77513" y="75722"/>
                      <a:pt x="103516" y="42024"/>
                    </a:cubicBezTo>
                    <a:cubicBezTo>
                      <a:pt x="101924" y="36186"/>
                      <a:pt x="100332" y="30614"/>
                      <a:pt x="98475" y="24777"/>
                    </a:cubicBezTo>
                    <a:cubicBezTo>
                      <a:pt x="95291" y="24777"/>
                      <a:pt x="91841" y="24777"/>
                      <a:pt x="88657" y="24777"/>
                    </a:cubicBezTo>
                    <a:cubicBezTo>
                      <a:pt x="75921" y="42820"/>
                      <a:pt x="61062" y="54229"/>
                      <a:pt x="29752" y="54229"/>
                    </a:cubicBezTo>
                    <a:cubicBezTo>
                      <a:pt x="15954" y="45208"/>
                      <a:pt x="8525" y="42554"/>
                      <a:pt x="2688" y="34594"/>
                    </a:cubicBezTo>
                    <a:cubicBezTo>
                      <a:pt x="-762" y="28757"/>
                      <a:pt x="-1027" y="25042"/>
                      <a:pt x="2688" y="17347"/>
                    </a:cubicBezTo>
                    <a:cubicBezTo>
                      <a:pt x="19404" y="1958"/>
                      <a:pt x="44346" y="14163"/>
                      <a:pt x="78840" y="100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4" name="iṡ1îḋé">
                <a:extLst>
                  <a:ext uri="{FF2B5EF4-FFF2-40B4-BE49-F238E27FC236}">
                    <a16:creationId xmlns:a16="http://schemas.microsoft.com/office/drawing/2014/main" id="{71A06E66-8521-4D43-96AD-47409736230C}"/>
                  </a:ext>
                </a:extLst>
              </p:cNvPr>
              <p:cNvSpPr/>
              <p:nvPr/>
            </p:nvSpPr>
            <p:spPr>
              <a:xfrm>
                <a:off x="1880717" y="1584812"/>
                <a:ext cx="88826" cy="62538"/>
              </a:xfrm>
              <a:custGeom>
                <a:avLst/>
                <a:gdLst>
                  <a:gd name="connsiteX0" fmla="*/ 71376 w 88826"/>
                  <a:gd name="connsiteY0" fmla="*/ 2019 h 62538"/>
                  <a:gd name="connsiteX1" fmla="*/ 86235 w 88826"/>
                  <a:gd name="connsiteY1" fmla="*/ 4407 h 62538"/>
                  <a:gd name="connsiteX2" fmla="*/ 86235 w 88826"/>
                  <a:gd name="connsiteY2" fmla="*/ 38901 h 62538"/>
                  <a:gd name="connsiteX3" fmla="*/ 2388 w 88826"/>
                  <a:gd name="connsiteY3" fmla="*/ 53494 h 62538"/>
                  <a:gd name="connsiteX4" fmla="*/ 0 w 88826"/>
                  <a:gd name="connsiteY4" fmla="*/ 46330 h 62538"/>
                  <a:gd name="connsiteX5" fmla="*/ 71376 w 88826"/>
                  <a:gd name="connsiteY5" fmla="*/ 2019 h 62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8826" h="62538">
                    <a:moveTo>
                      <a:pt x="71376" y="2019"/>
                    </a:moveTo>
                    <a:cubicBezTo>
                      <a:pt x="75887" y="-635"/>
                      <a:pt x="81990" y="-1431"/>
                      <a:pt x="86235" y="4407"/>
                    </a:cubicBezTo>
                    <a:cubicBezTo>
                      <a:pt x="89419" y="12367"/>
                      <a:pt x="89950" y="24838"/>
                      <a:pt x="86235" y="38901"/>
                    </a:cubicBezTo>
                    <a:cubicBezTo>
                      <a:pt x="65008" y="68884"/>
                      <a:pt x="38474" y="66231"/>
                      <a:pt x="2388" y="53494"/>
                    </a:cubicBezTo>
                    <a:cubicBezTo>
                      <a:pt x="1592" y="51106"/>
                      <a:pt x="796" y="48718"/>
                      <a:pt x="0" y="46330"/>
                    </a:cubicBezTo>
                    <a:cubicBezTo>
                      <a:pt x="5307" y="20327"/>
                      <a:pt x="50149" y="27226"/>
                      <a:pt x="71376" y="2019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" name="îṩḷîdé">
                <a:extLst>
                  <a:ext uri="{FF2B5EF4-FFF2-40B4-BE49-F238E27FC236}">
                    <a16:creationId xmlns:a16="http://schemas.microsoft.com/office/drawing/2014/main" id="{53D436C9-87CE-4D4B-AA3F-0ACDAF0E9DC2}"/>
                  </a:ext>
                </a:extLst>
              </p:cNvPr>
              <p:cNvSpPr/>
              <p:nvPr/>
            </p:nvSpPr>
            <p:spPr>
              <a:xfrm>
                <a:off x="3591360" y="1628792"/>
                <a:ext cx="300654" cy="123065"/>
              </a:xfrm>
              <a:custGeom>
                <a:avLst/>
                <a:gdLst>
                  <a:gd name="connsiteX0" fmla="*/ 238540 w 300654"/>
                  <a:gd name="connsiteY0" fmla="*/ 4738 h 123065"/>
                  <a:gd name="connsiteX1" fmla="*/ 299303 w 300654"/>
                  <a:gd name="connsiteY1" fmla="*/ 3146 h 123065"/>
                  <a:gd name="connsiteX2" fmla="*/ 297445 w 300654"/>
                  <a:gd name="connsiteY2" fmla="*/ 19597 h 123065"/>
                  <a:gd name="connsiteX3" fmla="*/ 228723 w 300654"/>
                  <a:gd name="connsiteY3" fmla="*/ 51438 h 123065"/>
                  <a:gd name="connsiteX4" fmla="*/ 250746 w 300654"/>
                  <a:gd name="connsiteY4" fmla="*/ 31803 h 123065"/>
                  <a:gd name="connsiteX5" fmla="*/ 248358 w 300654"/>
                  <a:gd name="connsiteY5" fmla="*/ 21985 h 123065"/>
                  <a:gd name="connsiteX6" fmla="*/ 17247 w 300654"/>
                  <a:gd name="connsiteY6" fmla="*/ 120426 h 123065"/>
                  <a:gd name="connsiteX7" fmla="*/ 0 w 300654"/>
                  <a:gd name="connsiteY7" fmla="*/ 100791 h 123065"/>
                  <a:gd name="connsiteX8" fmla="*/ 0 w 300654"/>
                  <a:gd name="connsiteY8" fmla="*/ 95749 h 123065"/>
                  <a:gd name="connsiteX9" fmla="*/ 17247 w 300654"/>
                  <a:gd name="connsiteY9" fmla="*/ 83544 h 123065"/>
                  <a:gd name="connsiteX10" fmla="*/ 71376 w 300654"/>
                  <a:gd name="connsiteY10" fmla="*/ 81156 h 123065"/>
                  <a:gd name="connsiteX11" fmla="*/ 238540 w 300654"/>
                  <a:gd name="connsiteY11" fmla="*/ 4738 h 123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00654" h="123065">
                    <a:moveTo>
                      <a:pt x="238540" y="4738"/>
                    </a:moveTo>
                    <a:cubicBezTo>
                      <a:pt x="256052" y="227"/>
                      <a:pt x="280464" y="-2426"/>
                      <a:pt x="299303" y="3146"/>
                    </a:cubicBezTo>
                    <a:cubicBezTo>
                      <a:pt x="301956" y="12167"/>
                      <a:pt x="300364" y="16944"/>
                      <a:pt x="297445" y="19597"/>
                    </a:cubicBezTo>
                    <a:cubicBezTo>
                      <a:pt x="286036" y="34456"/>
                      <a:pt x="242255" y="65766"/>
                      <a:pt x="228723" y="51438"/>
                    </a:cubicBezTo>
                    <a:cubicBezTo>
                      <a:pt x="236152" y="44804"/>
                      <a:pt x="243581" y="38436"/>
                      <a:pt x="250746" y="31803"/>
                    </a:cubicBezTo>
                    <a:cubicBezTo>
                      <a:pt x="252603" y="27557"/>
                      <a:pt x="251542" y="23842"/>
                      <a:pt x="248358" y="21985"/>
                    </a:cubicBezTo>
                    <a:cubicBezTo>
                      <a:pt x="164776" y="28088"/>
                      <a:pt x="101094" y="141653"/>
                      <a:pt x="17247" y="120426"/>
                    </a:cubicBezTo>
                    <a:cubicBezTo>
                      <a:pt x="7960" y="117242"/>
                      <a:pt x="3184" y="113262"/>
                      <a:pt x="0" y="100791"/>
                    </a:cubicBezTo>
                    <a:cubicBezTo>
                      <a:pt x="0" y="99199"/>
                      <a:pt x="0" y="97607"/>
                      <a:pt x="0" y="95749"/>
                    </a:cubicBezTo>
                    <a:cubicBezTo>
                      <a:pt x="796" y="89646"/>
                      <a:pt x="6368" y="85136"/>
                      <a:pt x="17247" y="83544"/>
                    </a:cubicBezTo>
                    <a:cubicBezTo>
                      <a:pt x="35290" y="82748"/>
                      <a:pt x="53333" y="81952"/>
                      <a:pt x="71376" y="81156"/>
                    </a:cubicBezTo>
                    <a:cubicBezTo>
                      <a:pt x="107993" y="69215"/>
                      <a:pt x="215190" y="29414"/>
                      <a:pt x="238540" y="4738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6" name="ísļíḋe">
                <a:extLst>
                  <a:ext uri="{FF2B5EF4-FFF2-40B4-BE49-F238E27FC236}">
                    <a16:creationId xmlns:a16="http://schemas.microsoft.com/office/drawing/2014/main" id="{46FEFDAE-41C2-4FE3-B75A-CC6DCEB6CBD0}"/>
                  </a:ext>
                </a:extLst>
              </p:cNvPr>
              <p:cNvSpPr/>
              <p:nvPr/>
            </p:nvSpPr>
            <p:spPr>
              <a:xfrm>
                <a:off x="2207881" y="1638306"/>
                <a:ext cx="95787" cy="225007"/>
              </a:xfrm>
              <a:custGeom>
                <a:avLst/>
                <a:gdLst>
                  <a:gd name="connsiteX0" fmla="*/ 51476 w 95787"/>
                  <a:gd name="connsiteY0" fmla="*/ 0 h 225007"/>
                  <a:gd name="connsiteX1" fmla="*/ 58905 w 95787"/>
                  <a:gd name="connsiteY1" fmla="*/ 0 h 225007"/>
                  <a:gd name="connsiteX2" fmla="*/ 95787 w 95787"/>
                  <a:gd name="connsiteY2" fmla="*/ 29453 h 225007"/>
                  <a:gd name="connsiteX3" fmla="*/ 71111 w 95787"/>
                  <a:gd name="connsiteY3" fmla="*/ 76152 h 225007"/>
                  <a:gd name="connsiteX4" fmla="*/ 38740 w 95787"/>
                  <a:gd name="connsiteY4" fmla="*/ 225008 h 225007"/>
                  <a:gd name="connsiteX5" fmla="*/ 0 w 95787"/>
                  <a:gd name="connsiteY5" fmla="*/ 183615 h 225007"/>
                  <a:gd name="connsiteX6" fmla="*/ 25207 w 95787"/>
                  <a:gd name="connsiteY6" fmla="*/ 69784 h 225007"/>
                  <a:gd name="connsiteX7" fmla="*/ 51476 w 95787"/>
                  <a:gd name="connsiteY7" fmla="*/ 0 h 225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5787" h="225007">
                    <a:moveTo>
                      <a:pt x="51476" y="0"/>
                    </a:moveTo>
                    <a:cubicBezTo>
                      <a:pt x="53864" y="0"/>
                      <a:pt x="56517" y="0"/>
                      <a:pt x="58905" y="0"/>
                    </a:cubicBezTo>
                    <a:cubicBezTo>
                      <a:pt x="72703" y="10879"/>
                      <a:pt x="71642" y="24942"/>
                      <a:pt x="95787" y="29453"/>
                    </a:cubicBezTo>
                    <a:cubicBezTo>
                      <a:pt x="94461" y="59436"/>
                      <a:pt x="78806" y="58375"/>
                      <a:pt x="71111" y="76152"/>
                    </a:cubicBezTo>
                    <a:cubicBezTo>
                      <a:pt x="47761" y="112504"/>
                      <a:pt x="63681" y="189718"/>
                      <a:pt x="38740" y="225008"/>
                    </a:cubicBezTo>
                    <a:cubicBezTo>
                      <a:pt x="-3184" y="219966"/>
                      <a:pt x="3184" y="195555"/>
                      <a:pt x="0" y="183615"/>
                    </a:cubicBezTo>
                    <a:cubicBezTo>
                      <a:pt x="39536" y="103217"/>
                      <a:pt x="11410" y="82520"/>
                      <a:pt x="25207" y="69784"/>
                    </a:cubicBezTo>
                    <a:cubicBezTo>
                      <a:pt x="46965" y="49353"/>
                      <a:pt x="22819" y="11940"/>
                      <a:pt x="51476" y="0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7" name="îŝḻíde">
                <a:extLst>
                  <a:ext uri="{FF2B5EF4-FFF2-40B4-BE49-F238E27FC236}">
                    <a16:creationId xmlns:a16="http://schemas.microsoft.com/office/drawing/2014/main" id="{6E1AF521-E5E8-43EB-88E2-EEB0F71D03B0}"/>
                  </a:ext>
                </a:extLst>
              </p:cNvPr>
              <p:cNvSpPr/>
              <p:nvPr/>
            </p:nvSpPr>
            <p:spPr>
              <a:xfrm>
                <a:off x="3696145" y="1672800"/>
                <a:ext cx="237721" cy="189452"/>
              </a:xfrm>
              <a:custGeom>
                <a:avLst/>
                <a:gdLst>
                  <a:gd name="connsiteX0" fmla="*/ 129775 w 237721"/>
                  <a:gd name="connsiteY0" fmla="*/ 68458 h 189452"/>
                  <a:gd name="connsiteX1" fmla="*/ 128713 w 237721"/>
                  <a:gd name="connsiteY1" fmla="*/ 182023 h 189452"/>
                  <a:gd name="connsiteX2" fmla="*/ 116508 w 237721"/>
                  <a:gd name="connsiteY2" fmla="*/ 189452 h 189452"/>
                  <a:gd name="connsiteX3" fmla="*/ 1085 w 237721"/>
                  <a:gd name="connsiteY3" fmla="*/ 140364 h 189452"/>
                  <a:gd name="connsiteX4" fmla="*/ 8515 w 237721"/>
                  <a:gd name="connsiteY4" fmla="*/ 132935 h 189452"/>
                  <a:gd name="connsiteX5" fmla="*/ 94484 w 237721"/>
                  <a:gd name="connsiteY5" fmla="*/ 140364 h 189452"/>
                  <a:gd name="connsiteX6" fmla="*/ 94219 w 237721"/>
                  <a:gd name="connsiteY6" fmla="*/ 81990 h 189452"/>
                  <a:gd name="connsiteX7" fmla="*/ 40621 w 237721"/>
                  <a:gd name="connsiteY7" fmla="*/ 81194 h 189452"/>
                  <a:gd name="connsiteX8" fmla="*/ 45397 w 237721"/>
                  <a:gd name="connsiteY8" fmla="*/ 55987 h 189452"/>
                  <a:gd name="connsiteX9" fmla="*/ 207784 w 237721"/>
                  <a:gd name="connsiteY9" fmla="*/ 0 h 189452"/>
                  <a:gd name="connsiteX10" fmla="*/ 234849 w 237721"/>
                  <a:gd name="connsiteY10" fmla="*/ 14859 h 189452"/>
                  <a:gd name="connsiteX11" fmla="*/ 236176 w 237721"/>
                  <a:gd name="connsiteY11" fmla="*/ 30514 h 189452"/>
                  <a:gd name="connsiteX12" fmla="*/ 129775 w 237721"/>
                  <a:gd name="connsiteY12" fmla="*/ 68458 h 189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7721" h="189452">
                    <a:moveTo>
                      <a:pt x="129775" y="68458"/>
                    </a:moveTo>
                    <a:cubicBezTo>
                      <a:pt x="123406" y="108258"/>
                      <a:pt x="127121" y="144345"/>
                      <a:pt x="128713" y="182023"/>
                    </a:cubicBezTo>
                    <a:cubicBezTo>
                      <a:pt x="128713" y="188656"/>
                      <a:pt x="123406" y="189452"/>
                      <a:pt x="116508" y="189452"/>
                    </a:cubicBezTo>
                    <a:cubicBezTo>
                      <a:pt x="91300" y="188656"/>
                      <a:pt x="26027" y="160796"/>
                      <a:pt x="1085" y="140364"/>
                    </a:cubicBezTo>
                    <a:cubicBezTo>
                      <a:pt x="-507" y="136119"/>
                      <a:pt x="-1834" y="132139"/>
                      <a:pt x="8515" y="132935"/>
                    </a:cubicBezTo>
                    <a:cubicBezTo>
                      <a:pt x="31599" y="140630"/>
                      <a:pt x="70338" y="151774"/>
                      <a:pt x="94484" y="140364"/>
                    </a:cubicBezTo>
                    <a:cubicBezTo>
                      <a:pt x="96607" y="120464"/>
                      <a:pt x="100587" y="97114"/>
                      <a:pt x="94219" y="81990"/>
                    </a:cubicBezTo>
                    <a:cubicBezTo>
                      <a:pt x="71400" y="90481"/>
                      <a:pt x="50703" y="91277"/>
                      <a:pt x="40621" y="81194"/>
                    </a:cubicBezTo>
                    <a:cubicBezTo>
                      <a:pt x="37171" y="77479"/>
                      <a:pt x="31334" y="64477"/>
                      <a:pt x="45397" y="55987"/>
                    </a:cubicBezTo>
                    <a:cubicBezTo>
                      <a:pt x="95280" y="52803"/>
                      <a:pt x="149940" y="29187"/>
                      <a:pt x="207784" y="0"/>
                    </a:cubicBezTo>
                    <a:cubicBezTo>
                      <a:pt x="219194" y="3449"/>
                      <a:pt x="229011" y="5307"/>
                      <a:pt x="234849" y="14859"/>
                    </a:cubicBezTo>
                    <a:cubicBezTo>
                      <a:pt x="236972" y="22554"/>
                      <a:pt x="239360" y="23615"/>
                      <a:pt x="236176" y="30514"/>
                    </a:cubicBezTo>
                    <a:cubicBezTo>
                      <a:pt x="174882" y="44046"/>
                      <a:pt x="183638" y="58375"/>
                      <a:pt x="129775" y="68458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8" name="îṥḷïdê">
                <a:extLst>
                  <a:ext uri="{FF2B5EF4-FFF2-40B4-BE49-F238E27FC236}">
                    <a16:creationId xmlns:a16="http://schemas.microsoft.com/office/drawing/2014/main" id="{31A11504-F176-4690-8A64-F7CCC3607760}"/>
                  </a:ext>
                </a:extLst>
              </p:cNvPr>
              <p:cNvSpPr/>
              <p:nvPr/>
            </p:nvSpPr>
            <p:spPr>
              <a:xfrm>
                <a:off x="2543663" y="1711550"/>
                <a:ext cx="278478" cy="118301"/>
              </a:xfrm>
              <a:custGeom>
                <a:avLst/>
                <a:gdLst>
                  <a:gd name="connsiteX0" fmla="*/ 229391 w 278478"/>
                  <a:gd name="connsiteY0" fmla="*/ 5562 h 118301"/>
                  <a:gd name="connsiteX1" fmla="*/ 278479 w 278478"/>
                  <a:gd name="connsiteY1" fmla="*/ 12992 h 118301"/>
                  <a:gd name="connsiteX2" fmla="*/ 278479 w 278478"/>
                  <a:gd name="connsiteY2" fmla="*/ 20421 h 118301"/>
                  <a:gd name="connsiteX3" fmla="*/ 212144 w 278478"/>
                  <a:gd name="connsiteY3" fmla="*/ 59692 h 118301"/>
                  <a:gd name="connsiteX4" fmla="*/ 177650 w 278478"/>
                  <a:gd name="connsiteY4" fmla="*/ 52262 h 118301"/>
                  <a:gd name="connsiteX5" fmla="*/ 76821 w 278478"/>
                  <a:gd name="connsiteY5" fmla="*/ 113821 h 118301"/>
                  <a:gd name="connsiteX6" fmla="*/ 3056 w 278478"/>
                  <a:gd name="connsiteY6" fmla="*/ 108779 h 118301"/>
                  <a:gd name="connsiteX7" fmla="*/ 8098 w 278478"/>
                  <a:gd name="connsiteY7" fmla="*/ 84103 h 118301"/>
                  <a:gd name="connsiteX8" fmla="*/ 229391 w 278478"/>
                  <a:gd name="connsiteY8" fmla="*/ 5562 h 118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8478" h="118301">
                    <a:moveTo>
                      <a:pt x="229391" y="5562"/>
                    </a:moveTo>
                    <a:cubicBezTo>
                      <a:pt x="247699" y="-6378"/>
                      <a:pt x="269722" y="3174"/>
                      <a:pt x="278479" y="12992"/>
                    </a:cubicBezTo>
                    <a:cubicBezTo>
                      <a:pt x="278479" y="15380"/>
                      <a:pt x="278479" y="18033"/>
                      <a:pt x="278479" y="20421"/>
                    </a:cubicBezTo>
                    <a:cubicBezTo>
                      <a:pt x="267334" y="28912"/>
                      <a:pt x="240004" y="67917"/>
                      <a:pt x="212144" y="59692"/>
                    </a:cubicBezTo>
                    <a:cubicBezTo>
                      <a:pt x="203122" y="56242"/>
                      <a:pt x="196489" y="45098"/>
                      <a:pt x="177650" y="52262"/>
                    </a:cubicBezTo>
                    <a:cubicBezTo>
                      <a:pt x="143952" y="72693"/>
                      <a:pt x="110519" y="93124"/>
                      <a:pt x="76821" y="113821"/>
                    </a:cubicBezTo>
                    <a:cubicBezTo>
                      <a:pt x="57982" y="119393"/>
                      <a:pt x="18446" y="121781"/>
                      <a:pt x="3056" y="108779"/>
                    </a:cubicBezTo>
                    <a:cubicBezTo>
                      <a:pt x="-1189" y="101350"/>
                      <a:pt x="-2250" y="95778"/>
                      <a:pt x="8098" y="84103"/>
                    </a:cubicBezTo>
                    <a:cubicBezTo>
                      <a:pt x="62758" y="77204"/>
                      <a:pt x="189855" y="33688"/>
                      <a:pt x="229391" y="5562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9" name="îṥľîḑè">
                <a:extLst>
                  <a:ext uri="{FF2B5EF4-FFF2-40B4-BE49-F238E27FC236}">
                    <a16:creationId xmlns:a16="http://schemas.microsoft.com/office/drawing/2014/main" id="{E8E47A94-022F-45E5-B1C6-FB86275BFBC7}"/>
                  </a:ext>
                </a:extLst>
              </p:cNvPr>
              <p:cNvSpPr/>
              <p:nvPr/>
            </p:nvSpPr>
            <p:spPr>
              <a:xfrm>
                <a:off x="1844101" y="1751606"/>
                <a:ext cx="47525" cy="66600"/>
              </a:xfrm>
              <a:custGeom>
                <a:avLst/>
                <a:gdLst>
                  <a:gd name="connsiteX0" fmla="*/ 31841 w 47525"/>
                  <a:gd name="connsiteY0" fmla="*/ 0 h 66600"/>
                  <a:gd name="connsiteX1" fmla="*/ 41658 w 47525"/>
                  <a:gd name="connsiteY1" fmla="*/ 51741 h 66600"/>
                  <a:gd name="connsiteX2" fmla="*/ 9818 w 47525"/>
                  <a:gd name="connsiteY2" fmla="*/ 66600 h 66600"/>
                  <a:gd name="connsiteX3" fmla="*/ 0 w 47525"/>
                  <a:gd name="connsiteY3" fmla="*/ 46965 h 66600"/>
                  <a:gd name="connsiteX4" fmla="*/ 31841 w 47525"/>
                  <a:gd name="connsiteY4" fmla="*/ 0 h 66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525" h="66600">
                    <a:moveTo>
                      <a:pt x="31841" y="0"/>
                    </a:moveTo>
                    <a:cubicBezTo>
                      <a:pt x="49884" y="3715"/>
                      <a:pt x="51210" y="33167"/>
                      <a:pt x="41658" y="51741"/>
                    </a:cubicBezTo>
                    <a:cubicBezTo>
                      <a:pt x="30779" y="61559"/>
                      <a:pt x="25738" y="63681"/>
                      <a:pt x="9818" y="66600"/>
                    </a:cubicBezTo>
                    <a:cubicBezTo>
                      <a:pt x="3715" y="59171"/>
                      <a:pt x="0" y="56517"/>
                      <a:pt x="0" y="46965"/>
                    </a:cubicBezTo>
                    <a:cubicBezTo>
                      <a:pt x="14594" y="29983"/>
                      <a:pt x="14063" y="12736"/>
                      <a:pt x="31841" y="0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" name="işľíḑé">
                <a:extLst>
                  <a:ext uri="{FF2B5EF4-FFF2-40B4-BE49-F238E27FC236}">
                    <a16:creationId xmlns:a16="http://schemas.microsoft.com/office/drawing/2014/main" id="{21CC416B-A789-4012-9FA7-4AB94E07532A}"/>
                  </a:ext>
                </a:extLst>
              </p:cNvPr>
              <p:cNvSpPr/>
              <p:nvPr/>
            </p:nvSpPr>
            <p:spPr>
              <a:xfrm>
                <a:off x="3443941" y="1763629"/>
                <a:ext cx="65512" cy="61740"/>
              </a:xfrm>
              <a:custGeom>
                <a:avLst/>
                <a:gdLst>
                  <a:gd name="connsiteX0" fmla="*/ 9973 w 65512"/>
                  <a:gd name="connsiteY0" fmla="*/ 182 h 61740"/>
                  <a:gd name="connsiteX1" fmla="*/ 54284 w 65512"/>
                  <a:gd name="connsiteY1" fmla="*/ 61741 h 61740"/>
                  <a:gd name="connsiteX2" fmla="*/ 51896 w 65512"/>
                  <a:gd name="connsiteY2" fmla="*/ 61741 h 61740"/>
                  <a:gd name="connsiteX3" fmla="*/ 15279 w 65512"/>
                  <a:gd name="connsiteY3" fmla="*/ 61210 h 61740"/>
                  <a:gd name="connsiteX4" fmla="*/ 12626 w 65512"/>
                  <a:gd name="connsiteY4" fmla="*/ 56700 h 61740"/>
                  <a:gd name="connsiteX5" fmla="*/ 24832 w 65512"/>
                  <a:gd name="connsiteY5" fmla="*/ 29635 h 61740"/>
                  <a:gd name="connsiteX6" fmla="*/ 155 w 65512"/>
                  <a:gd name="connsiteY6" fmla="*/ 12388 h 61740"/>
                  <a:gd name="connsiteX7" fmla="*/ 9973 w 65512"/>
                  <a:gd name="connsiteY7" fmla="*/ 182 h 61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5512" h="61740">
                    <a:moveTo>
                      <a:pt x="9973" y="182"/>
                    </a:moveTo>
                    <a:cubicBezTo>
                      <a:pt x="59326" y="-2736"/>
                      <a:pt x="80287" y="29900"/>
                      <a:pt x="54284" y="61741"/>
                    </a:cubicBezTo>
                    <a:cubicBezTo>
                      <a:pt x="53488" y="61741"/>
                      <a:pt x="52692" y="61741"/>
                      <a:pt x="51896" y="61741"/>
                    </a:cubicBezTo>
                    <a:cubicBezTo>
                      <a:pt x="38894" y="60945"/>
                      <a:pt x="28546" y="62272"/>
                      <a:pt x="15279" y="61210"/>
                    </a:cubicBezTo>
                    <a:cubicBezTo>
                      <a:pt x="15279" y="60414"/>
                      <a:pt x="12626" y="57496"/>
                      <a:pt x="12626" y="56700"/>
                    </a:cubicBezTo>
                    <a:cubicBezTo>
                      <a:pt x="21117" y="49801"/>
                      <a:pt x="25893" y="40514"/>
                      <a:pt x="24832" y="29635"/>
                    </a:cubicBezTo>
                    <a:cubicBezTo>
                      <a:pt x="19525" y="22205"/>
                      <a:pt x="11565" y="15307"/>
                      <a:pt x="155" y="12388"/>
                    </a:cubicBezTo>
                    <a:cubicBezTo>
                      <a:pt x="-641" y="7612"/>
                      <a:pt x="1482" y="2836"/>
                      <a:pt x="9973" y="182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1" name="ïṡlîḓé">
                <a:extLst>
                  <a:ext uri="{FF2B5EF4-FFF2-40B4-BE49-F238E27FC236}">
                    <a16:creationId xmlns:a16="http://schemas.microsoft.com/office/drawing/2014/main" id="{6883439B-CC37-4F1D-9D8F-E5412833142B}"/>
                  </a:ext>
                </a:extLst>
              </p:cNvPr>
              <p:cNvSpPr/>
              <p:nvPr/>
            </p:nvSpPr>
            <p:spPr>
              <a:xfrm>
                <a:off x="2416968" y="1771241"/>
                <a:ext cx="55598" cy="63848"/>
              </a:xfrm>
              <a:custGeom>
                <a:avLst/>
                <a:gdLst>
                  <a:gd name="connsiteX0" fmla="*/ 14328 w 55598"/>
                  <a:gd name="connsiteY0" fmla="*/ 0 h 63848"/>
                  <a:gd name="connsiteX1" fmla="*/ 29187 w 55598"/>
                  <a:gd name="connsiteY1" fmla="*/ 0 h 63848"/>
                  <a:gd name="connsiteX2" fmla="*/ 53864 w 55598"/>
                  <a:gd name="connsiteY2" fmla="*/ 27065 h 63848"/>
                  <a:gd name="connsiteX3" fmla="*/ 51476 w 55598"/>
                  <a:gd name="connsiteY3" fmla="*/ 61559 h 63848"/>
                  <a:gd name="connsiteX4" fmla="*/ 3715 w 55598"/>
                  <a:gd name="connsiteY4" fmla="*/ 62355 h 63848"/>
                  <a:gd name="connsiteX5" fmla="*/ 0 w 55598"/>
                  <a:gd name="connsiteY5" fmla="*/ 56783 h 63848"/>
                  <a:gd name="connsiteX6" fmla="*/ 265 w 55598"/>
                  <a:gd name="connsiteY6" fmla="*/ 48557 h 63848"/>
                  <a:gd name="connsiteX7" fmla="*/ 13267 w 55598"/>
                  <a:gd name="connsiteY7" fmla="*/ 40066 h 63848"/>
                  <a:gd name="connsiteX8" fmla="*/ 14328 w 55598"/>
                  <a:gd name="connsiteY8" fmla="*/ 0 h 63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5598" h="63848">
                    <a:moveTo>
                      <a:pt x="14328" y="0"/>
                    </a:moveTo>
                    <a:cubicBezTo>
                      <a:pt x="19370" y="0"/>
                      <a:pt x="24146" y="0"/>
                      <a:pt x="29187" y="0"/>
                    </a:cubicBezTo>
                    <a:cubicBezTo>
                      <a:pt x="37413" y="9022"/>
                      <a:pt x="45638" y="18043"/>
                      <a:pt x="53864" y="27065"/>
                    </a:cubicBezTo>
                    <a:cubicBezTo>
                      <a:pt x="56252" y="39801"/>
                      <a:pt x="56783" y="54925"/>
                      <a:pt x="51476" y="61559"/>
                    </a:cubicBezTo>
                    <a:cubicBezTo>
                      <a:pt x="33167" y="65008"/>
                      <a:pt x="20431" y="63947"/>
                      <a:pt x="3715" y="62355"/>
                    </a:cubicBezTo>
                    <a:cubicBezTo>
                      <a:pt x="2123" y="59967"/>
                      <a:pt x="1592" y="59171"/>
                      <a:pt x="0" y="56783"/>
                    </a:cubicBezTo>
                    <a:cubicBezTo>
                      <a:pt x="0" y="55987"/>
                      <a:pt x="265" y="49353"/>
                      <a:pt x="265" y="48557"/>
                    </a:cubicBezTo>
                    <a:cubicBezTo>
                      <a:pt x="6103" y="45373"/>
                      <a:pt x="7695" y="43516"/>
                      <a:pt x="13267" y="40066"/>
                    </a:cubicBezTo>
                    <a:cubicBezTo>
                      <a:pt x="19900" y="24942"/>
                      <a:pt x="6633" y="19635"/>
                      <a:pt x="14328" y="0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4" name="isḷîdè">
              <a:extLst>
                <a:ext uri="{FF2B5EF4-FFF2-40B4-BE49-F238E27FC236}">
                  <a16:creationId xmlns:a16="http://schemas.microsoft.com/office/drawing/2014/main" id="{C58F9A70-B344-4A7D-B27A-B311AD54A5CC}"/>
                </a:ext>
              </a:extLst>
            </p:cNvPr>
            <p:cNvSpPr/>
            <p:nvPr/>
          </p:nvSpPr>
          <p:spPr>
            <a:xfrm>
              <a:off x="1794748" y="1968653"/>
              <a:ext cx="2175516" cy="126301"/>
            </a:xfrm>
            <a:custGeom>
              <a:avLst/>
              <a:gdLst>
                <a:gd name="connsiteX0" fmla="*/ 48292 w 2175516"/>
                <a:gd name="connsiteY0" fmla="*/ 95522 h 126301"/>
                <a:gd name="connsiteX1" fmla="*/ 57579 w 2175516"/>
                <a:gd name="connsiteY1" fmla="*/ 95522 h 126301"/>
                <a:gd name="connsiteX2" fmla="*/ 72438 w 2175516"/>
                <a:gd name="connsiteY2" fmla="*/ 65273 h 126301"/>
                <a:gd name="connsiteX3" fmla="*/ 87297 w 2175516"/>
                <a:gd name="connsiteY3" fmla="*/ 95522 h 126301"/>
                <a:gd name="connsiteX4" fmla="*/ 96584 w 2175516"/>
                <a:gd name="connsiteY4" fmla="*/ 95522 h 126301"/>
                <a:gd name="connsiteX5" fmla="*/ 125240 w 2175516"/>
                <a:gd name="connsiteY5" fmla="*/ 25207 h 126301"/>
                <a:gd name="connsiteX6" fmla="*/ 138507 w 2175516"/>
                <a:gd name="connsiteY6" fmla="*/ 12471 h 126301"/>
                <a:gd name="connsiteX7" fmla="*/ 138507 w 2175516"/>
                <a:gd name="connsiteY7" fmla="*/ 6899 h 126301"/>
                <a:gd name="connsiteX8" fmla="*/ 110381 w 2175516"/>
                <a:gd name="connsiteY8" fmla="*/ 6899 h 126301"/>
                <a:gd name="connsiteX9" fmla="*/ 110381 w 2175516"/>
                <a:gd name="connsiteY9" fmla="*/ 12471 h 126301"/>
                <a:gd name="connsiteX10" fmla="*/ 117015 w 2175516"/>
                <a:gd name="connsiteY10" fmla="*/ 23881 h 126301"/>
                <a:gd name="connsiteX11" fmla="*/ 97910 w 2175516"/>
                <a:gd name="connsiteY11" fmla="*/ 73234 h 126301"/>
                <a:gd name="connsiteX12" fmla="*/ 83051 w 2175516"/>
                <a:gd name="connsiteY12" fmla="*/ 42985 h 126301"/>
                <a:gd name="connsiteX13" fmla="*/ 93399 w 2175516"/>
                <a:gd name="connsiteY13" fmla="*/ 22023 h 126301"/>
                <a:gd name="connsiteX14" fmla="*/ 103748 w 2175516"/>
                <a:gd name="connsiteY14" fmla="*/ 12206 h 126301"/>
                <a:gd name="connsiteX15" fmla="*/ 103748 w 2175516"/>
                <a:gd name="connsiteY15" fmla="*/ 6633 h 126301"/>
                <a:gd name="connsiteX16" fmla="*/ 42189 w 2175516"/>
                <a:gd name="connsiteY16" fmla="*/ 6633 h 126301"/>
                <a:gd name="connsiteX17" fmla="*/ 42189 w 2175516"/>
                <a:gd name="connsiteY17" fmla="*/ 12206 h 126301"/>
                <a:gd name="connsiteX18" fmla="*/ 51476 w 2175516"/>
                <a:gd name="connsiteY18" fmla="*/ 21492 h 126301"/>
                <a:gd name="connsiteX19" fmla="*/ 67927 w 2175516"/>
                <a:gd name="connsiteY19" fmla="*/ 56517 h 126301"/>
                <a:gd name="connsiteX20" fmla="*/ 59171 w 2175516"/>
                <a:gd name="connsiteY20" fmla="*/ 74560 h 126301"/>
                <a:gd name="connsiteX21" fmla="*/ 33433 w 2175516"/>
                <a:gd name="connsiteY21" fmla="*/ 20166 h 126301"/>
                <a:gd name="connsiteX22" fmla="*/ 31841 w 2175516"/>
                <a:gd name="connsiteY22" fmla="*/ 14063 h 126301"/>
                <a:gd name="connsiteX23" fmla="*/ 36882 w 2175516"/>
                <a:gd name="connsiteY23" fmla="*/ 11940 h 126301"/>
                <a:gd name="connsiteX24" fmla="*/ 36882 w 2175516"/>
                <a:gd name="connsiteY24" fmla="*/ 6368 h 126301"/>
                <a:gd name="connsiteX25" fmla="*/ 0 w 2175516"/>
                <a:gd name="connsiteY25" fmla="*/ 6368 h 126301"/>
                <a:gd name="connsiteX26" fmla="*/ 0 w 2175516"/>
                <a:gd name="connsiteY26" fmla="*/ 11940 h 126301"/>
                <a:gd name="connsiteX27" fmla="*/ 1061 w 2175516"/>
                <a:gd name="connsiteY27" fmla="*/ 11940 h 126301"/>
                <a:gd name="connsiteX28" fmla="*/ 8226 w 2175516"/>
                <a:gd name="connsiteY28" fmla="*/ 14063 h 126301"/>
                <a:gd name="connsiteX29" fmla="*/ 14328 w 2175516"/>
                <a:gd name="connsiteY29" fmla="*/ 23350 h 126301"/>
                <a:gd name="connsiteX30" fmla="*/ 48292 w 2175516"/>
                <a:gd name="connsiteY30" fmla="*/ 95522 h 126301"/>
                <a:gd name="connsiteX31" fmla="*/ 48292 w 2175516"/>
                <a:gd name="connsiteY31" fmla="*/ 95522 h 126301"/>
                <a:gd name="connsiteX32" fmla="*/ 78540 w 2175516"/>
                <a:gd name="connsiteY32" fmla="*/ 34759 h 126301"/>
                <a:gd name="connsiteX33" fmla="*/ 70846 w 2175516"/>
                <a:gd name="connsiteY33" fmla="*/ 18839 h 126301"/>
                <a:gd name="connsiteX34" fmla="*/ 69784 w 2175516"/>
                <a:gd name="connsiteY34" fmla="*/ 13798 h 126301"/>
                <a:gd name="connsiteX35" fmla="*/ 74826 w 2175516"/>
                <a:gd name="connsiteY35" fmla="*/ 12736 h 126301"/>
                <a:gd name="connsiteX36" fmla="*/ 82255 w 2175516"/>
                <a:gd name="connsiteY36" fmla="*/ 12736 h 126301"/>
                <a:gd name="connsiteX37" fmla="*/ 87297 w 2175516"/>
                <a:gd name="connsiteY37" fmla="*/ 14328 h 126301"/>
                <a:gd name="connsiteX38" fmla="*/ 86766 w 2175516"/>
                <a:gd name="connsiteY38" fmla="*/ 19370 h 126301"/>
                <a:gd name="connsiteX39" fmla="*/ 78540 w 2175516"/>
                <a:gd name="connsiteY39" fmla="*/ 34759 h 126301"/>
                <a:gd name="connsiteX40" fmla="*/ 78540 w 2175516"/>
                <a:gd name="connsiteY40" fmla="*/ 34759 h 126301"/>
                <a:gd name="connsiteX41" fmla="*/ 199800 w 2175516"/>
                <a:gd name="connsiteY41" fmla="*/ 94991 h 126301"/>
                <a:gd name="connsiteX42" fmla="*/ 202454 w 2175516"/>
                <a:gd name="connsiteY42" fmla="*/ 94991 h 126301"/>
                <a:gd name="connsiteX43" fmla="*/ 225008 w 2175516"/>
                <a:gd name="connsiteY43" fmla="*/ 90746 h 126301"/>
                <a:gd name="connsiteX44" fmla="*/ 225008 w 2175516"/>
                <a:gd name="connsiteY44" fmla="*/ 86235 h 126301"/>
                <a:gd name="connsiteX45" fmla="*/ 221293 w 2175516"/>
                <a:gd name="connsiteY45" fmla="*/ 86766 h 126301"/>
                <a:gd name="connsiteX46" fmla="*/ 216782 w 2175516"/>
                <a:gd name="connsiteY46" fmla="*/ 78540 h 126301"/>
                <a:gd name="connsiteX47" fmla="*/ 216782 w 2175516"/>
                <a:gd name="connsiteY47" fmla="*/ 35821 h 126301"/>
                <a:gd name="connsiteX48" fmla="*/ 214129 w 2175516"/>
                <a:gd name="connsiteY48" fmla="*/ 35821 h 126301"/>
                <a:gd name="connsiteX49" fmla="*/ 188391 w 2175516"/>
                <a:gd name="connsiteY49" fmla="*/ 40862 h 126301"/>
                <a:gd name="connsiteX50" fmla="*/ 188391 w 2175516"/>
                <a:gd name="connsiteY50" fmla="*/ 44046 h 126301"/>
                <a:gd name="connsiteX51" fmla="*/ 195024 w 2175516"/>
                <a:gd name="connsiteY51" fmla="*/ 46169 h 126301"/>
                <a:gd name="connsiteX52" fmla="*/ 200066 w 2175516"/>
                <a:gd name="connsiteY52" fmla="*/ 54395 h 126301"/>
                <a:gd name="connsiteX53" fmla="*/ 200066 w 2175516"/>
                <a:gd name="connsiteY53" fmla="*/ 79602 h 126301"/>
                <a:gd name="connsiteX54" fmla="*/ 185737 w 2175516"/>
                <a:gd name="connsiteY54" fmla="*/ 85174 h 126301"/>
                <a:gd name="connsiteX55" fmla="*/ 176451 w 2175516"/>
                <a:gd name="connsiteY55" fmla="*/ 71376 h 126301"/>
                <a:gd name="connsiteX56" fmla="*/ 176451 w 2175516"/>
                <a:gd name="connsiteY56" fmla="*/ 35821 h 126301"/>
                <a:gd name="connsiteX57" fmla="*/ 173797 w 2175516"/>
                <a:gd name="connsiteY57" fmla="*/ 35821 h 126301"/>
                <a:gd name="connsiteX58" fmla="*/ 153631 w 2175516"/>
                <a:gd name="connsiteY58" fmla="*/ 40862 h 126301"/>
                <a:gd name="connsiteX59" fmla="*/ 153631 w 2175516"/>
                <a:gd name="connsiteY59" fmla="*/ 44046 h 126301"/>
                <a:gd name="connsiteX60" fmla="*/ 156816 w 2175516"/>
                <a:gd name="connsiteY60" fmla="*/ 45638 h 126301"/>
                <a:gd name="connsiteX61" fmla="*/ 159469 w 2175516"/>
                <a:gd name="connsiteY61" fmla="*/ 53333 h 126301"/>
                <a:gd name="connsiteX62" fmla="*/ 159469 w 2175516"/>
                <a:gd name="connsiteY62" fmla="*/ 76948 h 126301"/>
                <a:gd name="connsiteX63" fmla="*/ 174859 w 2175516"/>
                <a:gd name="connsiteY63" fmla="*/ 94991 h 126301"/>
                <a:gd name="connsiteX64" fmla="*/ 200066 w 2175516"/>
                <a:gd name="connsiteY64" fmla="*/ 84643 h 126301"/>
                <a:gd name="connsiteX65" fmla="*/ 200066 w 2175516"/>
                <a:gd name="connsiteY65" fmla="*/ 94991 h 126301"/>
                <a:gd name="connsiteX66" fmla="*/ 199800 w 2175516"/>
                <a:gd name="connsiteY66" fmla="*/ 94991 h 126301"/>
                <a:gd name="connsiteX67" fmla="*/ 266135 w 2175516"/>
                <a:gd name="connsiteY67" fmla="*/ 51741 h 126301"/>
                <a:gd name="connsiteX68" fmla="*/ 280464 w 2175516"/>
                <a:gd name="connsiteY68" fmla="*/ 46169 h 126301"/>
                <a:gd name="connsiteX69" fmla="*/ 289750 w 2175516"/>
                <a:gd name="connsiteY69" fmla="*/ 58375 h 126301"/>
                <a:gd name="connsiteX70" fmla="*/ 289750 w 2175516"/>
                <a:gd name="connsiteY70" fmla="*/ 79867 h 126301"/>
                <a:gd name="connsiteX71" fmla="*/ 282586 w 2175516"/>
                <a:gd name="connsiteY71" fmla="*/ 90215 h 126301"/>
                <a:gd name="connsiteX72" fmla="*/ 281525 w 2175516"/>
                <a:gd name="connsiteY72" fmla="*/ 90215 h 126301"/>
                <a:gd name="connsiteX73" fmla="*/ 281525 w 2175516"/>
                <a:gd name="connsiteY73" fmla="*/ 94726 h 126301"/>
                <a:gd name="connsiteX74" fmla="*/ 314427 w 2175516"/>
                <a:gd name="connsiteY74" fmla="*/ 94726 h 126301"/>
                <a:gd name="connsiteX75" fmla="*/ 314427 w 2175516"/>
                <a:gd name="connsiteY75" fmla="*/ 90215 h 126301"/>
                <a:gd name="connsiteX76" fmla="*/ 313366 w 2175516"/>
                <a:gd name="connsiteY76" fmla="*/ 90215 h 126301"/>
                <a:gd name="connsiteX77" fmla="*/ 306732 w 2175516"/>
                <a:gd name="connsiteY77" fmla="*/ 79336 h 126301"/>
                <a:gd name="connsiteX78" fmla="*/ 306732 w 2175516"/>
                <a:gd name="connsiteY78" fmla="*/ 60763 h 126301"/>
                <a:gd name="connsiteX79" fmla="*/ 291343 w 2175516"/>
                <a:gd name="connsiteY79" fmla="*/ 36086 h 126301"/>
                <a:gd name="connsiteX80" fmla="*/ 266135 w 2175516"/>
                <a:gd name="connsiteY80" fmla="*/ 46434 h 126301"/>
                <a:gd name="connsiteX81" fmla="*/ 266135 w 2175516"/>
                <a:gd name="connsiteY81" fmla="*/ 796 h 126301"/>
                <a:gd name="connsiteX82" fmla="*/ 262686 w 2175516"/>
                <a:gd name="connsiteY82" fmla="*/ 796 h 126301"/>
                <a:gd name="connsiteX83" fmla="*/ 240132 w 2175516"/>
                <a:gd name="connsiteY83" fmla="*/ 7430 h 126301"/>
                <a:gd name="connsiteX84" fmla="*/ 240132 w 2175516"/>
                <a:gd name="connsiteY84" fmla="*/ 10614 h 126301"/>
                <a:gd name="connsiteX85" fmla="*/ 244377 w 2175516"/>
                <a:gd name="connsiteY85" fmla="*/ 12206 h 126301"/>
                <a:gd name="connsiteX86" fmla="*/ 248888 w 2175516"/>
                <a:gd name="connsiteY86" fmla="*/ 18308 h 126301"/>
                <a:gd name="connsiteX87" fmla="*/ 248888 w 2175516"/>
                <a:gd name="connsiteY87" fmla="*/ 79867 h 126301"/>
                <a:gd name="connsiteX88" fmla="*/ 241193 w 2175516"/>
                <a:gd name="connsiteY88" fmla="*/ 90215 h 126301"/>
                <a:gd name="connsiteX89" fmla="*/ 239071 w 2175516"/>
                <a:gd name="connsiteY89" fmla="*/ 90215 h 126301"/>
                <a:gd name="connsiteX90" fmla="*/ 239071 w 2175516"/>
                <a:gd name="connsiteY90" fmla="*/ 94726 h 126301"/>
                <a:gd name="connsiteX91" fmla="*/ 274626 w 2175516"/>
                <a:gd name="connsiteY91" fmla="*/ 94726 h 126301"/>
                <a:gd name="connsiteX92" fmla="*/ 274626 w 2175516"/>
                <a:gd name="connsiteY92" fmla="*/ 90215 h 126301"/>
                <a:gd name="connsiteX93" fmla="*/ 273565 w 2175516"/>
                <a:gd name="connsiteY93" fmla="*/ 90215 h 126301"/>
                <a:gd name="connsiteX94" fmla="*/ 265870 w 2175516"/>
                <a:gd name="connsiteY94" fmla="*/ 80398 h 126301"/>
                <a:gd name="connsiteX95" fmla="*/ 265870 w 2175516"/>
                <a:gd name="connsiteY95" fmla="*/ 51741 h 126301"/>
                <a:gd name="connsiteX96" fmla="*/ 266135 w 2175516"/>
                <a:gd name="connsiteY96" fmla="*/ 51741 h 126301"/>
                <a:gd name="connsiteX97" fmla="*/ 388987 w 2175516"/>
                <a:gd name="connsiteY97" fmla="*/ 84113 h 126301"/>
                <a:gd name="connsiteX98" fmla="*/ 385273 w 2175516"/>
                <a:gd name="connsiteY98" fmla="*/ 85705 h 126301"/>
                <a:gd name="connsiteX99" fmla="*/ 382619 w 2175516"/>
                <a:gd name="connsiteY99" fmla="*/ 79071 h 126301"/>
                <a:gd name="connsiteX100" fmla="*/ 382619 w 2175516"/>
                <a:gd name="connsiteY100" fmla="*/ 52802 h 126301"/>
                <a:gd name="connsiteX101" fmla="*/ 359535 w 2175516"/>
                <a:gd name="connsiteY101" fmla="*/ 35821 h 126301"/>
                <a:gd name="connsiteX102" fmla="*/ 336450 w 2175516"/>
                <a:gd name="connsiteY102" fmla="*/ 44046 h 126301"/>
                <a:gd name="connsiteX103" fmla="*/ 333266 w 2175516"/>
                <a:gd name="connsiteY103" fmla="*/ 57844 h 126301"/>
                <a:gd name="connsiteX104" fmla="*/ 349186 w 2175516"/>
                <a:gd name="connsiteY104" fmla="*/ 52272 h 126301"/>
                <a:gd name="connsiteX105" fmla="*/ 356351 w 2175516"/>
                <a:gd name="connsiteY105" fmla="*/ 41393 h 126301"/>
                <a:gd name="connsiteX106" fmla="*/ 365107 w 2175516"/>
                <a:gd name="connsiteY106" fmla="*/ 50680 h 126301"/>
                <a:gd name="connsiteX107" fmla="*/ 365107 w 2175516"/>
                <a:gd name="connsiteY107" fmla="*/ 56252 h 126301"/>
                <a:gd name="connsiteX108" fmla="*/ 348656 w 2175516"/>
                <a:gd name="connsiteY108" fmla="*/ 63947 h 126301"/>
                <a:gd name="connsiteX109" fmla="*/ 336450 w 2175516"/>
                <a:gd name="connsiteY109" fmla="*/ 70050 h 126301"/>
                <a:gd name="connsiteX110" fmla="*/ 331939 w 2175516"/>
                <a:gd name="connsiteY110" fmla="*/ 81459 h 126301"/>
                <a:gd name="connsiteX111" fmla="*/ 347860 w 2175516"/>
                <a:gd name="connsiteY111" fmla="*/ 95257 h 126301"/>
                <a:gd name="connsiteX112" fmla="*/ 365372 w 2175516"/>
                <a:gd name="connsiteY112" fmla="*/ 87562 h 126301"/>
                <a:gd name="connsiteX113" fmla="*/ 375190 w 2175516"/>
                <a:gd name="connsiteY113" fmla="*/ 95257 h 126301"/>
                <a:gd name="connsiteX114" fmla="*/ 391110 w 2175516"/>
                <a:gd name="connsiteY114" fmla="*/ 87562 h 126301"/>
                <a:gd name="connsiteX115" fmla="*/ 388987 w 2175516"/>
                <a:gd name="connsiteY115" fmla="*/ 84113 h 126301"/>
                <a:gd name="connsiteX116" fmla="*/ 388987 w 2175516"/>
                <a:gd name="connsiteY116" fmla="*/ 84113 h 126301"/>
                <a:gd name="connsiteX117" fmla="*/ 364842 w 2175516"/>
                <a:gd name="connsiteY117" fmla="*/ 82521 h 126301"/>
                <a:gd name="connsiteX118" fmla="*/ 355555 w 2175516"/>
                <a:gd name="connsiteY118" fmla="*/ 88093 h 126301"/>
                <a:gd name="connsiteX119" fmla="*/ 348390 w 2175516"/>
                <a:gd name="connsiteY119" fmla="*/ 78806 h 126301"/>
                <a:gd name="connsiteX120" fmla="*/ 357677 w 2175516"/>
                <a:gd name="connsiteY120" fmla="*/ 66865 h 126301"/>
                <a:gd name="connsiteX121" fmla="*/ 364842 w 2175516"/>
                <a:gd name="connsiteY121" fmla="*/ 62355 h 126301"/>
                <a:gd name="connsiteX122" fmla="*/ 364842 w 2175516"/>
                <a:gd name="connsiteY122" fmla="*/ 82521 h 126301"/>
                <a:gd name="connsiteX123" fmla="*/ 364842 w 2175516"/>
                <a:gd name="connsiteY123" fmla="*/ 82521 h 126301"/>
                <a:gd name="connsiteX124" fmla="*/ 472304 w 2175516"/>
                <a:gd name="connsiteY124" fmla="*/ 59967 h 126301"/>
                <a:gd name="connsiteX125" fmla="*/ 457445 w 2175516"/>
                <a:gd name="connsiteY125" fmla="*/ 35821 h 126301"/>
                <a:gd name="connsiteX126" fmla="*/ 431176 w 2175516"/>
                <a:gd name="connsiteY126" fmla="*/ 46700 h 126301"/>
                <a:gd name="connsiteX127" fmla="*/ 431176 w 2175516"/>
                <a:gd name="connsiteY127" fmla="*/ 33963 h 126301"/>
                <a:gd name="connsiteX128" fmla="*/ 429054 w 2175516"/>
                <a:gd name="connsiteY128" fmla="*/ 33963 h 126301"/>
                <a:gd name="connsiteX129" fmla="*/ 404908 w 2175516"/>
                <a:gd name="connsiteY129" fmla="*/ 42189 h 126301"/>
                <a:gd name="connsiteX130" fmla="*/ 404908 w 2175516"/>
                <a:gd name="connsiteY130" fmla="*/ 45373 h 126301"/>
                <a:gd name="connsiteX131" fmla="*/ 407561 w 2175516"/>
                <a:gd name="connsiteY131" fmla="*/ 45904 h 126301"/>
                <a:gd name="connsiteX132" fmla="*/ 414195 w 2175516"/>
                <a:gd name="connsiteY132" fmla="*/ 52537 h 126301"/>
                <a:gd name="connsiteX133" fmla="*/ 414195 w 2175516"/>
                <a:gd name="connsiteY133" fmla="*/ 79867 h 126301"/>
                <a:gd name="connsiteX134" fmla="*/ 406500 w 2175516"/>
                <a:gd name="connsiteY134" fmla="*/ 89685 h 126301"/>
                <a:gd name="connsiteX135" fmla="*/ 405438 w 2175516"/>
                <a:gd name="connsiteY135" fmla="*/ 89685 h 126301"/>
                <a:gd name="connsiteX136" fmla="*/ 405438 w 2175516"/>
                <a:gd name="connsiteY136" fmla="*/ 94195 h 126301"/>
                <a:gd name="connsiteX137" fmla="*/ 440994 w 2175516"/>
                <a:gd name="connsiteY137" fmla="*/ 94195 h 126301"/>
                <a:gd name="connsiteX138" fmla="*/ 440994 w 2175516"/>
                <a:gd name="connsiteY138" fmla="*/ 89685 h 126301"/>
                <a:gd name="connsiteX139" fmla="*/ 439933 w 2175516"/>
                <a:gd name="connsiteY139" fmla="*/ 89685 h 126301"/>
                <a:gd name="connsiteX140" fmla="*/ 431176 w 2175516"/>
                <a:gd name="connsiteY140" fmla="*/ 80398 h 126301"/>
                <a:gd name="connsiteX141" fmla="*/ 431176 w 2175516"/>
                <a:gd name="connsiteY141" fmla="*/ 51741 h 126301"/>
                <a:gd name="connsiteX142" fmla="*/ 446566 w 2175516"/>
                <a:gd name="connsiteY142" fmla="*/ 45638 h 126301"/>
                <a:gd name="connsiteX143" fmla="*/ 454792 w 2175516"/>
                <a:gd name="connsiteY143" fmla="*/ 61559 h 126301"/>
                <a:gd name="connsiteX144" fmla="*/ 454792 w 2175516"/>
                <a:gd name="connsiteY144" fmla="*/ 73764 h 126301"/>
                <a:gd name="connsiteX145" fmla="*/ 447097 w 2175516"/>
                <a:gd name="connsiteY145" fmla="*/ 89685 h 126301"/>
                <a:gd name="connsiteX146" fmla="*/ 447097 w 2175516"/>
                <a:gd name="connsiteY146" fmla="*/ 94195 h 126301"/>
                <a:gd name="connsiteX147" fmla="*/ 479999 w 2175516"/>
                <a:gd name="connsiteY147" fmla="*/ 94195 h 126301"/>
                <a:gd name="connsiteX148" fmla="*/ 479999 w 2175516"/>
                <a:gd name="connsiteY148" fmla="*/ 89685 h 126301"/>
                <a:gd name="connsiteX149" fmla="*/ 472304 w 2175516"/>
                <a:gd name="connsiteY149" fmla="*/ 81459 h 126301"/>
                <a:gd name="connsiteX150" fmla="*/ 472304 w 2175516"/>
                <a:gd name="connsiteY150" fmla="*/ 59967 h 126301"/>
                <a:gd name="connsiteX151" fmla="*/ 472304 w 2175516"/>
                <a:gd name="connsiteY151" fmla="*/ 59967 h 126301"/>
                <a:gd name="connsiteX152" fmla="*/ 532536 w 2175516"/>
                <a:gd name="connsiteY152" fmla="*/ 12736 h 126301"/>
                <a:gd name="connsiteX153" fmla="*/ 534128 w 2175516"/>
                <a:gd name="connsiteY153" fmla="*/ 12736 h 126301"/>
                <a:gd name="connsiteX154" fmla="*/ 544476 w 2175516"/>
                <a:gd name="connsiteY154" fmla="*/ 23084 h 126301"/>
                <a:gd name="connsiteX155" fmla="*/ 544476 w 2175516"/>
                <a:gd name="connsiteY155" fmla="*/ 79071 h 126301"/>
                <a:gd name="connsiteX156" fmla="*/ 534128 w 2175516"/>
                <a:gd name="connsiteY156" fmla="*/ 88889 h 126301"/>
                <a:gd name="connsiteX157" fmla="*/ 532536 w 2175516"/>
                <a:gd name="connsiteY157" fmla="*/ 88889 h 126301"/>
                <a:gd name="connsiteX158" fmla="*/ 532536 w 2175516"/>
                <a:gd name="connsiteY158" fmla="*/ 94461 h 126301"/>
                <a:gd name="connsiteX159" fmla="*/ 576848 w 2175516"/>
                <a:gd name="connsiteY159" fmla="*/ 94461 h 126301"/>
                <a:gd name="connsiteX160" fmla="*/ 576848 w 2175516"/>
                <a:gd name="connsiteY160" fmla="*/ 89154 h 126301"/>
                <a:gd name="connsiteX161" fmla="*/ 574725 w 2175516"/>
                <a:gd name="connsiteY161" fmla="*/ 89154 h 126301"/>
                <a:gd name="connsiteX162" fmla="*/ 563846 w 2175516"/>
                <a:gd name="connsiteY162" fmla="*/ 78806 h 126301"/>
                <a:gd name="connsiteX163" fmla="*/ 563846 w 2175516"/>
                <a:gd name="connsiteY163" fmla="*/ 23350 h 126301"/>
                <a:gd name="connsiteX164" fmla="*/ 574725 w 2175516"/>
                <a:gd name="connsiteY164" fmla="*/ 13002 h 126301"/>
                <a:gd name="connsiteX165" fmla="*/ 576848 w 2175516"/>
                <a:gd name="connsiteY165" fmla="*/ 13002 h 126301"/>
                <a:gd name="connsiteX166" fmla="*/ 576848 w 2175516"/>
                <a:gd name="connsiteY166" fmla="*/ 7430 h 126301"/>
                <a:gd name="connsiteX167" fmla="*/ 532536 w 2175516"/>
                <a:gd name="connsiteY167" fmla="*/ 7430 h 126301"/>
                <a:gd name="connsiteX168" fmla="*/ 532536 w 2175516"/>
                <a:gd name="connsiteY168" fmla="*/ 12736 h 126301"/>
                <a:gd name="connsiteX169" fmla="*/ 532536 w 2175516"/>
                <a:gd name="connsiteY169" fmla="*/ 12736 h 126301"/>
                <a:gd name="connsiteX170" fmla="*/ 659368 w 2175516"/>
                <a:gd name="connsiteY170" fmla="*/ 59967 h 126301"/>
                <a:gd name="connsiteX171" fmla="*/ 644509 w 2175516"/>
                <a:gd name="connsiteY171" fmla="*/ 35821 h 126301"/>
                <a:gd name="connsiteX172" fmla="*/ 618241 w 2175516"/>
                <a:gd name="connsiteY172" fmla="*/ 46700 h 126301"/>
                <a:gd name="connsiteX173" fmla="*/ 618241 w 2175516"/>
                <a:gd name="connsiteY173" fmla="*/ 33963 h 126301"/>
                <a:gd name="connsiteX174" fmla="*/ 616118 w 2175516"/>
                <a:gd name="connsiteY174" fmla="*/ 33963 h 126301"/>
                <a:gd name="connsiteX175" fmla="*/ 591972 w 2175516"/>
                <a:gd name="connsiteY175" fmla="*/ 42189 h 126301"/>
                <a:gd name="connsiteX176" fmla="*/ 591972 w 2175516"/>
                <a:gd name="connsiteY176" fmla="*/ 45373 h 126301"/>
                <a:gd name="connsiteX177" fmla="*/ 594625 w 2175516"/>
                <a:gd name="connsiteY177" fmla="*/ 45904 h 126301"/>
                <a:gd name="connsiteX178" fmla="*/ 601259 w 2175516"/>
                <a:gd name="connsiteY178" fmla="*/ 52537 h 126301"/>
                <a:gd name="connsiteX179" fmla="*/ 601259 w 2175516"/>
                <a:gd name="connsiteY179" fmla="*/ 79867 h 126301"/>
                <a:gd name="connsiteX180" fmla="*/ 593564 w 2175516"/>
                <a:gd name="connsiteY180" fmla="*/ 89685 h 126301"/>
                <a:gd name="connsiteX181" fmla="*/ 592503 w 2175516"/>
                <a:gd name="connsiteY181" fmla="*/ 89685 h 126301"/>
                <a:gd name="connsiteX182" fmla="*/ 592503 w 2175516"/>
                <a:gd name="connsiteY182" fmla="*/ 94195 h 126301"/>
                <a:gd name="connsiteX183" fmla="*/ 628058 w 2175516"/>
                <a:gd name="connsiteY183" fmla="*/ 94195 h 126301"/>
                <a:gd name="connsiteX184" fmla="*/ 628058 w 2175516"/>
                <a:gd name="connsiteY184" fmla="*/ 89685 h 126301"/>
                <a:gd name="connsiteX185" fmla="*/ 626997 w 2175516"/>
                <a:gd name="connsiteY185" fmla="*/ 89685 h 126301"/>
                <a:gd name="connsiteX186" fmla="*/ 618241 w 2175516"/>
                <a:gd name="connsiteY186" fmla="*/ 80398 h 126301"/>
                <a:gd name="connsiteX187" fmla="*/ 618241 w 2175516"/>
                <a:gd name="connsiteY187" fmla="*/ 51741 h 126301"/>
                <a:gd name="connsiteX188" fmla="*/ 633630 w 2175516"/>
                <a:gd name="connsiteY188" fmla="*/ 45638 h 126301"/>
                <a:gd name="connsiteX189" fmla="*/ 641856 w 2175516"/>
                <a:gd name="connsiteY189" fmla="*/ 61559 h 126301"/>
                <a:gd name="connsiteX190" fmla="*/ 641856 w 2175516"/>
                <a:gd name="connsiteY190" fmla="*/ 73764 h 126301"/>
                <a:gd name="connsiteX191" fmla="*/ 634161 w 2175516"/>
                <a:gd name="connsiteY191" fmla="*/ 89685 h 126301"/>
                <a:gd name="connsiteX192" fmla="*/ 634161 w 2175516"/>
                <a:gd name="connsiteY192" fmla="*/ 94195 h 126301"/>
                <a:gd name="connsiteX193" fmla="*/ 667063 w 2175516"/>
                <a:gd name="connsiteY193" fmla="*/ 94195 h 126301"/>
                <a:gd name="connsiteX194" fmla="*/ 667063 w 2175516"/>
                <a:gd name="connsiteY194" fmla="*/ 89685 h 126301"/>
                <a:gd name="connsiteX195" fmla="*/ 659368 w 2175516"/>
                <a:gd name="connsiteY195" fmla="*/ 81459 h 126301"/>
                <a:gd name="connsiteX196" fmla="*/ 659368 w 2175516"/>
                <a:gd name="connsiteY196" fmla="*/ 59967 h 126301"/>
                <a:gd name="connsiteX197" fmla="*/ 659368 w 2175516"/>
                <a:gd name="connsiteY197" fmla="*/ 59967 h 126301"/>
                <a:gd name="connsiteX198" fmla="*/ 686698 w 2175516"/>
                <a:gd name="connsiteY198" fmla="*/ 94461 h 126301"/>
                <a:gd name="connsiteX199" fmla="*/ 690413 w 2175516"/>
                <a:gd name="connsiteY199" fmla="*/ 94461 h 126301"/>
                <a:gd name="connsiteX200" fmla="*/ 693066 w 2175516"/>
                <a:gd name="connsiteY200" fmla="*/ 93930 h 126301"/>
                <a:gd name="connsiteX201" fmla="*/ 695720 w 2175516"/>
                <a:gd name="connsiteY201" fmla="*/ 94461 h 126301"/>
                <a:gd name="connsiteX202" fmla="*/ 707660 w 2175516"/>
                <a:gd name="connsiteY202" fmla="*/ 94991 h 126301"/>
                <a:gd name="connsiteX203" fmla="*/ 726234 w 2175516"/>
                <a:gd name="connsiteY203" fmla="*/ 78010 h 126301"/>
                <a:gd name="connsiteX204" fmla="*/ 709783 w 2175516"/>
                <a:gd name="connsiteY204" fmla="*/ 58375 h 126301"/>
                <a:gd name="connsiteX205" fmla="*/ 698373 w 2175516"/>
                <a:gd name="connsiteY205" fmla="*/ 46965 h 126301"/>
                <a:gd name="connsiteX206" fmla="*/ 705006 w 2175516"/>
                <a:gd name="connsiteY206" fmla="*/ 41924 h 126301"/>
                <a:gd name="connsiteX207" fmla="*/ 718273 w 2175516"/>
                <a:gd name="connsiteY207" fmla="*/ 54129 h 126301"/>
                <a:gd name="connsiteX208" fmla="*/ 722784 w 2175516"/>
                <a:gd name="connsiteY208" fmla="*/ 54129 h 126301"/>
                <a:gd name="connsiteX209" fmla="*/ 722784 w 2175516"/>
                <a:gd name="connsiteY209" fmla="*/ 38739 h 126301"/>
                <a:gd name="connsiteX210" fmla="*/ 706864 w 2175516"/>
                <a:gd name="connsiteY210" fmla="*/ 36086 h 126301"/>
                <a:gd name="connsiteX211" fmla="*/ 684841 w 2175516"/>
                <a:gd name="connsiteY211" fmla="*/ 53599 h 126301"/>
                <a:gd name="connsiteX212" fmla="*/ 700761 w 2175516"/>
                <a:gd name="connsiteY212" fmla="*/ 72703 h 126301"/>
                <a:gd name="connsiteX213" fmla="*/ 711109 w 2175516"/>
                <a:gd name="connsiteY213" fmla="*/ 83582 h 126301"/>
                <a:gd name="connsiteX214" fmla="*/ 703945 w 2175516"/>
                <a:gd name="connsiteY214" fmla="*/ 90215 h 126301"/>
                <a:gd name="connsiteX215" fmla="*/ 689086 w 2175516"/>
                <a:gd name="connsiteY215" fmla="*/ 78275 h 126301"/>
                <a:gd name="connsiteX216" fmla="*/ 684841 w 2175516"/>
                <a:gd name="connsiteY216" fmla="*/ 78275 h 126301"/>
                <a:gd name="connsiteX217" fmla="*/ 686698 w 2175516"/>
                <a:gd name="connsiteY217" fmla="*/ 94461 h 126301"/>
                <a:gd name="connsiteX218" fmla="*/ 686698 w 2175516"/>
                <a:gd name="connsiteY218" fmla="*/ 94461 h 126301"/>
                <a:gd name="connsiteX219" fmla="*/ 769219 w 2175516"/>
                <a:gd name="connsiteY219" fmla="*/ 45108 h 126301"/>
                <a:gd name="connsiteX220" fmla="*/ 785670 w 2175516"/>
                <a:gd name="connsiteY220" fmla="*/ 45108 h 126301"/>
                <a:gd name="connsiteX221" fmla="*/ 787262 w 2175516"/>
                <a:gd name="connsiteY221" fmla="*/ 37413 h 126301"/>
                <a:gd name="connsiteX222" fmla="*/ 769219 w 2175516"/>
                <a:gd name="connsiteY222" fmla="*/ 37413 h 126301"/>
                <a:gd name="connsiteX223" fmla="*/ 769219 w 2175516"/>
                <a:gd name="connsiteY223" fmla="*/ 19900 h 126301"/>
                <a:gd name="connsiteX224" fmla="*/ 765504 w 2175516"/>
                <a:gd name="connsiteY224" fmla="*/ 19900 h 126301"/>
                <a:gd name="connsiteX225" fmla="*/ 744807 w 2175516"/>
                <a:gd name="connsiteY225" fmla="*/ 41393 h 126301"/>
                <a:gd name="connsiteX226" fmla="*/ 744807 w 2175516"/>
                <a:gd name="connsiteY226" fmla="*/ 45108 h 126301"/>
                <a:gd name="connsiteX227" fmla="*/ 752502 w 2175516"/>
                <a:gd name="connsiteY227" fmla="*/ 45108 h 126301"/>
                <a:gd name="connsiteX228" fmla="*/ 752502 w 2175516"/>
                <a:gd name="connsiteY228" fmla="*/ 78540 h 126301"/>
                <a:gd name="connsiteX229" fmla="*/ 768423 w 2175516"/>
                <a:gd name="connsiteY229" fmla="*/ 94991 h 126301"/>
                <a:gd name="connsiteX230" fmla="*/ 788854 w 2175516"/>
                <a:gd name="connsiteY230" fmla="*/ 83582 h 126301"/>
                <a:gd name="connsiteX231" fmla="*/ 786731 w 2175516"/>
                <a:gd name="connsiteY231" fmla="*/ 79336 h 126301"/>
                <a:gd name="connsiteX232" fmla="*/ 776383 w 2175516"/>
                <a:gd name="connsiteY232" fmla="*/ 86501 h 126301"/>
                <a:gd name="connsiteX233" fmla="*/ 769749 w 2175516"/>
                <a:gd name="connsiteY233" fmla="*/ 79336 h 126301"/>
                <a:gd name="connsiteX234" fmla="*/ 769749 w 2175516"/>
                <a:gd name="connsiteY234" fmla="*/ 45108 h 126301"/>
                <a:gd name="connsiteX235" fmla="*/ 769219 w 2175516"/>
                <a:gd name="connsiteY235" fmla="*/ 45108 h 126301"/>
                <a:gd name="connsiteX236" fmla="*/ 836084 w 2175516"/>
                <a:gd name="connsiteY236" fmla="*/ 90215 h 126301"/>
                <a:gd name="connsiteX237" fmla="*/ 827328 w 2175516"/>
                <a:gd name="connsiteY237" fmla="*/ 81459 h 126301"/>
                <a:gd name="connsiteX238" fmla="*/ 827328 w 2175516"/>
                <a:gd name="connsiteY238" fmla="*/ 34229 h 126301"/>
                <a:gd name="connsiteX239" fmla="*/ 825205 w 2175516"/>
                <a:gd name="connsiteY239" fmla="*/ 34229 h 126301"/>
                <a:gd name="connsiteX240" fmla="*/ 801059 w 2175516"/>
                <a:gd name="connsiteY240" fmla="*/ 42454 h 126301"/>
                <a:gd name="connsiteX241" fmla="*/ 801059 w 2175516"/>
                <a:gd name="connsiteY241" fmla="*/ 45638 h 126301"/>
                <a:gd name="connsiteX242" fmla="*/ 805305 w 2175516"/>
                <a:gd name="connsiteY242" fmla="*/ 47230 h 126301"/>
                <a:gd name="connsiteX243" fmla="*/ 810346 w 2175516"/>
                <a:gd name="connsiteY243" fmla="*/ 53333 h 126301"/>
                <a:gd name="connsiteX244" fmla="*/ 810346 w 2175516"/>
                <a:gd name="connsiteY244" fmla="*/ 80132 h 126301"/>
                <a:gd name="connsiteX245" fmla="*/ 802651 w 2175516"/>
                <a:gd name="connsiteY245" fmla="*/ 89950 h 126301"/>
                <a:gd name="connsiteX246" fmla="*/ 801059 w 2175516"/>
                <a:gd name="connsiteY246" fmla="*/ 89950 h 126301"/>
                <a:gd name="connsiteX247" fmla="*/ 801059 w 2175516"/>
                <a:gd name="connsiteY247" fmla="*/ 94461 h 126301"/>
                <a:gd name="connsiteX248" fmla="*/ 836084 w 2175516"/>
                <a:gd name="connsiteY248" fmla="*/ 94461 h 126301"/>
                <a:gd name="connsiteX249" fmla="*/ 836084 w 2175516"/>
                <a:gd name="connsiteY249" fmla="*/ 90215 h 126301"/>
                <a:gd name="connsiteX250" fmla="*/ 836084 w 2175516"/>
                <a:gd name="connsiteY250" fmla="*/ 90215 h 126301"/>
                <a:gd name="connsiteX251" fmla="*/ 818572 w 2175516"/>
                <a:gd name="connsiteY251" fmla="*/ 2388 h 126301"/>
                <a:gd name="connsiteX252" fmla="*/ 807162 w 2175516"/>
                <a:gd name="connsiteY252" fmla="*/ 11675 h 126301"/>
                <a:gd name="connsiteX253" fmla="*/ 818572 w 2175516"/>
                <a:gd name="connsiteY253" fmla="*/ 21492 h 126301"/>
                <a:gd name="connsiteX254" fmla="*/ 829451 w 2175516"/>
                <a:gd name="connsiteY254" fmla="*/ 11675 h 126301"/>
                <a:gd name="connsiteX255" fmla="*/ 818572 w 2175516"/>
                <a:gd name="connsiteY255" fmla="*/ 2388 h 126301"/>
                <a:gd name="connsiteX256" fmla="*/ 818572 w 2175516"/>
                <a:gd name="connsiteY256" fmla="*/ 2388 h 126301"/>
                <a:gd name="connsiteX257" fmla="*/ 876681 w 2175516"/>
                <a:gd name="connsiteY257" fmla="*/ 45108 h 126301"/>
                <a:gd name="connsiteX258" fmla="*/ 893132 w 2175516"/>
                <a:gd name="connsiteY258" fmla="*/ 45108 h 126301"/>
                <a:gd name="connsiteX259" fmla="*/ 894724 w 2175516"/>
                <a:gd name="connsiteY259" fmla="*/ 37413 h 126301"/>
                <a:gd name="connsiteX260" fmla="*/ 876681 w 2175516"/>
                <a:gd name="connsiteY260" fmla="*/ 37413 h 126301"/>
                <a:gd name="connsiteX261" fmla="*/ 876681 w 2175516"/>
                <a:gd name="connsiteY261" fmla="*/ 19900 h 126301"/>
                <a:gd name="connsiteX262" fmla="*/ 872966 w 2175516"/>
                <a:gd name="connsiteY262" fmla="*/ 19900 h 126301"/>
                <a:gd name="connsiteX263" fmla="*/ 852004 w 2175516"/>
                <a:gd name="connsiteY263" fmla="*/ 41393 h 126301"/>
                <a:gd name="connsiteX264" fmla="*/ 852004 w 2175516"/>
                <a:gd name="connsiteY264" fmla="*/ 45108 h 126301"/>
                <a:gd name="connsiteX265" fmla="*/ 859699 w 2175516"/>
                <a:gd name="connsiteY265" fmla="*/ 45108 h 126301"/>
                <a:gd name="connsiteX266" fmla="*/ 859699 w 2175516"/>
                <a:gd name="connsiteY266" fmla="*/ 78540 h 126301"/>
                <a:gd name="connsiteX267" fmla="*/ 875620 w 2175516"/>
                <a:gd name="connsiteY267" fmla="*/ 94991 h 126301"/>
                <a:gd name="connsiteX268" fmla="*/ 896051 w 2175516"/>
                <a:gd name="connsiteY268" fmla="*/ 83582 h 126301"/>
                <a:gd name="connsiteX269" fmla="*/ 893928 w 2175516"/>
                <a:gd name="connsiteY269" fmla="*/ 79336 h 126301"/>
                <a:gd name="connsiteX270" fmla="*/ 883580 w 2175516"/>
                <a:gd name="connsiteY270" fmla="*/ 86501 h 126301"/>
                <a:gd name="connsiteX271" fmla="*/ 876946 w 2175516"/>
                <a:gd name="connsiteY271" fmla="*/ 79336 h 126301"/>
                <a:gd name="connsiteX272" fmla="*/ 876946 w 2175516"/>
                <a:gd name="connsiteY272" fmla="*/ 45108 h 126301"/>
                <a:gd name="connsiteX273" fmla="*/ 876681 w 2175516"/>
                <a:gd name="connsiteY273" fmla="*/ 45108 h 126301"/>
                <a:gd name="connsiteX274" fmla="*/ 957344 w 2175516"/>
                <a:gd name="connsiteY274" fmla="*/ 94991 h 126301"/>
                <a:gd name="connsiteX275" fmla="*/ 959998 w 2175516"/>
                <a:gd name="connsiteY275" fmla="*/ 94991 h 126301"/>
                <a:gd name="connsiteX276" fmla="*/ 982551 w 2175516"/>
                <a:gd name="connsiteY276" fmla="*/ 90746 h 126301"/>
                <a:gd name="connsiteX277" fmla="*/ 982551 w 2175516"/>
                <a:gd name="connsiteY277" fmla="*/ 86235 h 126301"/>
                <a:gd name="connsiteX278" fmla="*/ 978837 w 2175516"/>
                <a:gd name="connsiteY278" fmla="*/ 86766 h 126301"/>
                <a:gd name="connsiteX279" fmla="*/ 974326 w 2175516"/>
                <a:gd name="connsiteY279" fmla="*/ 78540 h 126301"/>
                <a:gd name="connsiteX280" fmla="*/ 974326 w 2175516"/>
                <a:gd name="connsiteY280" fmla="*/ 35821 h 126301"/>
                <a:gd name="connsiteX281" fmla="*/ 971672 w 2175516"/>
                <a:gd name="connsiteY281" fmla="*/ 35821 h 126301"/>
                <a:gd name="connsiteX282" fmla="*/ 945935 w 2175516"/>
                <a:gd name="connsiteY282" fmla="*/ 40862 h 126301"/>
                <a:gd name="connsiteX283" fmla="*/ 945935 w 2175516"/>
                <a:gd name="connsiteY283" fmla="*/ 44046 h 126301"/>
                <a:gd name="connsiteX284" fmla="*/ 952568 w 2175516"/>
                <a:gd name="connsiteY284" fmla="*/ 46169 h 126301"/>
                <a:gd name="connsiteX285" fmla="*/ 957609 w 2175516"/>
                <a:gd name="connsiteY285" fmla="*/ 54395 h 126301"/>
                <a:gd name="connsiteX286" fmla="*/ 957609 w 2175516"/>
                <a:gd name="connsiteY286" fmla="*/ 79602 h 126301"/>
                <a:gd name="connsiteX287" fmla="*/ 943281 w 2175516"/>
                <a:gd name="connsiteY287" fmla="*/ 85174 h 126301"/>
                <a:gd name="connsiteX288" fmla="*/ 933994 w 2175516"/>
                <a:gd name="connsiteY288" fmla="*/ 71376 h 126301"/>
                <a:gd name="connsiteX289" fmla="*/ 933994 w 2175516"/>
                <a:gd name="connsiteY289" fmla="*/ 35821 h 126301"/>
                <a:gd name="connsiteX290" fmla="*/ 931341 w 2175516"/>
                <a:gd name="connsiteY290" fmla="*/ 35821 h 126301"/>
                <a:gd name="connsiteX291" fmla="*/ 911175 w 2175516"/>
                <a:gd name="connsiteY291" fmla="*/ 40862 h 126301"/>
                <a:gd name="connsiteX292" fmla="*/ 911175 w 2175516"/>
                <a:gd name="connsiteY292" fmla="*/ 44046 h 126301"/>
                <a:gd name="connsiteX293" fmla="*/ 914359 w 2175516"/>
                <a:gd name="connsiteY293" fmla="*/ 45638 h 126301"/>
                <a:gd name="connsiteX294" fmla="*/ 917013 w 2175516"/>
                <a:gd name="connsiteY294" fmla="*/ 53333 h 126301"/>
                <a:gd name="connsiteX295" fmla="*/ 917013 w 2175516"/>
                <a:gd name="connsiteY295" fmla="*/ 76948 h 126301"/>
                <a:gd name="connsiteX296" fmla="*/ 932402 w 2175516"/>
                <a:gd name="connsiteY296" fmla="*/ 94991 h 126301"/>
                <a:gd name="connsiteX297" fmla="*/ 957609 w 2175516"/>
                <a:gd name="connsiteY297" fmla="*/ 84643 h 126301"/>
                <a:gd name="connsiteX298" fmla="*/ 957609 w 2175516"/>
                <a:gd name="connsiteY298" fmla="*/ 94991 h 126301"/>
                <a:gd name="connsiteX299" fmla="*/ 957344 w 2175516"/>
                <a:gd name="connsiteY299" fmla="*/ 94991 h 126301"/>
                <a:gd name="connsiteX300" fmla="*/ 1023679 w 2175516"/>
                <a:gd name="connsiteY300" fmla="*/ 45108 h 126301"/>
                <a:gd name="connsiteX301" fmla="*/ 1040130 w 2175516"/>
                <a:gd name="connsiteY301" fmla="*/ 45108 h 126301"/>
                <a:gd name="connsiteX302" fmla="*/ 1041722 w 2175516"/>
                <a:gd name="connsiteY302" fmla="*/ 37413 h 126301"/>
                <a:gd name="connsiteX303" fmla="*/ 1023679 w 2175516"/>
                <a:gd name="connsiteY303" fmla="*/ 37413 h 126301"/>
                <a:gd name="connsiteX304" fmla="*/ 1023679 w 2175516"/>
                <a:gd name="connsiteY304" fmla="*/ 19900 h 126301"/>
                <a:gd name="connsiteX305" fmla="*/ 1019964 w 2175516"/>
                <a:gd name="connsiteY305" fmla="*/ 19900 h 126301"/>
                <a:gd name="connsiteX306" fmla="*/ 999002 w 2175516"/>
                <a:gd name="connsiteY306" fmla="*/ 41393 h 126301"/>
                <a:gd name="connsiteX307" fmla="*/ 999002 w 2175516"/>
                <a:gd name="connsiteY307" fmla="*/ 45108 h 126301"/>
                <a:gd name="connsiteX308" fmla="*/ 1006697 w 2175516"/>
                <a:gd name="connsiteY308" fmla="*/ 45108 h 126301"/>
                <a:gd name="connsiteX309" fmla="*/ 1006697 w 2175516"/>
                <a:gd name="connsiteY309" fmla="*/ 78540 h 126301"/>
                <a:gd name="connsiteX310" fmla="*/ 1022618 w 2175516"/>
                <a:gd name="connsiteY310" fmla="*/ 94991 h 126301"/>
                <a:gd name="connsiteX311" fmla="*/ 1043049 w 2175516"/>
                <a:gd name="connsiteY311" fmla="*/ 83582 h 126301"/>
                <a:gd name="connsiteX312" fmla="*/ 1040926 w 2175516"/>
                <a:gd name="connsiteY312" fmla="*/ 79336 h 126301"/>
                <a:gd name="connsiteX313" fmla="*/ 1030578 w 2175516"/>
                <a:gd name="connsiteY313" fmla="*/ 86501 h 126301"/>
                <a:gd name="connsiteX314" fmla="*/ 1023944 w 2175516"/>
                <a:gd name="connsiteY314" fmla="*/ 79336 h 126301"/>
                <a:gd name="connsiteX315" fmla="*/ 1023944 w 2175516"/>
                <a:gd name="connsiteY315" fmla="*/ 45108 h 126301"/>
                <a:gd name="connsiteX316" fmla="*/ 1023679 w 2175516"/>
                <a:gd name="connsiteY316" fmla="*/ 45108 h 126301"/>
                <a:gd name="connsiteX317" fmla="*/ 1111506 w 2175516"/>
                <a:gd name="connsiteY317" fmla="*/ 75356 h 126301"/>
                <a:gd name="connsiteX318" fmla="*/ 1094525 w 2175516"/>
                <a:gd name="connsiteY318" fmla="*/ 85705 h 126301"/>
                <a:gd name="connsiteX319" fmla="*/ 1077543 w 2175516"/>
                <a:gd name="connsiteY319" fmla="*/ 64743 h 126301"/>
                <a:gd name="connsiteX320" fmla="*/ 1116548 w 2175516"/>
                <a:gd name="connsiteY320" fmla="*/ 64743 h 126301"/>
                <a:gd name="connsiteX321" fmla="*/ 1116548 w 2175516"/>
                <a:gd name="connsiteY321" fmla="*/ 61028 h 126301"/>
                <a:gd name="connsiteX322" fmla="*/ 1113364 w 2175516"/>
                <a:gd name="connsiteY322" fmla="*/ 54925 h 126301"/>
                <a:gd name="connsiteX323" fmla="*/ 1107261 w 2175516"/>
                <a:gd name="connsiteY323" fmla="*/ 42189 h 126301"/>
                <a:gd name="connsiteX324" fmla="*/ 1089748 w 2175516"/>
                <a:gd name="connsiteY324" fmla="*/ 35555 h 126301"/>
                <a:gd name="connsiteX325" fmla="*/ 1059500 w 2175516"/>
                <a:gd name="connsiteY325" fmla="*/ 66865 h 126301"/>
                <a:gd name="connsiteX326" fmla="*/ 1085238 w 2175516"/>
                <a:gd name="connsiteY326" fmla="*/ 94726 h 126301"/>
                <a:gd name="connsiteX327" fmla="*/ 1114956 w 2175516"/>
                <a:gd name="connsiteY327" fmla="*/ 77744 h 126301"/>
                <a:gd name="connsiteX328" fmla="*/ 1111506 w 2175516"/>
                <a:gd name="connsiteY328" fmla="*/ 75356 h 126301"/>
                <a:gd name="connsiteX329" fmla="*/ 1111506 w 2175516"/>
                <a:gd name="connsiteY329" fmla="*/ 75356 h 126301"/>
                <a:gd name="connsiteX330" fmla="*/ 1076747 w 2175516"/>
                <a:gd name="connsiteY330" fmla="*/ 59967 h 126301"/>
                <a:gd name="connsiteX331" fmla="*/ 1086564 w 2175516"/>
                <a:gd name="connsiteY331" fmla="*/ 42454 h 126301"/>
                <a:gd name="connsiteX332" fmla="*/ 1096382 w 2175516"/>
                <a:gd name="connsiteY332" fmla="*/ 59967 h 126301"/>
                <a:gd name="connsiteX333" fmla="*/ 1076747 w 2175516"/>
                <a:gd name="connsiteY333" fmla="*/ 59967 h 126301"/>
                <a:gd name="connsiteX334" fmla="*/ 1076747 w 2175516"/>
                <a:gd name="connsiteY334" fmla="*/ 59967 h 126301"/>
                <a:gd name="connsiteX335" fmla="*/ 1172800 w 2175516"/>
                <a:gd name="connsiteY335" fmla="*/ 66600 h 126301"/>
                <a:gd name="connsiteX336" fmla="*/ 1205702 w 2175516"/>
                <a:gd name="connsiteY336" fmla="*/ 94991 h 126301"/>
                <a:gd name="connsiteX337" fmla="*/ 1241257 w 2175516"/>
                <a:gd name="connsiteY337" fmla="*/ 64743 h 126301"/>
                <a:gd name="connsiteX338" fmla="*/ 1207824 w 2175516"/>
                <a:gd name="connsiteY338" fmla="*/ 35555 h 126301"/>
                <a:gd name="connsiteX339" fmla="*/ 1172800 w 2175516"/>
                <a:gd name="connsiteY339" fmla="*/ 66600 h 126301"/>
                <a:gd name="connsiteX340" fmla="*/ 1172800 w 2175516"/>
                <a:gd name="connsiteY340" fmla="*/ 66600 h 126301"/>
                <a:gd name="connsiteX341" fmla="*/ 1191639 w 2175516"/>
                <a:gd name="connsiteY341" fmla="*/ 58375 h 126301"/>
                <a:gd name="connsiteX342" fmla="*/ 1204906 w 2175516"/>
                <a:gd name="connsiteY342" fmla="*/ 41924 h 126301"/>
                <a:gd name="connsiteX343" fmla="*/ 1222949 w 2175516"/>
                <a:gd name="connsiteY343" fmla="*/ 72703 h 126301"/>
                <a:gd name="connsiteX344" fmla="*/ 1210212 w 2175516"/>
                <a:gd name="connsiteY344" fmla="*/ 90215 h 126301"/>
                <a:gd name="connsiteX345" fmla="*/ 1191639 w 2175516"/>
                <a:gd name="connsiteY345" fmla="*/ 58375 h 126301"/>
                <a:gd name="connsiteX346" fmla="*/ 1191639 w 2175516"/>
                <a:gd name="connsiteY346" fmla="*/ 58375 h 126301"/>
                <a:gd name="connsiteX347" fmla="*/ 1284773 w 2175516"/>
                <a:gd name="connsiteY347" fmla="*/ 44577 h 126301"/>
                <a:gd name="connsiteX348" fmla="*/ 1298040 w 2175516"/>
                <a:gd name="connsiteY348" fmla="*/ 44577 h 126301"/>
                <a:gd name="connsiteX349" fmla="*/ 1299101 w 2175516"/>
                <a:gd name="connsiteY349" fmla="*/ 37413 h 126301"/>
                <a:gd name="connsiteX350" fmla="*/ 1284773 w 2175516"/>
                <a:gd name="connsiteY350" fmla="*/ 37413 h 126301"/>
                <a:gd name="connsiteX351" fmla="*/ 1284773 w 2175516"/>
                <a:gd name="connsiteY351" fmla="*/ 23084 h 126301"/>
                <a:gd name="connsiteX352" fmla="*/ 1296182 w 2175516"/>
                <a:gd name="connsiteY352" fmla="*/ 8226 h 126301"/>
                <a:gd name="connsiteX353" fmla="*/ 1308388 w 2175516"/>
                <a:gd name="connsiteY353" fmla="*/ 14859 h 126301"/>
                <a:gd name="connsiteX354" fmla="*/ 1314491 w 2175516"/>
                <a:gd name="connsiteY354" fmla="*/ 18574 h 126301"/>
                <a:gd name="connsiteX355" fmla="*/ 1317144 w 2175516"/>
                <a:gd name="connsiteY355" fmla="*/ 16451 h 126301"/>
                <a:gd name="connsiteX356" fmla="*/ 1321655 w 2175516"/>
                <a:gd name="connsiteY356" fmla="*/ 10879 h 126301"/>
                <a:gd name="connsiteX357" fmla="*/ 1322716 w 2175516"/>
                <a:gd name="connsiteY357" fmla="*/ 8756 h 126301"/>
                <a:gd name="connsiteX358" fmla="*/ 1304673 w 2175516"/>
                <a:gd name="connsiteY358" fmla="*/ 0 h 126301"/>
                <a:gd name="connsiteX359" fmla="*/ 1268587 w 2175516"/>
                <a:gd name="connsiteY359" fmla="*/ 37413 h 126301"/>
                <a:gd name="connsiteX360" fmla="*/ 1257708 w 2175516"/>
                <a:gd name="connsiteY360" fmla="*/ 41924 h 126301"/>
                <a:gd name="connsiteX361" fmla="*/ 1257708 w 2175516"/>
                <a:gd name="connsiteY361" fmla="*/ 44577 h 126301"/>
                <a:gd name="connsiteX362" fmla="*/ 1268056 w 2175516"/>
                <a:gd name="connsiteY362" fmla="*/ 44577 h 126301"/>
                <a:gd name="connsiteX363" fmla="*/ 1268056 w 2175516"/>
                <a:gd name="connsiteY363" fmla="*/ 80132 h 126301"/>
                <a:gd name="connsiteX364" fmla="*/ 1260362 w 2175516"/>
                <a:gd name="connsiteY364" fmla="*/ 89950 h 126301"/>
                <a:gd name="connsiteX365" fmla="*/ 1257708 w 2175516"/>
                <a:gd name="connsiteY365" fmla="*/ 89950 h 126301"/>
                <a:gd name="connsiteX366" fmla="*/ 1257708 w 2175516"/>
                <a:gd name="connsiteY366" fmla="*/ 94461 h 126301"/>
                <a:gd name="connsiteX367" fmla="*/ 1300162 w 2175516"/>
                <a:gd name="connsiteY367" fmla="*/ 94461 h 126301"/>
                <a:gd name="connsiteX368" fmla="*/ 1300162 w 2175516"/>
                <a:gd name="connsiteY368" fmla="*/ 89950 h 126301"/>
                <a:gd name="connsiteX369" fmla="*/ 1296978 w 2175516"/>
                <a:gd name="connsiteY369" fmla="*/ 89950 h 126301"/>
                <a:gd name="connsiteX370" fmla="*/ 1285038 w 2175516"/>
                <a:gd name="connsiteY370" fmla="*/ 79071 h 126301"/>
                <a:gd name="connsiteX371" fmla="*/ 1285038 w 2175516"/>
                <a:gd name="connsiteY371" fmla="*/ 44577 h 126301"/>
                <a:gd name="connsiteX372" fmla="*/ 1284773 w 2175516"/>
                <a:gd name="connsiteY372" fmla="*/ 44577 h 126301"/>
                <a:gd name="connsiteX373" fmla="*/ 1408686 w 2175516"/>
                <a:gd name="connsiteY373" fmla="*/ 14328 h 126301"/>
                <a:gd name="connsiteX374" fmla="*/ 1425137 w 2175516"/>
                <a:gd name="connsiteY374" fmla="*/ 14328 h 126301"/>
                <a:gd name="connsiteX375" fmla="*/ 1436016 w 2175516"/>
                <a:gd name="connsiteY375" fmla="*/ 16982 h 126301"/>
                <a:gd name="connsiteX376" fmla="*/ 1440527 w 2175516"/>
                <a:gd name="connsiteY376" fmla="*/ 30779 h 126301"/>
                <a:gd name="connsiteX377" fmla="*/ 1446099 w 2175516"/>
                <a:gd name="connsiteY377" fmla="*/ 30779 h 126301"/>
                <a:gd name="connsiteX378" fmla="*/ 1443976 w 2175516"/>
                <a:gd name="connsiteY378" fmla="*/ 4511 h 126301"/>
                <a:gd name="connsiteX379" fmla="*/ 1438935 w 2175516"/>
                <a:gd name="connsiteY379" fmla="*/ 4511 h 126301"/>
                <a:gd name="connsiteX380" fmla="*/ 1432301 w 2175516"/>
                <a:gd name="connsiteY380" fmla="*/ 7164 h 126301"/>
                <a:gd name="connsiteX381" fmla="*/ 1365436 w 2175516"/>
                <a:gd name="connsiteY381" fmla="*/ 7164 h 126301"/>
                <a:gd name="connsiteX382" fmla="*/ 1361721 w 2175516"/>
                <a:gd name="connsiteY382" fmla="*/ 6633 h 126301"/>
                <a:gd name="connsiteX383" fmla="*/ 1359068 w 2175516"/>
                <a:gd name="connsiteY383" fmla="*/ 4511 h 126301"/>
                <a:gd name="connsiteX384" fmla="*/ 1354557 w 2175516"/>
                <a:gd name="connsiteY384" fmla="*/ 4511 h 126301"/>
                <a:gd name="connsiteX385" fmla="*/ 1351904 w 2175516"/>
                <a:gd name="connsiteY385" fmla="*/ 30779 h 126301"/>
                <a:gd name="connsiteX386" fmla="*/ 1358006 w 2175516"/>
                <a:gd name="connsiteY386" fmla="*/ 30779 h 126301"/>
                <a:gd name="connsiteX387" fmla="*/ 1362517 w 2175516"/>
                <a:gd name="connsiteY387" fmla="*/ 16982 h 126301"/>
                <a:gd name="connsiteX388" fmla="*/ 1372865 w 2175516"/>
                <a:gd name="connsiteY388" fmla="*/ 14328 h 126301"/>
                <a:gd name="connsiteX389" fmla="*/ 1389847 w 2175516"/>
                <a:gd name="connsiteY389" fmla="*/ 14328 h 126301"/>
                <a:gd name="connsiteX390" fmla="*/ 1389847 w 2175516"/>
                <a:gd name="connsiteY390" fmla="*/ 78540 h 126301"/>
                <a:gd name="connsiteX391" fmla="*/ 1378968 w 2175516"/>
                <a:gd name="connsiteY391" fmla="*/ 88889 h 126301"/>
                <a:gd name="connsiteX392" fmla="*/ 1373927 w 2175516"/>
                <a:gd name="connsiteY392" fmla="*/ 88889 h 126301"/>
                <a:gd name="connsiteX393" fmla="*/ 1373927 w 2175516"/>
                <a:gd name="connsiteY393" fmla="*/ 94461 h 126301"/>
                <a:gd name="connsiteX394" fmla="*/ 1424341 w 2175516"/>
                <a:gd name="connsiteY394" fmla="*/ 94461 h 126301"/>
                <a:gd name="connsiteX395" fmla="*/ 1424341 w 2175516"/>
                <a:gd name="connsiteY395" fmla="*/ 89154 h 126301"/>
                <a:gd name="connsiteX396" fmla="*/ 1421157 w 2175516"/>
                <a:gd name="connsiteY396" fmla="*/ 89154 h 126301"/>
                <a:gd name="connsiteX397" fmla="*/ 1409217 w 2175516"/>
                <a:gd name="connsiteY397" fmla="*/ 78806 h 126301"/>
                <a:gd name="connsiteX398" fmla="*/ 1409217 w 2175516"/>
                <a:gd name="connsiteY398" fmla="*/ 14328 h 126301"/>
                <a:gd name="connsiteX399" fmla="*/ 1408686 w 2175516"/>
                <a:gd name="connsiteY399" fmla="*/ 14328 h 126301"/>
                <a:gd name="connsiteX400" fmla="*/ 1517475 w 2175516"/>
                <a:gd name="connsiteY400" fmla="*/ 75356 h 126301"/>
                <a:gd name="connsiteX401" fmla="*/ 1500494 w 2175516"/>
                <a:gd name="connsiteY401" fmla="*/ 85705 h 126301"/>
                <a:gd name="connsiteX402" fmla="*/ 1483512 w 2175516"/>
                <a:gd name="connsiteY402" fmla="*/ 64743 h 126301"/>
                <a:gd name="connsiteX403" fmla="*/ 1522517 w 2175516"/>
                <a:gd name="connsiteY403" fmla="*/ 64743 h 126301"/>
                <a:gd name="connsiteX404" fmla="*/ 1522517 w 2175516"/>
                <a:gd name="connsiteY404" fmla="*/ 61028 h 126301"/>
                <a:gd name="connsiteX405" fmla="*/ 1519333 w 2175516"/>
                <a:gd name="connsiteY405" fmla="*/ 54925 h 126301"/>
                <a:gd name="connsiteX406" fmla="*/ 1513230 w 2175516"/>
                <a:gd name="connsiteY406" fmla="*/ 42189 h 126301"/>
                <a:gd name="connsiteX407" fmla="*/ 1495717 w 2175516"/>
                <a:gd name="connsiteY407" fmla="*/ 35555 h 126301"/>
                <a:gd name="connsiteX408" fmla="*/ 1465469 w 2175516"/>
                <a:gd name="connsiteY408" fmla="*/ 66865 h 126301"/>
                <a:gd name="connsiteX409" fmla="*/ 1491207 w 2175516"/>
                <a:gd name="connsiteY409" fmla="*/ 94726 h 126301"/>
                <a:gd name="connsiteX410" fmla="*/ 1520925 w 2175516"/>
                <a:gd name="connsiteY410" fmla="*/ 77744 h 126301"/>
                <a:gd name="connsiteX411" fmla="*/ 1517475 w 2175516"/>
                <a:gd name="connsiteY411" fmla="*/ 75356 h 126301"/>
                <a:gd name="connsiteX412" fmla="*/ 1517475 w 2175516"/>
                <a:gd name="connsiteY412" fmla="*/ 75356 h 126301"/>
                <a:gd name="connsiteX413" fmla="*/ 1482716 w 2175516"/>
                <a:gd name="connsiteY413" fmla="*/ 59967 h 126301"/>
                <a:gd name="connsiteX414" fmla="*/ 1492533 w 2175516"/>
                <a:gd name="connsiteY414" fmla="*/ 42454 h 126301"/>
                <a:gd name="connsiteX415" fmla="*/ 1502351 w 2175516"/>
                <a:gd name="connsiteY415" fmla="*/ 59967 h 126301"/>
                <a:gd name="connsiteX416" fmla="*/ 1482716 w 2175516"/>
                <a:gd name="connsiteY416" fmla="*/ 59967 h 126301"/>
                <a:gd name="connsiteX417" fmla="*/ 1482716 w 2175516"/>
                <a:gd name="connsiteY417" fmla="*/ 59967 h 126301"/>
                <a:gd name="connsiteX418" fmla="*/ 1595750 w 2175516"/>
                <a:gd name="connsiteY418" fmla="*/ 78540 h 126301"/>
                <a:gd name="connsiteX419" fmla="*/ 1577707 w 2175516"/>
                <a:gd name="connsiteY419" fmla="*/ 88889 h 126301"/>
                <a:gd name="connsiteX420" fmla="*/ 1560195 w 2175516"/>
                <a:gd name="connsiteY420" fmla="*/ 63151 h 126301"/>
                <a:gd name="connsiteX421" fmla="*/ 1572135 w 2175516"/>
                <a:gd name="connsiteY421" fmla="*/ 42189 h 126301"/>
                <a:gd name="connsiteX422" fmla="*/ 1580891 w 2175516"/>
                <a:gd name="connsiteY422" fmla="*/ 47761 h 126301"/>
                <a:gd name="connsiteX423" fmla="*/ 1591770 w 2175516"/>
                <a:gd name="connsiteY423" fmla="*/ 54395 h 126301"/>
                <a:gd name="connsiteX424" fmla="*/ 1598934 w 2175516"/>
                <a:gd name="connsiteY424" fmla="*/ 47230 h 126301"/>
                <a:gd name="connsiteX425" fmla="*/ 1577973 w 2175516"/>
                <a:gd name="connsiteY425" fmla="*/ 35821 h 126301"/>
                <a:gd name="connsiteX426" fmla="*/ 1541356 w 2175516"/>
                <a:gd name="connsiteY426" fmla="*/ 68192 h 126301"/>
                <a:gd name="connsiteX427" fmla="*/ 1571074 w 2175516"/>
                <a:gd name="connsiteY427" fmla="*/ 94991 h 126301"/>
                <a:gd name="connsiteX428" fmla="*/ 1599731 w 2175516"/>
                <a:gd name="connsiteY428" fmla="*/ 80663 h 126301"/>
                <a:gd name="connsiteX429" fmla="*/ 1595750 w 2175516"/>
                <a:gd name="connsiteY429" fmla="*/ 78540 h 126301"/>
                <a:gd name="connsiteX430" fmla="*/ 1595750 w 2175516"/>
                <a:gd name="connsiteY430" fmla="*/ 78540 h 126301"/>
                <a:gd name="connsiteX431" fmla="*/ 1641389 w 2175516"/>
                <a:gd name="connsiteY431" fmla="*/ 51741 h 126301"/>
                <a:gd name="connsiteX432" fmla="*/ 1655717 w 2175516"/>
                <a:gd name="connsiteY432" fmla="*/ 46169 h 126301"/>
                <a:gd name="connsiteX433" fmla="*/ 1665004 w 2175516"/>
                <a:gd name="connsiteY433" fmla="*/ 58375 h 126301"/>
                <a:gd name="connsiteX434" fmla="*/ 1665004 w 2175516"/>
                <a:gd name="connsiteY434" fmla="*/ 79867 h 126301"/>
                <a:gd name="connsiteX435" fmla="*/ 1657840 w 2175516"/>
                <a:gd name="connsiteY435" fmla="*/ 90215 h 126301"/>
                <a:gd name="connsiteX436" fmla="*/ 1656778 w 2175516"/>
                <a:gd name="connsiteY436" fmla="*/ 90215 h 126301"/>
                <a:gd name="connsiteX437" fmla="*/ 1656778 w 2175516"/>
                <a:gd name="connsiteY437" fmla="*/ 94726 h 126301"/>
                <a:gd name="connsiteX438" fmla="*/ 1689681 w 2175516"/>
                <a:gd name="connsiteY438" fmla="*/ 94726 h 126301"/>
                <a:gd name="connsiteX439" fmla="*/ 1689681 w 2175516"/>
                <a:gd name="connsiteY439" fmla="*/ 90215 h 126301"/>
                <a:gd name="connsiteX440" fmla="*/ 1688619 w 2175516"/>
                <a:gd name="connsiteY440" fmla="*/ 90215 h 126301"/>
                <a:gd name="connsiteX441" fmla="*/ 1681986 w 2175516"/>
                <a:gd name="connsiteY441" fmla="*/ 79336 h 126301"/>
                <a:gd name="connsiteX442" fmla="*/ 1681986 w 2175516"/>
                <a:gd name="connsiteY442" fmla="*/ 60763 h 126301"/>
                <a:gd name="connsiteX443" fmla="*/ 1666596 w 2175516"/>
                <a:gd name="connsiteY443" fmla="*/ 36086 h 126301"/>
                <a:gd name="connsiteX444" fmla="*/ 1641389 w 2175516"/>
                <a:gd name="connsiteY444" fmla="*/ 46434 h 126301"/>
                <a:gd name="connsiteX445" fmla="*/ 1641389 w 2175516"/>
                <a:gd name="connsiteY445" fmla="*/ 796 h 126301"/>
                <a:gd name="connsiteX446" fmla="*/ 1638205 w 2175516"/>
                <a:gd name="connsiteY446" fmla="*/ 796 h 126301"/>
                <a:gd name="connsiteX447" fmla="*/ 1615651 w 2175516"/>
                <a:gd name="connsiteY447" fmla="*/ 7430 h 126301"/>
                <a:gd name="connsiteX448" fmla="*/ 1615651 w 2175516"/>
                <a:gd name="connsiteY448" fmla="*/ 10614 h 126301"/>
                <a:gd name="connsiteX449" fmla="*/ 1619896 w 2175516"/>
                <a:gd name="connsiteY449" fmla="*/ 12206 h 126301"/>
                <a:gd name="connsiteX450" fmla="*/ 1624407 w 2175516"/>
                <a:gd name="connsiteY450" fmla="*/ 18308 h 126301"/>
                <a:gd name="connsiteX451" fmla="*/ 1624407 w 2175516"/>
                <a:gd name="connsiteY451" fmla="*/ 79867 h 126301"/>
                <a:gd name="connsiteX452" fmla="*/ 1616712 w 2175516"/>
                <a:gd name="connsiteY452" fmla="*/ 90215 h 126301"/>
                <a:gd name="connsiteX453" fmla="*/ 1614589 w 2175516"/>
                <a:gd name="connsiteY453" fmla="*/ 90215 h 126301"/>
                <a:gd name="connsiteX454" fmla="*/ 1614589 w 2175516"/>
                <a:gd name="connsiteY454" fmla="*/ 94726 h 126301"/>
                <a:gd name="connsiteX455" fmla="*/ 1650145 w 2175516"/>
                <a:gd name="connsiteY455" fmla="*/ 94726 h 126301"/>
                <a:gd name="connsiteX456" fmla="*/ 1650145 w 2175516"/>
                <a:gd name="connsiteY456" fmla="*/ 90215 h 126301"/>
                <a:gd name="connsiteX457" fmla="*/ 1649084 w 2175516"/>
                <a:gd name="connsiteY457" fmla="*/ 90215 h 126301"/>
                <a:gd name="connsiteX458" fmla="*/ 1641389 w 2175516"/>
                <a:gd name="connsiteY458" fmla="*/ 80398 h 126301"/>
                <a:gd name="connsiteX459" fmla="*/ 1641389 w 2175516"/>
                <a:gd name="connsiteY459" fmla="*/ 51741 h 126301"/>
                <a:gd name="connsiteX460" fmla="*/ 1641389 w 2175516"/>
                <a:gd name="connsiteY460" fmla="*/ 51741 h 126301"/>
                <a:gd name="connsiteX461" fmla="*/ 1771405 w 2175516"/>
                <a:gd name="connsiteY461" fmla="*/ 59967 h 126301"/>
                <a:gd name="connsiteX462" fmla="*/ 1756546 w 2175516"/>
                <a:gd name="connsiteY462" fmla="*/ 35821 h 126301"/>
                <a:gd name="connsiteX463" fmla="*/ 1730277 w 2175516"/>
                <a:gd name="connsiteY463" fmla="*/ 46700 h 126301"/>
                <a:gd name="connsiteX464" fmla="*/ 1730277 w 2175516"/>
                <a:gd name="connsiteY464" fmla="*/ 33963 h 126301"/>
                <a:gd name="connsiteX465" fmla="*/ 1728155 w 2175516"/>
                <a:gd name="connsiteY465" fmla="*/ 33963 h 126301"/>
                <a:gd name="connsiteX466" fmla="*/ 1704009 w 2175516"/>
                <a:gd name="connsiteY466" fmla="*/ 42189 h 126301"/>
                <a:gd name="connsiteX467" fmla="*/ 1704009 w 2175516"/>
                <a:gd name="connsiteY467" fmla="*/ 45373 h 126301"/>
                <a:gd name="connsiteX468" fmla="*/ 1706662 w 2175516"/>
                <a:gd name="connsiteY468" fmla="*/ 45904 h 126301"/>
                <a:gd name="connsiteX469" fmla="*/ 1713296 w 2175516"/>
                <a:gd name="connsiteY469" fmla="*/ 52537 h 126301"/>
                <a:gd name="connsiteX470" fmla="*/ 1713296 w 2175516"/>
                <a:gd name="connsiteY470" fmla="*/ 79867 h 126301"/>
                <a:gd name="connsiteX471" fmla="*/ 1705601 w 2175516"/>
                <a:gd name="connsiteY471" fmla="*/ 89685 h 126301"/>
                <a:gd name="connsiteX472" fmla="*/ 1704539 w 2175516"/>
                <a:gd name="connsiteY472" fmla="*/ 89685 h 126301"/>
                <a:gd name="connsiteX473" fmla="*/ 1704539 w 2175516"/>
                <a:gd name="connsiteY473" fmla="*/ 94195 h 126301"/>
                <a:gd name="connsiteX474" fmla="*/ 1740095 w 2175516"/>
                <a:gd name="connsiteY474" fmla="*/ 94195 h 126301"/>
                <a:gd name="connsiteX475" fmla="*/ 1740095 w 2175516"/>
                <a:gd name="connsiteY475" fmla="*/ 89685 h 126301"/>
                <a:gd name="connsiteX476" fmla="*/ 1739034 w 2175516"/>
                <a:gd name="connsiteY476" fmla="*/ 89685 h 126301"/>
                <a:gd name="connsiteX477" fmla="*/ 1730277 w 2175516"/>
                <a:gd name="connsiteY477" fmla="*/ 80398 h 126301"/>
                <a:gd name="connsiteX478" fmla="*/ 1730277 w 2175516"/>
                <a:gd name="connsiteY478" fmla="*/ 51741 h 126301"/>
                <a:gd name="connsiteX479" fmla="*/ 1745667 w 2175516"/>
                <a:gd name="connsiteY479" fmla="*/ 45638 h 126301"/>
                <a:gd name="connsiteX480" fmla="*/ 1753893 w 2175516"/>
                <a:gd name="connsiteY480" fmla="*/ 61559 h 126301"/>
                <a:gd name="connsiteX481" fmla="*/ 1753893 w 2175516"/>
                <a:gd name="connsiteY481" fmla="*/ 73764 h 126301"/>
                <a:gd name="connsiteX482" fmla="*/ 1746198 w 2175516"/>
                <a:gd name="connsiteY482" fmla="*/ 89685 h 126301"/>
                <a:gd name="connsiteX483" fmla="*/ 1746198 w 2175516"/>
                <a:gd name="connsiteY483" fmla="*/ 94195 h 126301"/>
                <a:gd name="connsiteX484" fmla="*/ 1779100 w 2175516"/>
                <a:gd name="connsiteY484" fmla="*/ 94195 h 126301"/>
                <a:gd name="connsiteX485" fmla="*/ 1779100 w 2175516"/>
                <a:gd name="connsiteY485" fmla="*/ 89685 h 126301"/>
                <a:gd name="connsiteX486" fmla="*/ 1771405 w 2175516"/>
                <a:gd name="connsiteY486" fmla="*/ 81459 h 126301"/>
                <a:gd name="connsiteX487" fmla="*/ 1771405 w 2175516"/>
                <a:gd name="connsiteY487" fmla="*/ 59967 h 126301"/>
                <a:gd name="connsiteX488" fmla="*/ 1771405 w 2175516"/>
                <a:gd name="connsiteY488" fmla="*/ 59967 h 126301"/>
                <a:gd name="connsiteX489" fmla="*/ 1797143 w 2175516"/>
                <a:gd name="connsiteY489" fmla="*/ 66600 h 126301"/>
                <a:gd name="connsiteX490" fmla="*/ 1830045 w 2175516"/>
                <a:gd name="connsiteY490" fmla="*/ 94991 h 126301"/>
                <a:gd name="connsiteX491" fmla="*/ 1865600 w 2175516"/>
                <a:gd name="connsiteY491" fmla="*/ 64743 h 126301"/>
                <a:gd name="connsiteX492" fmla="*/ 1832168 w 2175516"/>
                <a:gd name="connsiteY492" fmla="*/ 35555 h 126301"/>
                <a:gd name="connsiteX493" fmla="*/ 1797143 w 2175516"/>
                <a:gd name="connsiteY493" fmla="*/ 66600 h 126301"/>
                <a:gd name="connsiteX494" fmla="*/ 1797143 w 2175516"/>
                <a:gd name="connsiteY494" fmla="*/ 66600 h 126301"/>
                <a:gd name="connsiteX495" fmla="*/ 1815717 w 2175516"/>
                <a:gd name="connsiteY495" fmla="*/ 58375 h 126301"/>
                <a:gd name="connsiteX496" fmla="*/ 1828984 w 2175516"/>
                <a:gd name="connsiteY496" fmla="*/ 41924 h 126301"/>
                <a:gd name="connsiteX497" fmla="*/ 1847027 w 2175516"/>
                <a:gd name="connsiteY497" fmla="*/ 72703 h 126301"/>
                <a:gd name="connsiteX498" fmla="*/ 1834290 w 2175516"/>
                <a:gd name="connsiteY498" fmla="*/ 90215 h 126301"/>
                <a:gd name="connsiteX499" fmla="*/ 1815717 w 2175516"/>
                <a:gd name="connsiteY499" fmla="*/ 58375 h 126301"/>
                <a:gd name="connsiteX500" fmla="*/ 1815717 w 2175516"/>
                <a:gd name="connsiteY500" fmla="*/ 58375 h 126301"/>
                <a:gd name="connsiteX501" fmla="*/ 1908055 w 2175516"/>
                <a:gd name="connsiteY501" fmla="*/ 796 h 126301"/>
                <a:gd name="connsiteX502" fmla="*/ 1905401 w 2175516"/>
                <a:gd name="connsiteY502" fmla="*/ 796 h 126301"/>
                <a:gd name="connsiteX503" fmla="*/ 1881256 w 2175516"/>
                <a:gd name="connsiteY503" fmla="*/ 7960 h 126301"/>
                <a:gd name="connsiteX504" fmla="*/ 1881256 w 2175516"/>
                <a:gd name="connsiteY504" fmla="*/ 11675 h 126301"/>
                <a:gd name="connsiteX505" fmla="*/ 1887358 w 2175516"/>
                <a:gd name="connsiteY505" fmla="*/ 13798 h 126301"/>
                <a:gd name="connsiteX506" fmla="*/ 1891073 w 2175516"/>
                <a:gd name="connsiteY506" fmla="*/ 22023 h 126301"/>
                <a:gd name="connsiteX507" fmla="*/ 1891073 w 2175516"/>
                <a:gd name="connsiteY507" fmla="*/ 80132 h 126301"/>
                <a:gd name="connsiteX508" fmla="*/ 1882847 w 2175516"/>
                <a:gd name="connsiteY508" fmla="*/ 89950 h 126301"/>
                <a:gd name="connsiteX509" fmla="*/ 1881786 w 2175516"/>
                <a:gd name="connsiteY509" fmla="*/ 89950 h 126301"/>
                <a:gd name="connsiteX510" fmla="*/ 1881786 w 2175516"/>
                <a:gd name="connsiteY510" fmla="*/ 94461 h 126301"/>
                <a:gd name="connsiteX511" fmla="*/ 1916280 w 2175516"/>
                <a:gd name="connsiteY511" fmla="*/ 94461 h 126301"/>
                <a:gd name="connsiteX512" fmla="*/ 1916280 w 2175516"/>
                <a:gd name="connsiteY512" fmla="*/ 89950 h 126301"/>
                <a:gd name="connsiteX513" fmla="*/ 1908055 w 2175516"/>
                <a:gd name="connsiteY513" fmla="*/ 80132 h 126301"/>
                <a:gd name="connsiteX514" fmla="*/ 1908055 w 2175516"/>
                <a:gd name="connsiteY514" fmla="*/ 796 h 126301"/>
                <a:gd name="connsiteX515" fmla="*/ 1908055 w 2175516"/>
                <a:gd name="connsiteY515" fmla="*/ 796 h 126301"/>
                <a:gd name="connsiteX516" fmla="*/ 1933793 w 2175516"/>
                <a:gd name="connsiteY516" fmla="*/ 66600 h 126301"/>
                <a:gd name="connsiteX517" fmla="*/ 1966695 w 2175516"/>
                <a:gd name="connsiteY517" fmla="*/ 94991 h 126301"/>
                <a:gd name="connsiteX518" fmla="*/ 2002250 w 2175516"/>
                <a:gd name="connsiteY518" fmla="*/ 64743 h 126301"/>
                <a:gd name="connsiteX519" fmla="*/ 1968817 w 2175516"/>
                <a:gd name="connsiteY519" fmla="*/ 35555 h 126301"/>
                <a:gd name="connsiteX520" fmla="*/ 1933793 w 2175516"/>
                <a:gd name="connsiteY520" fmla="*/ 66600 h 126301"/>
                <a:gd name="connsiteX521" fmla="*/ 1933793 w 2175516"/>
                <a:gd name="connsiteY521" fmla="*/ 66600 h 126301"/>
                <a:gd name="connsiteX522" fmla="*/ 1952366 w 2175516"/>
                <a:gd name="connsiteY522" fmla="*/ 58375 h 126301"/>
                <a:gd name="connsiteX523" fmla="*/ 1965633 w 2175516"/>
                <a:gd name="connsiteY523" fmla="*/ 41924 h 126301"/>
                <a:gd name="connsiteX524" fmla="*/ 1983676 w 2175516"/>
                <a:gd name="connsiteY524" fmla="*/ 72703 h 126301"/>
                <a:gd name="connsiteX525" fmla="*/ 1970940 w 2175516"/>
                <a:gd name="connsiteY525" fmla="*/ 90215 h 126301"/>
                <a:gd name="connsiteX526" fmla="*/ 1952366 w 2175516"/>
                <a:gd name="connsiteY526" fmla="*/ 58375 h 126301"/>
                <a:gd name="connsiteX527" fmla="*/ 1952366 w 2175516"/>
                <a:gd name="connsiteY527" fmla="*/ 58375 h 126301"/>
                <a:gd name="connsiteX528" fmla="*/ 2092731 w 2175516"/>
                <a:gd name="connsiteY528" fmla="*/ 36351 h 126301"/>
                <a:gd name="connsiteX529" fmla="*/ 2073096 w 2175516"/>
                <a:gd name="connsiteY529" fmla="*/ 41393 h 126301"/>
                <a:gd name="connsiteX530" fmla="*/ 2053991 w 2175516"/>
                <a:gd name="connsiteY530" fmla="*/ 35821 h 126301"/>
                <a:gd name="connsiteX531" fmla="*/ 2025600 w 2175516"/>
                <a:gd name="connsiteY531" fmla="*/ 57313 h 126301"/>
                <a:gd name="connsiteX532" fmla="*/ 2043643 w 2175516"/>
                <a:gd name="connsiteY532" fmla="*/ 74295 h 126301"/>
                <a:gd name="connsiteX533" fmla="*/ 2043643 w 2175516"/>
                <a:gd name="connsiteY533" fmla="*/ 74826 h 126301"/>
                <a:gd name="connsiteX534" fmla="*/ 2025069 w 2175516"/>
                <a:gd name="connsiteY534" fmla="*/ 86235 h 126301"/>
                <a:gd name="connsiteX535" fmla="*/ 2037275 w 2175516"/>
                <a:gd name="connsiteY535" fmla="*/ 98176 h 126301"/>
                <a:gd name="connsiteX536" fmla="*/ 2030641 w 2175516"/>
                <a:gd name="connsiteY536" fmla="*/ 102686 h 126301"/>
                <a:gd name="connsiteX537" fmla="*/ 2022947 w 2175516"/>
                <a:gd name="connsiteY537" fmla="*/ 111973 h 126301"/>
                <a:gd name="connsiteX538" fmla="*/ 2052134 w 2175516"/>
                <a:gd name="connsiteY538" fmla="*/ 125771 h 126301"/>
                <a:gd name="connsiteX539" fmla="*/ 2091670 w 2175516"/>
                <a:gd name="connsiteY539" fmla="*/ 102156 h 126301"/>
                <a:gd name="connsiteX540" fmla="*/ 2070177 w 2175516"/>
                <a:gd name="connsiteY540" fmla="*/ 87297 h 126301"/>
                <a:gd name="connsiteX541" fmla="*/ 2057971 w 2175516"/>
                <a:gd name="connsiteY541" fmla="*/ 87297 h 126301"/>
                <a:gd name="connsiteX542" fmla="*/ 2040459 w 2175516"/>
                <a:gd name="connsiteY542" fmla="*/ 82255 h 126301"/>
                <a:gd name="connsiteX543" fmla="*/ 2051869 w 2175516"/>
                <a:gd name="connsiteY543" fmla="*/ 75622 h 126301"/>
                <a:gd name="connsiteX544" fmla="*/ 2081587 w 2175516"/>
                <a:gd name="connsiteY544" fmla="*/ 56517 h 126301"/>
                <a:gd name="connsiteX545" fmla="*/ 2078933 w 2175516"/>
                <a:gd name="connsiteY545" fmla="*/ 47230 h 126301"/>
                <a:gd name="connsiteX546" fmla="*/ 2093262 w 2175516"/>
                <a:gd name="connsiteY546" fmla="*/ 50414 h 126301"/>
                <a:gd name="connsiteX547" fmla="*/ 2093262 w 2175516"/>
                <a:gd name="connsiteY547" fmla="*/ 36351 h 126301"/>
                <a:gd name="connsiteX548" fmla="*/ 2092731 w 2175516"/>
                <a:gd name="connsiteY548" fmla="*/ 36351 h 126301"/>
                <a:gd name="connsiteX549" fmla="*/ 2066993 w 2175516"/>
                <a:gd name="connsiteY549" fmla="*/ 101094 h 126301"/>
                <a:gd name="connsiteX550" fmla="*/ 2078403 w 2175516"/>
                <a:gd name="connsiteY550" fmla="*/ 108258 h 126301"/>
                <a:gd name="connsiteX551" fmla="*/ 2058767 w 2175516"/>
                <a:gd name="connsiteY551" fmla="*/ 119668 h 126301"/>
                <a:gd name="connsiteX552" fmla="*/ 2038071 w 2175516"/>
                <a:gd name="connsiteY552" fmla="*/ 107462 h 126301"/>
                <a:gd name="connsiteX553" fmla="*/ 2043643 w 2175516"/>
                <a:gd name="connsiteY553" fmla="*/ 99768 h 126301"/>
                <a:gd name="connsiteX554" fmla="*/ 2055849 w 2175516"/>
                <a:gd name="connsiteY554" fmla="*/ 100829 h 126301"/>
                <a:gd name="connsiteX555" fmla="*/ 2066993 w 2175516"/>
                <a:gd name="connsiteY555" fmla="*/ 100829 h 126301"/>
                <a:gd name="connsiteX556" fmla="*/ 2066993 w 2175516"/>
                <a:gd name="connsiteY556" fmla="*/ 101094 h 126301"/>
                <a:gd name="connsiteX557" fmla="*/ 2042316 w 2175516"/>
                <a:gd name="connsiteY557" fmla="*/ 54925 h 126301"/>
                <a:gd name="connsiteX558" fmla="*/ 2052665 w 2175516"/>
                <a:gd name="connsiteY558" fmla="*/ 41658 h 126301"/>
                <a:gd name="connsiteX559" fmla="*/ 2064074 w 2175516"/>
                <a:gd name="connsiteY559" fmla="*/ 58109 h 126301"/>
                <a:gd name="connsiteX560" fmla="*/ 2054257 w 2175516"/>
                <a:gd name="connsiteY560" fmla="*/ 70315 h 126301"/>
                <a:gd name="connsiteX561" fmla="*/ 2042316 w 2175516"/>
                <a:gd name="connsiteY561" fmla="*/ 54925 h 126301"/>
                <a:gd name="connsiteX562" fmla="*/ 2042316 w 2175516"/>
                <a:gd name="connsiteY562" fmla="*/ 54925 h 126301"/>
                <a:gd name="connsiteX563" fmla="*/ 2136247 w 2175516"/>
                <a:gd name="connsiteY563" fmla="*/ 92869 h 126301"/>
                <a:gd name="connsiteX564" fmla="*/ 2133593 w 2175516"/>
                <a:gd name="connsiteY564" fmla="*/ 98441 h 126301"/>
                <a:gd name="connsiteX565" fmla="*/ 2119796 w 2175516"/>
                <a:gd name="connsiteY565" fmla="*/ 109320 h 126301"/>
                <a:gd name="connsiteX566" fmla="*/ 2112101 w 2175516"/>
                <a:gd name="connsiteY566" fmla="*/ 111973 h 126301"/>
                <a:gd name="connsiteX567" fmla="*/ 2109978 w 2175516"/>
                <a:gd name="connsiteY567" fmla="*/ 118076 h 126301"/>
                <a:gd name="connsiteX568" fmla="*/ 2118734 w 2175516"/>
                <a:gd name="connsiteY568" fmla="*/ 126301 h 126301"/>
                <a:gd name="connsiteX569" fmla="*/ 2132001 w 2175516"/>
                <a:gd name="connsiteY569" fmla="*/ 115953 h 126301"/>
                <a:gd name="connsiteX570" fmla="*/ 2163311 w 2175516"/>
                <a:gd name="connsiteY570" fmla="*/ 52802 h 126301"/>
                <a:gd name="connsiteX571" fmla="*/ 2175517 w 2175516"/>
                <a:gd name="connsiteY571" fmla="*/ 41924 h 126301"/>
                <a:gd name="connsiteX572" fmla="*/ 2175517 w 2175516"/>
                <a:gd name="connsiteY572" fmla="*/ 37413 h 126301"/>
                <a:gd name="connsiteX573" fmla="*/ 2149248 w 2175516"/>
                <a:gd name="connsiteY573" fmla="*/ 37413 h 126301"/>
                <a:gd name="connsiteX574" fmla="*/ 2149248 w 2175516"/>
                <a:gd name="connsiteY574" fmla="*/ 41924 h 126301"/>
                <a:gd name="connsiteX575" fmla="*/ 2156943 w 2175516"/>
                <a:gd name="connsiteY575" fmla="*/ 52802 h 126301"/>
                <a:gd name="connsiteX576" fmla="*/ 2146064 w 2175516"/>
                <a:gd name="connsiteY576" fmla="*/ 74295 h 126301"/>
                <a:gd name="connsiteX577" fmla="*/ 2134654 w 2175516"/>
                <a:gd name="connsiteY577" fmla="*/ 50149 h 126301"/>
                <a:gd name="connsiteX578" fmla="*/ 2134124 w 2175516"/>
                <a:gd name="connsiteY578" fmla="*/ 44046 h 126301"/>
                <a:gd name="connsiteX579" fmla="*/ 2140757 w 2175516"/>
                <a:gd name="connsiteY579" fmla="*/ 41924 h 126301"/>
                <a:gd name="connsiteX580" fmla="*/ 2140757 w 2175516"/>
                <a:gd name="connsiteY580" fmla="*/ 37413 h 126301"/>
                <a:gd name="connsiteX581" fmla="*/ 2104671 w 2175516"/>
                <a:gd name="connsiteY581" fmla="*/ 37413 h 126301"/>
                <a:gd name="connsiteX582" fmla="*/ 2104671 w 2175516"/>
                <a:gd name="connsiteY582" fmla="*/ 41924 h 126301"/>
                <a:gd name="connsiteX583" fmla="*/ 2118469 w 2175516"/>
                <a:gd name="connsiteY583" fmla="*/ 54660 h 126301"/>
                <a:gd name="connsiteX584" fmla="*/ 2136247 w 2175516"/>
                <a:gd name="connsiteY584" fmla="*/ 92869 h 126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</a:cxnLst>
              <a:rect l="l" t="t" r="r" b="b"/>
              <a:pathLst>
                <a:path w="2175516" h="126301">
                  <a:moveTo>
                    <a:pt x="48292" y="95522"/>
                  </a:moveTo>
                  <a:lnTo>
                    <a:pt x="57579" y="95522"/>
                  </a:lnTo>
                  <a:lnTo>
                    <a:pt x="72438" y="65273"/>
                  </a:lnTo>
                  <a:lnTo>
                    <a:pt x="87297" y="95522"/>
                  </a:lnTo>
                  <a:lnTo>
                    <a:pt x="96584" y="95522"/>
                  </a:lnTo>
                  <a:lnTo>
                    <a:pt x="125240" y="25207"/>
                  </a:lnTo>
                  <a:cubicBezTo>
                    <a:pt x="127894" y="16716"/>
                    <a:pt x="132139" y="12471"/>
                    <a:pt x="138507" y="12471"/>
                  </a:cubicBezTo>
                  <a:lnTo>
                    <a:pt x="138507" y="6899"/>
                  </a:lnTo>
                  <a:lnTo>
                    <a:pt x="110381" y="6899"/>
                  </a:lnTo>
                  <a:lnTo>
                    <a:pt x="110381" y="12471"/>
                  </a:lnTo>
                  <a:cubicBezTo>
                    <a:pt x="118341" y="12471"/>
                    <a:pt x="120729" y="16186"/>
                    <a:pt x="117015" y="23881"/>
                  </a:cubicBezTo>
                  <a:lnTo>
                    <a:pt x="97910" y="73234"/>
                  </a:lnTo>
                  <a:lnTo>
                    <a:pt x="83051" y="42985"/>
                  </a:lnTo>
                  <a:lnTo>
                    <a:pt x="93399" y="22023"/>
                  </a:lnTo>
                  <a:cubicBezTo>
                    <a:pt x="96053" y="15920"/>
                    <a:pt x="99502" y="12471"/>
                    <a:pt x="103748" y="12206"/>
                  </a:cubicBezTo>
                  <a:lnTo>
                    <a:pt x="103748" y="6633"/>
                  </a:lnTo>
                  <a:lnTo>
                    <a:pt x="42189" y="6633"/>
                  </a:lnTo>
                  <a:lnTo>
                    <a:pt x="42189" y="12206"/>
                  </a:lnTo>
                  <a:cubicBezTo>
                    <a:pt x="45904" y="11940"/>
                    <a:pt x="48822" y="14859"/>
                    <a:pt x="51476" y="21492"/>
                  </a:cubicBezTo>
                  <a:lnTo>
                    <a:pt x="67927" y="56517"/>
                  </a:lnTo>
                  <a:lnTo>
                    <a:pt x="59171" y="74560"/>
                  </a:lnTo>
                  <a:lnTo>
                    <a:pt x="33433" y="20166"/>
                  </a:lnTo>
                  <a:cubicBezTo>
                    <a:pt x="31841" y="17247"/>
                    <a:pt x="31310" y="15124"/>
                    <a:pt x="31841" y="14063"/>
                  </a:cubicBezTo>
                  <a:cubicBezTo>
                    <a:pt x="32637" y="13002"/>
                    <a:pt x="34229" y="12206"/>
                    <a:pt x="36882" y="11940"/>
                  </a:cubicBezTo>
                  <a:lnTo>
                    <a:pt x="36882" y="6368"/>
                  </a:lnTo>
                  <a:lnTo>
                    <a:pt x="0" y="6368"/>
                  </a:lnTo>
                  <a:lnTo>
                    <a:pt x="0" y="11940"/>
                  </a:lnTo>
                  <a:lnTo>
                    <a:pt x="1061" y="11940"/>
                  </a:lnTo>
                  <a:cubicBezTo>
                    <a:pt x="4245" y="11940"/>
                    <a:pt x="6633" y="12736"/>
                    <a:pt x="8226" y="14063"/>
                  </a:cubicBezTo>
                  <a:cubicBezTo>
                    <a:pt x="9818" y="15124"/>
                    <a:pt x="11675" y="18308"/>
                    <a:pt x="14328" y="23350"/>
                  </a:cubicBezTo>
                  <a:lnTo>
                    <a:pt x="48292" y="95522"/>
                  </a:lnTo>
                  <a:lnTo>
                    <a:pt x="48292" y="95522"/>
                  </a:lnTo>
                  <a:close/>
                  <a:moveTo>
                    <a:pt x="78540" y="34759"/>
                  </a:moveTo>
                  <a:lnTo>
                    <a:pt x="70846" y="18839"/>
                  </a:lnTo>
                  <a:cubicBezTo>
                    <a:pt x="69784" y="16716"/>
                    <a:pt x="69519" y="15124"/>
                    <a:pt x="69784" y="13798"/>
                  </a:cubicBezTo>
                  <a:cubicBezTo>
                    <a:pt x="70580" y="13002"/>
                    <a:pt x="72172" y="12736"/>
                    <a:pt x="74826" y="12736"/>
                  </a:cubicBezTo>
                  <a:lnTo>
                    <a:pt x="82255" y="12736"/>
                  </a:lnTo>
                  <a:cubicBezTo>
                    <a:pt x="85174" y="12736"/>
                    <a:pt x="86766" y="13267"/>
                    <a:pt x="87297" y="14328"/>
                  </a:cubicBezTo>
                  <a:cubicBezTo>
                    <a:pt x="88093" y="15124"/>
                    <a:pt x="87827" y="16716"/>
                    <a:pt x="86766" y="19370"/>
                  </a:cubicBezTo>
                  <a:lnTo>
                    <a:pt x="78540" y="34759"/>
                  </a:lnTo>
                  <a:lnTo>
                    <a:pt x="78540" y="34759"/>
                  </a:lnTo>
                  <a:close/>
                  <a:moveTo>
                    <a:pt x="199800" y="94991"/>
                  </a:moveTo>
                  <a:lnTo>
                    <a:pt x="202454" y="94991"/>
                  </a:lnTo>
                  <a:lnTo>
                    <a:pt x="225008" y="90746"/>
                  </a:lnTo>
                  <a:lnTo>
                    <a:pt x="225008" y="86235"/>
                  </a:lnTo>
                  <a:cubicBezTo>
                    <a:pt x="223416" y="86501"/>
                    <a:pt x="222354" y="86766"/>
                    <a:pt x="221293" y="86766"/>
                  </a:cubicBezTo>
                  <a:cubicBezTo>
                    <a:pt x="218109" y="87562"/>
                    <a:pt x="216517" y="84643"/>
                    <a:pt x="216782" y="78540"/>
                  </a:cubicBezTo>
                  <a:lnTo>
                    <a:pt x="216782" y="35821"/>
                  </a:lnTo>
                  <a:lnTo>
                    <a:pt x="214129" y="35821"/>
                  </a:lnTo>
                  <a:lnTo>
                    <a:pt x="188391" y="40862"/>
                  </a:lnTo>
                  <a:lnTo>
                    <a:pt x="188391" y="44046"/>
                  </a:lnTo>
                  <a:lnTo>
                    <a:pt x="195024" y="46169"/>
                  </a:lnTo>
                  <a:cubicBezTo>
                    <a:pt x="198739" y="46965"/>
                    <a:pt x="200331" y="49618"/>
                    <a:pt x="200066" y="54395"/>
                  </a:cubicBezTo>
                  <a:lnTo>
                    <a:pt x="200066" y="79602"/>
                  </a:lnTo>
                  <a:cubicBezTo>
                    <a:pt x="193963" y="83316"/>
                    <a:pt x="189187" y="85174"/>
                    <a:pt x="185737" y="85174"/>
                  </a:cubicBezTo>
                  <a:cubicBezTo>
                    <a:pt x="179900" y="84909"/>
                    <a:pt x="176716" y="80132"/>
                    <a:pt x="176451" y="71376"/>
                  </a:cubicBezTo>
                  <a:lnTo>
                    <a:pt x="176451" y="35821"/>
                  </a:lnTo>
                  <a:lnTo>
                    <a:pt x="173797" y="35821"/>
                  </a:lnTo>
                  <a:lnTo>
                    <a:pt x="153631" y="40862"/>
                  </a:lnTo>
                  <a:lnTo>
                    <a:pt x="153631" y="44046"/>
                  </a:lnTo>
                  <a:lnTo>
                    <a:pt x="156816" y="45638"/>
                  </a:lnTo>
                  <a:cubicBezTo>
                    <a:pt x="158938" y="45904"/>
                    <a:pt x="160000" y="48557"/>
                    <a:pt x="159469" y="53333"/>
                  </a:cubicBezTo>
                  <a:lnTo>
                    <a:pt x="159469" y="76948"/>
                  </a:lnTo>
                  <a:cubicBezTo>
                    <a:pt x="159734" y="88623"/>
                    <a:pt x="165041" y="94726"/>
                    <a:pt x="174859" y="94991"/>
                  </a:cubicBezTo>
                  <a:cubicBezTo>
                    <a:pt x="180431" y="95257"/>
                    <a:pt x="188656" y="91807"/>
                    <a:pt x="200066" y="84643"/>
                  </a:cubicBezTo>
                  <a:lnTo>
                    <a:pt x="200066" y="94991"/>
                  </a:lnTo>
                  <a:lnTo>
                    <a:pt x="199800" y="94991"/>
                  </a:lnTo>
                  <a:close/>
                  <a:moveTo>
                    <a:pt x="266135" y="51741"/>
                  </a:moveTo>
                  <a:cubicBezTo>
                    <a:pt x="271707" y="48026"/>
                    <a:pt x="276484" y="46169"/>
                    <a:pt x="280464" y="46169"/>
                  </a:cubicBezTo>
                  <a:cubicBezTo>
                    <a:pt x="286301" y="46434"/>
                    <a:pt x="289485" y="50680"/>
                    <a:pt x="289750" y="58375"/>
                  </a:cubicBezTo>
                  <a:lnTo>
                    <a:pt x="289750" y="79867"/>
                  </a:lnTo>
                  <a:cubicBezTo>
                    <a:pt x="290547" y="87562"/>
                    <a:pt x="288158" y="91011"/>
                    <a:pt x="282586" y="90215"/>
                  </a:cubicBezTo>
                  <a:lnTo>
                    <a:pt x="281525" y="90215"/>
                  </a:lnTo>
                  <a:lnTo>
                    <a:pt x="281525" y="94726"/>
                  </a:lnTo>
                  <a:lnTo>
                    <a:pt x="314427" y="94726"/>
                  </a:lnTo>
                  <a:lnTo>
                    <a:pt x="314427" y="90215"/>
                  </a:lnTo>
                  <a:lnTo>
                    <a:pt x="313366" y="90215"/>
                  </a:lnTo>
                  <a:cubicBezTo>
                    <a:pt x="308590" y="91011"/>
                    <a:pt x="306467" y="87297"/>
                    <a:pt x="306732" y="79336"/>
                  </a:cubicBezTo>
                  <a:lnTo>
                    <a:pt x="306732" y="60763"/>
                  </a:lnTo>
                  <a:cubicBezTo>
                    <a:pt x="306732" y="44312"/>
                    <a:pt x="301691" y="36086"/>
                    <a:pt x="291343" y="36086"/>
                  </a:cubicBezTo>
                  <a:cubicBezTo>
                    <a:pt x="284709" y="36086"/>
                    <a:pt x="276484" y="39536"/>
                    <a:pt x="266135" y="46434"/>
                  </a:cubicBezTo>
                  <a:lnTo>
                    <a:pt x="266135" y="796"/>
                  </a:lnTo>
                  <a:lnTo>
                    <a:pt x="262686" y="796"/>
                  </a:lnTo>
                  <a:lnTo>
                    <a:pt x="240132" y="7430"/>
                  </a:lnTo>
                  <a:lnTo>
                    <a:pt x="240132" y="10614"/>
                  </a:lnTo>
                  <a:lnTo>
                    <a:pt x="244377" y="12206"/>
                  </a:lnTo>
                  <a:cubicBezTo>
                    <a:pt x="247562" y="13002"/>
                    <a:pt x="249154" y="14859"/>
                    <a:pt x="248888" y="18308"/>
                  </a:cubicBezTo>
                  <a:lnTo>
                    <a:pt x="248888" y="79867"/>
                  </a:lnTo>
                  <a:cubicBezTo>
                    <a:pt x="249684" y="87562"/>
                    <a:pt x="247031" y="91011"/>
                    <a:pt x="241193" y="90215"/>
                  </a:cubicBezTo>
                  <a:lnTo>
                    <a:pt x="239071" y="90215"/>
                  </a:lnTo>
                  <a:lnTo>
                    <a:pt x="239071" y="94726"/>
                  </a:lnTo>
                  <a:lnTo>
                    <a:pt x="274626" y="94726"/>
                  </a:lnTo>
                  <a:lnTo>
                    <a:pt x="274626" y="90215"/>
                  </a:lnTo>
                  <a:lnTo>
                    <a:pt x="273565" y="90215"/>
                  </a:lnTo>
                  <a:cubicBezTo>
                    <a:pt x="267993" y="91011"/>
                    <a:pt x="265605" y="87562"/>
                    <a:pt x="265870" y="80398"/>
                  </a:cubicBezTo>
                  <a:lnTo>
                    <a:pt x="265870" y="51741"/>
                  </a:lnTo>
                  <a:lnTo>
                    <a:pt x="266135" y="51741"/>
                  </a:lnTo>
                  <a:close/>
                  <a:moveTo>
                    <a:pt x="388987" y="84113"/>
                  </a:moveTo>
                  <a:cubicBezTo>
                    <a:pt x="387926" y="85174"/>
                    <a:pt x="386599" y="85705"/>
                    <a:pt x="385273" y="85705"/>
                  </a:cubicBezTo>
                  <a:cubicBezTo>
                    <a:pt x="383415" y="85970"/>
                    <a:pt x="382619" y="83847"/>
                    <a:pt x="382619" y="79071"/>
                  </a:cubicBezTo>
                  <a:lnTo>
                    <a:pt x="382619" y="52802"/>
                  </a:lnTo>
                  <a:cubicBezTo>
                    <a:pt x="381823" y="42985"/>
                    <a:pt x="374128" y="37147"/>
                    <a:pt x="359535" y="35821"/>
                  </a:cubicBezTo>
                  <a:cubicBezTo>
                    <a:pt x="349186" y="36617"/>
                    <a:pt x="341757" y="39270"/>
                    <a:pt x="336450" y="44046"/>
                  </a:cubicBezTo>
                  <a:cubicBezTo>
                    <a:pt x="332735" y="47230"/>
                    <a:pt x="331674" y="52006"/>
                    <a:pt x="333266" y="57844"/>
                  </a:cubicBezTo>
                  <a:lnTo>
                    <a:pt x="349186" y="52272"/>
                  </a:lnTo>
                  <a:cubicBezTo>
                    <a:pt x="348390" y="45373"/>
                    <a:pt x="350779" y="41658"/>
                    <a:pt x="356351" y="41393"/>
                  </a:cubicBezTo>
                  <a:cubicBezTo>
                    <a:pt x="361923" y="41658"/>
                    <a:pt x="364842" y="44842"/>
                    <a:pt x="365107" y="50680"/>
                  </a:cubicBezTo>
                  <a:lnTo>
                    <a:pt x="365107" y="56252"/>
                  </a:lnTo>
                  <a:cubicBezTo>
                    <a:pt x="361392" y="59171"/>
                    <a:pt x="356085" y="61824"/>
                    <a:pt x="348656" y="63947"/>
                  </a:cubicBezTo>
                  <a:cubicBezTo>
                    <a:pt x="342818" y="65804"/>
                    <a:pt x="338838" y="67927"/>
                    <a:pt x="336450" y="70050"/>
                  </a:cubicBezTo>
                  <a:cubicBezTo>
                    <a:pt x="333531" y="72968"/>
                    <a:pt x="331939" y="76683"/>
                    <a:pt x="331939" y="81459"/>
                  </a:cubicBezTo>
                  <a:cubicBezTo>
                    <a:pt x="332205" y="90215"/>
                    <a:pt x="337512" y="94726"/>
                    <a:pt x="347860" y="95257"/>
                  </a:cubicBezTo>
                  <a:cubicBezTo>
                    <a:pt x="354493" y="95522"/>
                    <a:pt x="360331" y="93134"/>
                    <a:pt x="365372" y="87562"/>
                  </a:cubicBezTo>
                  <a:cubicBezTo>
                    <a:pt x="366168" y="92338"/>
                    <a:pt x="369352" y="94991"/>
                    <a:pt x="375190" y="95257"/>
                  </a:cubicBezTo>
                  <a:cubicBezTo>
                    <a:pt x="381027" y="94991"/>
                    <a:pt x="386334" y="92338"/>
                    <a:pt x="391110" y="87562"/>
                  </a:cubicBezTo>
                  <a:lnTo>
                    <a:pt x="388987" y="84113"/>
                  </a:lnTo>
                  <a:lnTo>
                    <a:pt x="388987" y="84113"/>
                  </a:lnTo>
                  <a:close/>
                  <a:moveTo>
                    <a:pt x="364842" y="82521"/>
                  </a:moveTo>
                  <a:cubicBezTo>
                    <a:pt x="361127" y="86235"/>
                    <a:pt x="358208" y="88093"/>
                    <a:pt x="355555" y="88093"/>
                  </a:cubicBezTo>
                  <a:cubicBezTo>
                    <a:pt x="351309" y="87827"/>
                    <a:pt x="348656" y="84643"/>
                    <a:pt x="348390" y="78806"/>
                  </a:cubicBezTo>
                  <a:cubicBezTo>
                    <a:pt x="348125" y="73234"/>
                    <a:pt x="351044" y="69254"/>
                    <a:pt x="357677" y="66865"/>
                  </a:cubicBezTo>
                  <a:cubicBezTo>
                    <a:pt x="360861" y="65273"/>
                    <a:pt x="363249" y="63947"/>
                    <a:pt x="364842" y="62355"/>
                  </a:cubicBezTo>
                  <a:lnTo>
                    <a:pt x="364842" y="82521"/>
                  </a:lnTo>
                  <a:lnTo>
                    <a:pt x="364842" y="82521"/>
                  </a:lnTo>
                  <a:close/>
                  <a:moveTo>
                    <a:pt x="472304" y="59967"/>
                  </a:moveTo>
                  <a:cubicBezTo>
                    <a:pt x="472569" y="43516"/>
                    <a:pt x="467793" y="35555"/>
                    <a:pt x="457445" y="35821"/>
                  </a:cubicBezTo>
                  <a:cubicBezTo>
                    <a:pt x="450546" y="35821"/>
                    <a:pt x="441790" y="39536"/>
                    <a:pt x="431176" y="46700"/>
                  </a:cubicBezTo>
                  <a:lnTo>
                    <a:pt x="431176" y="33963"/>
                  </a:lnTo>
                  <a:lnTo>
                    <a:pt x="429054" y="33963"/>
                  </a:lnTo>
                  <a:lnTo>
                    <a:pt x="404908" y="42189"/>
                  </a:lnTo>
                  <a:lnTo>
                    <a:pt x="404908" y="45373"/>
                  </a:lnTo>
                  <a:lnTo>
                    <a:pt x="407561" y="45904"/>
                  </a:lnTo>
                  <a:cubicBezTo>
                    <a:pt x="412337" y="47496"/>
                    <a:pt x="414460" y="49618"/>
                    <a:pt x="414195" y="52537"/>
                  </a:cubicBezTo>
                  <a:lnTo>
                    <a:pt x="414195" y="79867"/>
                  </a:lnTo>
                  <a:cubicBezTo>
                    <a:pt x="414460" y="86766"/>
                    <a:pt x="412072" y="90215"/>
                    <a:pt x="406500" y="89685"/>
                  </a:cubicBezTo>
                  <a:lnTo>
                    <a:pt x="405438" y="89685"/>
                  </a:lnTo>
                  <a:lnTo>
                    <a:pt x="405438" y="94195"/>
                  </a:lnTo>
                  <a:lnTo>
                    <a:pt x="440994" y="94195"/>
                  </a:lnTo>
                  <a:lnTo>
                    <a:pt x="440994" y="89685"/>
                  </a:lnTo>
                  <a:lnTo>
                    <a:pt x="439933" y="89685"/>
                  </a:lnTo>
                  <a:cubicBezTo>
                    <a:pt x="434095" y="89685"/>
                    <a:pt x="431176" y="86501"/>
                    <a:pt x="431176" y="80398"/>
                  </a:cubicBezTo>
                  <a:lnTo>
                    <a:pt x="431176" y="51741"/>
                  </a:lnTo>
                  <a:cubicBezTo>
                    <a:pt x="437014" y="47761"/>
                    <a:pt x="442055" y="45638"/>
                    <a:pt x="446566" y="45638"/>
                  </a:cubicBezTo>
                  <a:cubicBezTo>
                    <a:pt x="452138" y="45373"/>
                    <a:pt x="454792" y="50680"/>
                    <a:pt x="454792" y="61559"/>
                  </a:cubicBezTo>
                  <a:lnTo>
                    <a:pt x="454792" y="73764"/>
                  </a:lnTo>
                  <a:cubicBezTo>
                    <a:pt x="455057" y="84378"/>
                    <a:pt x="452669" y="89685"/>
                    <a:pt x="447097" y="89685"/>
                  </a:cubicBezTo>
                  <a:lnTo>
                    <a:pt x="447097" y="94195"/>
                  </a:lnTo>
                  <a:lnTo>
                    <a:pt x="479999" y="94195"/>
                  </a:lnTo>
                  <a:lnTo>
                    <a:pt x="479999" y="89685"/>
                  </a:lnTo>
                  <a:cubicBezTo>
                    <a:pt x="474427" y="89950"/>
                    <a:pt x="472039" y="87297"/>
                    <a:pt x="472304" y="81459"/>
                  </a:cubicBezTo>
                  <a:lnTo>
                    <a:pt x="472304" y="59967"/>
                  </a:lnTo>
                  <a:lnTo>
                    <a:pt x="472304" y="59967"/>
                  </a:lnTo>
                  <a:close/>
                  <a:moveTo>
                    <a:pt x="532536" y="12736"/>
                  </a:moveTo>
                  <a:lnTo>
                    <a:pt x="534128" y="12736"/>
                  </a:lnTo>
                  <a:cubicBezTo>
                    <a:pt x="541557" y="12471"/>
                    <a:pt x="545007" y="15920"/>
                    <a:pt x="544476" y="23084"/>
                  </a:cubicBezTo>
                  <a:lnTo>
                    <a:pt x="544476" y="79071"/>
                  </a:lnTo>
                  <a:cubicBezTo>
                    <a:pt x="544742" y="85705"/>
                    <a:pt x="541292" y="88889"/>
                    <a:pt x="534128" y="88889"/>
                  </a:cubicBezTo>
                  <a:lnTo>
                    <a:pt x="532536" y="88889"/>
                  </a:lnTo>
                  <a:lnTo>
                    <a:pt x="532536" y="94461"/>
                  </a:lnTo>
                  <a:lnTo>
                    <a:pt x="576848" y="94461"/>
                  </a:lnTo>
                  <a:lnTo>
                    <a:pt x="576848" y="89154"/>
                  </a:lnTo>
                  <a:lnTo>
                    <a:pt x="574725" y="89154"/>
                  </a:lnTo>
                  <a:cubicBezTo>
                    <a:pt x="567030" y="89419"/>
                    <a:pt x="563315" y="85970"/>
                    <a:pt x="563846" y="78806"/>
                  </a:cubicBezTo>
                  <a:lnTo>
                    <a:pt x="563846" y="23350"/>
                  </a:lnTo>
                  <a:cubicBezTo>
                    <a:pt x="563846" y="16451"/>
                    <a:pt x="567561" y="13002"/>
                    <a:pt x="574725" y="13002"/>
                  </a:cubicBezTo>
                  <a:lnTo>
                    <a:pt x="576848" y="13002"/>
                  </a:lnTo>
                  <a:lnTo>
                    <a:pt x="576848" y="7430"/>
                  </a:lnTo>
                  <a:lnTo>
                    <a:pt x="532536" y="7430"/>
                  </a:lnTo>
                  <a:lnTo>
                    <a:pt x="532536" y="12736"/>
                  </a:lnTo>
                  <a:lnTo>
                    <a:pt x="532536" y="12736"/>
                  </a:lnTo>
                  <a:close/>
                  <a:moveTo>
                    <a:pt x="659368" y="59967"/>
                  </a:moveTo>
                  <a:cubicBezTo>
                    <a:pt x="659633" y="43516"/>
                    <a:pt x="654857" y="35555"/>
                    <a:pt x="644509" y="35821"/>
                  </a:cubicBezTo>
                  <a:cubicBezTo>
                    <a:pt x="637610" y="35821"/>
                    <a:pt x="628854" y="39536"/>
                    <a:pt x="618241" y="46700"/>
                  </a:cubicBezTo>
                  <a:lnTo>
                    <a:pt x="618241" y="33963"/>
                  </a:lnTo>
                  <a:lnTo>
                    <a:pt x="616118" y="33963"/>
                  </a:lnTo>
                  <a:lnTo>
                    <a:pt x="591972" y="42189"/>
                  </a:lnTo>
                  <a:lnTo>
                    <a:pt x="591972" y="45373"/>
                  </a:lnTo>
                  <a:lnTo>
                    <a:pt x="594625" y="45904"/>
                  </a:lnTo>
                  <a:cubicBezTo>
                    <a:pt x="599401" y="47496"/>
                    <a:pt x="601524" y="49618"/>
                    <a:pt x="601259" y="52537"/>
                  </a:cubicBezTo>
                  <a:lnTo>
                    <a:pt x="601259" y="79867"/>
                  </a:lnTo>
                  <a:cubicBezTo>
                    <a:pt x="601524" y="86766"/>
                    <a:pt x="599136" y="90215"/>
                    <a:pt x="593564" y="89685"/>
                  </a:cubicBezTo>
                  <a:lnTo>
                    <a:pt x="592503" y="89685"/>
                  </a:lnTo>
                  <a:lnTo>
                    <a:pt x="592503" y="94195"/>
                  </a:lnTo>
                  <a:lnTo>
                    <a:pt x="628058" y="94195"/>
                  </a:lnTo>
                  <a:lnTo>
                    <a:pt x="628058" y="89685"/>
                  </a:lnTo>
                  <a:lnTo>
                    <a:pt x="626997" y="89685"/>
                  </a:lnTo>
                  <a:cubicBezTo>
                    <a:pt x="621159" y="89685"/>
                    <a:pt x="618241" y="86501"/>
                    <a:pt x="618241" y="80398"/>
                  </a:cubicBezTo>
                  <a:lnTo>
                    <a:pt x="618241" y="51741"/>
                  </a:lnTo>
                  <a:cubicBezTo>
                    <a:pt x="624078" y="47761"/>
                    <a:pt x="629119" y="45638"/>
                    <a:pt x="633630" y="45638"/>
                  </a:cubicBezTo>
                  <a:cubicBezTo>
                    <a:pt x="639202" y="45373"/>
                    <a:pt x="641856" y="50680"/>
                    <a:pt x="641856" y="61559"/>
                  </a:cubicBezTo>
                  <a:lnTo>
                    <a:pt x="641856" y="73764"/>
                  </a:lnTo>
                  <a:cubicBezTo>
                    <a:pt x="642121" y="84378"/>
                    <a:pt x="639733" y="89685"/>
                    <a:pt x="634161" y="89685"/>
                  </a:cubicBezTo>
                  <a:lnTo>
                    <a:pt x="634161" y="94195"/>
                  </a:lnTo>
                  <a:lnTo>
                    <a:pt x="667063" y="94195"/>
                  </a:lnTo>
                  <a:lnTo>
                    <a:pt x="667063" y="89685"/>
                  </a:lnTo>
                  <a:cubicBezTo>
                    <a:pt x="661491" y="89950"/>
                    <a:pt x="659103" y="87297"/>
                    <a:pt x="659368" y="81459"/>
                  </a:cubicBezTo>
                  <a:lnTo>
                    <a:pt x="659368" y="59967"/>
                  </a:lnTo>
                  <a:lnTo>
                    <a:pt x="659368" y="59967"/>
                  </a:lnTo>
                  <a:close/>
                  <a:moveTo>
                    <a:pt x="686698" y="94461"/>
                  </a:moveTo>
                  <a:lnTo>
                    <a:pt x="690413" y="94461"/>
                  </a:lnTo>
                  <a:cubicBezTo>
                    <a:pt x="691474" y="94195"/>
                    <a:pt x="692536" y="93930"/>
                    <a:pt x="693066" y="93930"/>
                  </a:cubicBezTo>
                  <a:cubicBezTo>
                    <a:pt x="693332" y="93930"/>
                    <a:pt x="694393" y="94195"/>
                    <a:pt x="695720" y="94461"/>
                  </a:cubicBezTo>
                  <a:cubicBezTo>
                    <a:pt x="699700" y="94726"/>
                    <a:pt x="703680" y="94991"/>
                    <a:pt x="707660" y="94991"/>
                  </a:cubicBezTo>
                  <a:cubicBezTo>
                    <a:pt x="719335" y="94726"/>
                    <a:pt x="725703" y="88889"/>
                    <a:pt x="726234" y="78010"/>
                  </a:cubicBezTo>
                  <a:cubicBezTo>
                    <a:pt x="726234" y="70580"/>
                    <a:pt x="720661" y="64212"/>
                    <a:pt x="709783" y="58375"/>
                  </a:cubicBezTo>
                  <a:cubicBezTo>
                    <a:pt x="702088" y="54129"/>
                    <a:pt x="698373" y="50149"/>
                    <a:pt x="698373" y="46965"/>
                  </a:cubicBezTo>
                  <a:cubicBezTo>
                    <a:pt x="698638" y="44046"/>
                    <a:pt x="701026" y="42454"/>
                    <a:pt x="705006" y="41924"/>
                  </a:cubicBezTo>
                  <a:cubicBezTo>
                    <a:pt x="711109" y="41924"/>
                    <a:pt x="715620" y="45904"/>
                    <a:pt x="718273" y="54129"/>
                  </a:cubicBezTo>
                  <a:lnTo>
                    <a:pt x="722784" y="54129"/>
                  </a:lnTo>
                  <a:lnTo>
                    <a:pt x="722784" y="38739"/>
                  </a:lnTo>
                  <a:cubicBezTo>
                    <a:pt x="717743" y="36882"/>
                    <a:pt x="712436" y="36086"/>
                    <a:pt x="706864" y="36086"/>
                  </a:cubicBezTo>
                  <a:cubicBezTo>
                    <a:pt x="693066" y="36882"/>
                    <a:pt x="685637" y="42720"/>
                    <a:pt x="684841" y="53599"/>
                  </a:cubicBezTo>
                  <a:cubicBezTo>
                    <a:pt x="684841" y="60232"/>
                    <a:pt x="690147" y="66600"/>
                    <a:pt x="700761" y="72703"/>
                  </a:cubicBezTo>
                  <a:cubicBezTo>
                    <a:pt x="707660" y="77214"/>
                    <a:pt x="711109" y="80663"/>
                    <a:pt x="711109" y="83582"/>
                  </a:cubicBezTo>
                  <a:cubicBezTo>
                    <a:pt x="710313" y="87562"/>
                    <a:pt x="707925" y="89685"/>
                    <a:pt x="703945" y="90215"/>
                  </a:cubicBezTo>
                  <a:cubicBezTo>
                    <a:pt x="696516" y="89419"/>
                    <a:pt x="691739" y="85439"/>
                    <a:pt x="689086" y="78275"/>
                  </a:cubicBezTo>
                  <a:lnTo>
                    <a:pt x="684841" y="78275"/>
                  </a:lnTo>
                  <a:lnTo>
                    <a:pt x="686698" y="94461"/>
                  </a:lnTo>
                  <a:lnTo>
                    <a:pt x="686698" y="94461"/>
                  </a:lnTo>
                  <a:close/>
                  <a:moveTo>
                    <a:pt x="769219" y="45108"/>
                  </a:moveTo>
                  <a:lnTo>
                    <a:pt x="785670" y="45108"/>
                  </a:lnTo>
                  <a:lnTo>
                    <a:pt x="787262" y="37413"/>
                  </a:lnTo>
                  <a:lnTo>
                    <a:pt x="769219" y="37413"/>
                  </a:lnTo>
                  <a:lnTo>
                    <a:pt x="769219" y="19900"/>
                  </a:lnTo>
                  <a:lnTo>
                    <a:pt x="765504" y="19900"/>
                  </a:lnTo>
                  <a:cubicBezTo>
                    <a:pt x="760993" y="29718"/>
                    <a:pt x="754094" y="36882"/>
                    <a:pt x="744807" y="41393"/>
                  </a:cubicBezTo>
                  <a:lnTo>
                    <a:pt x="744807" y="45108"/>
                  </a:lnTo>
                  <a:lnTo>
                    <a:pt x="752502" y="45108"/>
                  </a:lnTo>
                  <a:lnTo>
                    <a:pt x="752502" y="78540"/>
                  </a:lnTo>
                  <a:cubicBezTo>
                    <a:pt x="752502" y="89419"/>
                    <a:pt x="757809" y="94991"/>
                    <a:pt x="768423" y="94991"/>
                  </a:cubicBezTo>
                  <a:cubicBezTo>
                    <a:pt x="776913" y="94726"/>
                    <a:pt x="783547" y="90746"/>
                    <a:pt x="788854" y="83582"/>
                  </a:cubicBezTo>
                  <a:lnTo>
                    <a:pt x="786731" y="79336"/>
                  </a:lnTo>
                  <a:cubicBezTo>
                    <a:pt x="783016" y="84113"/>
                    <a:pt x="779567" y="86501"/>
                    <a:pt x="776383" y="86501"/>
                  </a:cubicBezTo>
                  <a:cubicBezTo>
                    <a:pt x="771872" y="86501"/>
                    <a:pt x="769749" y="84113"/>
                    <a:pt x="769749" y="79336"/>
                  </a:cubicBezTo>
                  <a:lnTo>
                    <a:pt x="769749" y="45108"/>
                  </a:lnTo>
                  <a:lnTo>
                    <a:pt x="769219" y="45108"/>
                  </a:lnTo>
                  <a:close/>
                  <a:moveTo>
                    <a:pt x="836084" y="90215"/>
                  </a:moveTo>
                  <a:cubicBezTo>
                    <a:pt x="830247" y="89950"/>
                    <a:pt x="827328" y="87031"/>
                    <a:pt x="827328" y="81459"/>
                  </a:cubicBezTo>
                  <a:lnTo>
                    <a:pt x="827328" y="34229"/>
                  </a:lnTo>
                  <a:lnTo>
                    <a:pt x="825205" y="34229"/>
                  </a:lnTo>
                  <a:lnTo>
                    <a:pt x="801059" y="42454"/>
                  </a:lnTo>
                  <a:lnTo>
                    <a:pt x="801059" y="45638"/>
                  </a:lnTo>
                  <a:lnTo>
                    <a:pt x="805305" y="47230"/>
                  </a:lnTo>
                  <a:cubicBezTo>
                    <a:pt x="809019" y="48026"/>
                    <a:pt x="810611" y="49884"/>
                    <a:pt x="810346" y="53333"/>
                  </a:cubicBezTo>
                  <a:lnTo>
                    <a:pt x="810346" y="80132"/>
                  </a:lnTo>
                  <a:cubicBezTo>
                    <a:pt x="810611" y="87031"/>
                    <a:pt x="808223" y="90481"/>
                    <a:pt x="802651" y="89950"/>
                  </a:cubicBezTo>
                  <a:lnTo>
                    <a:pt x="801059" y="89950"/>
                  </a:lnTo>
                  <a:lnTo>
                    <a:pt x="801059" y="94461"/>
                  </a:lnTo>
                  <a:lnTo>
                    <a:pt x="836084" y="94461"/>
                  </a:lnTo>
                  <a:lnTo>
                    <a:pt x="836084" y="90215"/>
                  </a:lnTo>
                  <a:lnTo>
                    <a:pt x="836084" y="90215"/>
                  </a:lnTo>
                  <a:close/>
                  <a:moveTo>
                    <a:pt x="818572" y="2388"/>
                  </a:moveTo>
                  <a:cubicBezTo>
                    <a:pt x="811673" y="3184"/>
                    <a:pt x="807693" y="6368"/>
                    <a:pt x="807162" y="11675"/>
                  </a:cubicBezTo>
                  <a:cubicBezTo>
                    <a:pt x="807958" y="17778"/>
                    <a:pt x="811673" y="21227"/>
                    <a:pt x="818572" y="21492"/>
                  </a:cubicBezTo>
                  <a:cubicBezTo>
                    <a:pt x="825205" y="20696"/>
                    <a:pt x="828920" y="17512"/>
                    <a:pt x="829451" y="11675"/>
                  </a:cubicBezTo>
                  <a:cubicBezTo>
                    <a:pt x="829185" y="5837"/>
                    <a:pt x="825471" y="2653"/>
                    <a:pt x="818572" y="2388"/>
                  </a:cubicBezTo>
                  <a:lnTo>
                    <a:pt x="818572" y="2388"/>
                  </a:lnTo>
                  <a:close/>
                  <a:moveTo>
                    <a:pt x="876681" y="45108"/>
                  </a:moveTo>
                  <a:lnTo>
                    <a:pt x="893132" y="45108"/>
                  </a:lnTo>
                  <a:lnTo>
                    <a:pt x="894724" y="37413"/>
                  </a:lnTo>
                  <a:lnTo>
                    <a:pt x="876681" y="37413"/>
                  </a:lnTo>
                  <a:lnTo>
                    <a:pt x="876681" y="19900"/>
                  </a:lnTo>
                  <a:lnTo>
                    <a:pt x="872966" y="19900"/>
                  </a:lnTo>
                  <a:cubicBezTo>
                    <a:pt x="868455" y="29718"/>
                    <a:pt x="861557" y="36882"/>
                    <a:pt x="852004" y="41393"/>
                  </a:cubicBezTo>
                  <a:lnTo>
                    <a:pt x="852004" y="45108"/>
                  </a:lnTo>
                  <a:lnTo>
                    <a:pt x="859699" y="45108"/>
                  </a:lnTo>
                  <a:lnTo>
                    <a:pt x="859699" y="78540"/>
                  </a:lnTo>
                  <a:cubicBezTo>
                    <a:pt x="859699" y="89419"/>
                    <a:pt x="865006" y="94991"/>
                    <a:pt x="875620" y="94991"/>
                  </a:cubicBezTo>
                  <a:cubicBezTo>
                    <a:pt x="884110" y="94726"/>
                    <a:pt x="890744" y="90746"/>
                    <a:pt x="896051" y="83582"/>
                  </a:cubicBezTo>
                  <a:lnTo>
                    <a:pt x="893928" y="79336"/>
                  </a:lnTo>
                  <a:cubicBezTo>
                    <a:pt x="890213" y="84113"/>
                    <a:pt x="886764" y="86501"/>
                    <a:pt x="883580" y="86501"/>
                  </a:cubicBezTo>
                  <a:cubicBezTo>
                    <a:pt x="879069" y="86501"/>
                    <a:pt x="876946" y="84113"/>
                    <a:pt x="876946" y="79336"/>
                  </a:cubicBezTo>
                  <a:lnTo>
                    <a:pt x="876946" y="45108"/>
                  </a:lnTo>
                  <a:lnTo>
                    <a:pt x="876681" y="45108"/>
                  </a:lnTo>
                  <a:close/>
                  <a:moveTo>
                    <a:pt x="957344" y="94991"/>
                  </a:moveTo>
                  <a:lnTo>
                    <a:pt x="959998" y="94991"/>
                  </a:lnTo>
                  <a:lnTo>
                    <a:pt x="982551" y="90746"/>
                  </a:lnTo>
                  <a:lnTo>
                    <a:pt x="982551" y="86235"/>
                  </a:lnTo>
                  <a:cubicBezTo>
                    <a:pt x="980959" y="86501"/>
                    <a:pt x="979898" y="86766"/>
                    <a:pt x="978837" y="86766"/>
                  </a:cubicBezTo>
                  <a:cubicBezTo>
                    <a:pt x="975653" y="87562"/>
                    <a:pt x="974060" y="84643"/>
                    <a:pt x="974326" y="78540"/>
                  </a:cubicBezTo>
                  <a:lnTo>
                    <a:pt x="974326" y="35821"/>
                  </a:lnTo>
                  <a:lnTo>
                    <a:pt x="971672" y="35821"/>
                  </a:lnTo>
                  <a:lnTo>
                    <a:pt x="945935" y="40862"/>
                  </a:lnTo>
                  <a:lnTo>
                    <a:pt x="945935" y="44046"/>
                  </a:lnTo>
                  <a:lnTo>
                    <a:pt x="952568" y="46169"/>
                  </a:lnTo>
                  <a:cubicBezTo>
                    <a:pt x="956283" y="46965"/>
                    <a:pt x="957875" y="49618"/>
                    <a:pt x="957609" y="54395"/>
                  </a:cubicBezTo>
                  <a:lnTo>
                    <a:pt x="957609" y="79602"/>
                  </a:lnTo>
                  <a:cubicBezTo>
                    <a:pt x="951507" y="83316"/>
                    <a:pt x="946731" y="85174"/>
                    <a:pt x="943281" y="85174"/>
                  </a:cubicBezTo>
                  <a:cubicBezTo>
                    <a:pt x="937444" y="84909"/>
                    <a:pt x="934260" y="80132"/>
                    <a:pt x="933994" y="71376"/>
                  </a:cubicBezTo>
                  <a:lnTo>
                    <a:pt x="933994" y="35821"/>
                  </a:lnTo>
                  <a:lnTo>
                    <a:pt x="931341" y="35821"/>
                  </a:lnTo>
                  <a:lnTo>
                    <a:pt x="911175" y="40862"/>
                  </a:lnTo>
                  <a:lnTo>
                    <a:pt x="911175" y="44046"/>
                  </a:lnTo>
                  <a:lnTo>
                    <a:pt x="914359" y="45638"/>
                  </a:lnTo>
                  <a:cubicBezTo>
                    <a:pt x="916482" y="45904"/>
                    <a:pt x="917543" y="48557"/>
                    <a:pt x="917013" y="53333"/>
                  </a:cubicBezTo>
                  <a:lnTo>
                    <a:pt x="917013" y="76948"/>
                  </a:lnTo>
                  <a:cubicBezTo>
                    <a:pt x="917278" y="88623"/>
                    <a:pt x="922585" y="94726"/>
                    <a:pt x="932402" y="94991"/>
                  </a:cubicBezTo>
                  <a:cubicBezTo>
                    <a:pt x="937974" y="95257"/>
                    <a:pt x="946200" y="91807"/>
                    <a:pt x="957609" y="84643"/>
                  </a:cubicBezTo>
                  <a:lnTo>
                    <a:pt x="957609" y="94991"/>
                  </a:lnTo>
                  <a:lnTo>
                    <a:pt x="957344" y="94991"/>
                  </a:lnTo>
                  <a:close/>
                  <a:moveTo>
                    <a:pt x="1023679" y="45108"/>
                  </a:moveTo>
                  <a:lnTo>
                    <a:pt x="1040130" y="45108"/>
                  </a:lnTo>
                  <a:lnTo>
                    <a:pt x="1041722" y="37413"/>
                  </a:lnTo>
                  <a:lnTo>
                    <a:pt x="1023679" y="37413"/>
                  </a:lnTo>
                  <a:lnTo>
                    <a:pt x="1023679" y="19900"/>
                  </a:lnTo>
                  <a:lnTo>
                    <a:pt x="1019964" y="19900"/>
                  </a:lnTo>
                  <a:cubicBezTo>
                    <a:pt x="1015453" y="29718"/>
                    <a:pt x="1008555" y="36882"/>
                    <a:pt x="999002" y="41393"/>
                  </a:cubicBezTo>
                  <a:lnTo>
                    <a:pt x="999002" y="45108"/>
                  </a:lnTo>
                  <a:lnTo>
                    <a:pt x="1006697" y="45108"/>
                  </a:lnTo>
                  <a:lnTo>
                    <a:pt x="1006697" y="78540"/>
                  </a:lnTo>
                  <a:cubicBezTo>
                    <a:pt x="1006697" y="89419"/>
                    <a:pt x="1012004" y="94991"/>
                    <a:pt x="1022618" y="94991"/>
                  </a:cubicBezTo>
                  <a:cubicBezTo>
                    <a:pt x="1031108" y="94726"/>
                    <a:pt x="1037742" y="90746"/>
                    <a:pt x="1043049" y="83582"/>
                  </a:cubicBezTo>
                  <a:lnTo>
                    <a:pt x="1040926" y="79336"/>
                  </a:lnTo>
                  <a:cubicBezTo>
                    <a:pt x="1037211" y="84113"/>
                    <a:pt x="1033762" y="86501"/>
                    <a:pt x="1030578" y="86501"/>
                  </a:cubicBezTo>
                  <a:cubicBezTo>
                    <a:pt x="1026067" y="86501"/>
                    <a:pt x="1023944" y="84113"/>
                    <a:pt x="1023944" y="79336"/>
                  </a:cubicBezTo>
                  <a:lnTo>
                    <a:pt x="1023944" y="45108"/>
                  </a:lnTo>
                  <a:lnTo>
                    <a:pt x="1023679" y="45108"/>
                  </a:lnTo>
                  <a:close/>
                  <a:moveTo>
                    <a:pt x="1111506" y="75356"/>
                  </a:moveTo>
                  <a:cubicBezTo>
                    <a:pt x="1104873" y="82786"/>
                    <a:pt x="1099301" y="86235"/>
                    <a:pt x="1094525" y="85705"/>
                  </a:cubicBezTo>
                  <a:cubicBezTo>
                    <a:pt x="1084972" y="84643"/>
                    <a:pt x="1079400" y="77744"/>
                    <a:pt x="1077543" y="64743"/>
                  </a:cubicBezTo>
                  <a:lnTo>
                    <a:pt x="1116548" y="64743"/>
                  </a:lnTo>
                  <a:lnTo>
                    <a:pt x="1116548" y="61028"/>
                  </a:lnTo>
                  <a:cubicBezTo>
                    <a:pt x="1115221" y="60232"/>
                    <a:pt x="1113894" y="58375"/>
                    <a:pt x="1113364" y="54925"/>
                  </a:cubicBezTo>
                  <a:cubicBezTo>
                    <a:pt x="1112302" y="49353"/>
                    <a:pt x="1110180" y="45108"/>
                    <a:pt x="1107261" y="42189"/>
                  </a:cubicBezTo>
                  <a:cubicBezTo>
                    <a:pt x="1102750" y="37944"/>
                    <a:pt x="1096913" y="35555"/>
                    <a:pt x="1089748" y="35555"/>
                  </a:cubicBezTo>
                  <a:cubicBezTo>
                    <a:pt x="1071175" y="37147"/>
                    <a:pt x="1061092" y="47496"/>
                    <a:pt x="1059500" y="66865"/>
                  </a:cubicBezTo>
                  <a:cubicBezTo>
                    <a:pt x="1060296" y="84909"/>
                    <a:pt x="1068787" y="94195"/>
                    <a:pt x="1085238" y="94726"/>
                  </a:cubicBezTo>
                  <a:cubicBezTo>
                    <a:pt x="1096913" y="94461"/>
                    <a:pt x="1106730" y="88623"/>
                    <a:pt x="1114956" y="77744"/>
                  </a:cubicBezTo>
                  <a:lnTo>
                    <a:pt x="1111506" y="75356"/>
                  </a:lnTo>
                  <a:lnTo>
                    <a:pt x="1111506" y="75356"/>
                  </a:lnTo>
                  <a:close/>
                  <a:moveTo>
                    <a:pt x="1076747" y="59967"/>
                  </a:moveTo>
                  <a:cubicBezTo>
                    <a:pt x="1076481" y="49618"/>
                    <a:pt x="1079666" y="43781"/>
                    <a:pt x="1086564" y="42454"/>
                  </a:cubicBezTo>
                  <a:cubicBezTo>
                    <a:pt x="1092667" y="42720"/>
                    <a:pt x="1096117" y="48557"/>
                    <a:pt x="1096382" y="59967"/>
                  </a:cubicBezTo>
                  <a:lnTo>
                    <a:pt x="1076747" y="59967"/>
                  </a:lnTo>
                  <a:lnTo>
                    <a:pt x="1076747" y="59967"/>
                  </a:lnTo>
                  <a:close/>
                  <a:moveTo>
                    <a:pt x="1172800" y="66600"/>
                  </a:moveTo>
                  <a:cubicBezTo>
                    <a:pt x="1173861" y="84909"/>
                    <a:pt x="1184740" y="94461"/>
                    <a:pt x="1205702" y="94991"/>
                  </a:cubicBezTo>
                  <a:cubicBezTo>
                    <a:pt x="1227725" y="93930"/>
                    <a:pt x="1239400" y="83847"/>
                    <a:pt x="1241257" y="64743"/>
                  </a:cubicBezTo>
                  <a:cubicBezTo>
                    <a:pt x="1239665" y="46965"/>
                    <a:pt x="1228521" y="37147"/>
                    <a:pt x="1207824" y="35555"/>
                  </a:cubicBezTo>
                  <a:cubicBezTo>
                    <a:pt x="1186332" y="37147"/>
                    <a:pt x="1174657" y="47496"/>
                    <a:pt x="1172800" y="66600"/>
                  </a:cubicBezTo>
                  <a:lnTo>
                    <a:pt x="1172800" y="66600"/>
                  </a:lnTo>
                  <a:close/>
                  <a:moveTo>
                    <a:pt x="1191639" y="58375"/>
                  </a:moveTo>
                  <a:cubicBezTo>
                    <a:pt x="1191904" y="47761"/>
                    <a:pt x="1196415" y="42189"/>
                    <a:pt x="1204906" y="41924"/>
                  </a:cubicBezTo>
                  <a:cubicBezTo>
                    <a:pt x="1216315" y="43250"/>
                    <a:pt x="1222153" y="53599"/>
                    <a:pt x="1222949" y="72703"/>
                  </a:cubicBezTo>
                  <a:cubicBezTo>
                    <a:pt x="1222683" y="84113"/>
                    <a:pt x="1218438" y="89950"/>
                    <a:pt x="1210212" y="90215"/>
                  </a:cubicBezTo>
                  <a:cubicBezTo>
                    <a:pt x="1198803" y="89419"/>
                    <a:pt x="1192700" y="78806"/>
                    <a:pt x="1191639" y="58375"/>
                  </a:cubicBezTo>
                  <a:lnTo>
                    <a:pt x="1191639" y="58375"/>
                  </a:lnTo>
                  <a:close/>
                  <a:moveTo>
                    <a:pt x="1284773" y="44577"/>
                  </a:moveTo>
                  <a:lnTo>
                    <a:pt x="1298040" y="44577"/>
                  </a:lnTo>
                  <a:lnTo>
                    <a:pt x="1299101" y="37413"/>
                  </a:lnTo>
                  <a:lnTo>
                    <a:pt x="1284773" y="37413"/>
                  </a:lnTo>
                  <a:lnTo>
                    <a:pt x="1284773" y="23084"/>
                  </a:lnTo>
                  <a:cubicBezTo>
                    <a:pt x="1284773" y="13267"/>
                    <a:pt x="1288488" y="8226"/>
                    <a:pt x="1296182" y="8226"/>
                  </a:cubicBezTo>
                  <a:cubicBezTo>
                    <a:pt x="1299366" y="8226"/>
                    <a:pt x="1303612" y="10348"/>
                    <a:pt x="1308388" y="14859"/>
                  </a:cubicBezTo>
                  <a:cubicBezTo>
                    <a:pt x="1311307" y="17512"/>
                    <a:pt x="1313429" y="18574"/>
                    <a:pt x="1314491" y="18574"/>
                  </a:cubicBezTo>
                  <a:cubicBezTo>
                    <a:pt x="1315552" y="18574"/>
                    <a:pt x="1316613" y="17778"/>
                    <a:pt x="1317144" y="16451"/>
                  </a:cubicBezTo>
                  <a:lnTo>
                    <a:pt x="1321655" y="10879"/>
                  </a:lnTo>
                  <a:cubicBezTo>
                    <a:pt x="1322716" y="9818"/>
                    <a:pt x="1323247" y="9022"/>
                    <a:pt x="1322716" y="8756"/>
                  </a:cubicBezTo>
                  <a:cubicBezTo>
                    <a:pt x="1320859" y="3715"/>
                    <a:pt x="1314756" y="796"/>
                    <a:pt x="1304673" y="0"/>
                  </a:cubicBezTo>
                  <a:cubicBezTo>
                    <a:pt x="1282119" y="3184"/>
                    <a:pt x="1269914" y="15655"/>
                    <a:pt x="1268587" y="37413"/>
                  </a:cubicBezTo>
                  <a:lnTo>
                    <a:pt x="1257708" y="41924"/>
                  </a:lnTo>
                  <a:lnTo>
                    <a:pt x="1257708" y="44577"/>
                  </a:lnTo>
                  <a:lnTo>
                    <a:pt x="1268056" y="44577"/>
                  </a:lnTo>
                  <a:lnTo>
                    <a:pt x="1268056" y="80132"/>
                  </a:lnTo>
                  <a:cubicBezTo>
                    <a:pt x="1268322" y="87031"/>
                    <a:pt x="1265934" y="90481"/>
                    <a:pt x="1260362" y="89950"/>
                  </a:cubicBezTo>
                  <a:lnTo>
                    <a:pt x="1257708" y="89950"/>
                  </a:lnTo>
                  <a:lnTo>
                    <a:pt x="1257708" y="94461"/>
                  </a:lnTo>
                  <a:lnTo>
                    <a:pt x="1300162" y="94461"/>
                  </a:lnTo>
                  <a:lnTo>
                    <a:pt x="1300162" y="89950"/>
                  </a:lnTo>
                  <a:lnTo>
                    <a:pt x="1296978" y="89950"/>
                  </a:lnTo>
                  <a:cubicBezTo>
                    <a:pt x="1288488" y="90215"/>
                    <a:pt x="1284507" y="86766"/>
                    <a:pt x="1285038" y="79071"/>
                  </a:cubicBezTo>
                  <a:lnTo>
                    <a:pt x="1285038" y="44577"/>
                  </a:lnTo>
                  <a:lnTo>
                    <a:pt x="1284773" y="44577"/>
                  </a:lnTo>
                  <a:close/>
                  <a:moveTo>
                    <a:pt x="1408686" y="14328"/>
                  </a:moveTo>
                  <a:lnTo>
                    <a:pt x="1425137" y="14328"/>
                  </a:lnTo>
                  <a:cubicBezTo>
                    <a:pt x="1430975" y="14328"/>
                    <a:pt x="1434689" y="15124"/>
                    <a:pt x="1436016" y="16982"/>
                  </a:cubicBezTo>
                  <a:cubicBezTo>
                    <a:pt x="1437608" y="18574"/>
                    <a:pt x="1438935" y="23084"/>
                    <a:pt x="1440527" y="30779"/>
                  </a:cubicBezTo>
                  <a:lnTo>
                    <a:pt x="1446099" y="30779"/>
                  </a:lnTo>
                  <a:lnTo>
                    <a:pt x="1443976" y="4511"/>
                  </a:lnTo>
                  <a:lnTo>
                    <a:pt x="1438935" y="4511"/>
                  </a:lnTo>
                  <a:cubicBezTo>
                    <a:pt x="1437343" y="6633"/>
                    <a:pt x="1435220" y="7695"/>
                    <a:pt x="1432301" y="7164"/>
                  </a:cubicBezTo>
                  <a:lnTo>
                    <a:pt x="1365436" y="7164"/>
                  </a:lnTo>
                  <a:cubicBezTo>
                    <a:pt x="1364109" y="7164"/>
                    <a:pt x="1362783" y="6899"/>
                    <a:pt x="1361721" y="6633"/>
                  </a:cubicBezTo>
                  <a:cubicBezTo>
                    <a:pt x="1360925" y="6368"/>
                    <a:pt x="1360129" y="5572"/>
                    <a:pt x="1359068" y="4511"/>
                  </a:cubicBezTo>
                  <a:lnTo>
                    <a:pt x="1354557" y="4511"/>
                  </a:lnTo>
                  <a:lnTo>
                    <a:pt x="1351904" y="30779"/>
                  </a:lnTo>
                  <a:lnTo>
                    <a:pt x="1358006" y="30779"/>
                  </a:lnTo>
                  <a:cubicBezTo>
                    <a:pt x="1359333" y="23084"/>
                    <a:pt x="1360925" y="18574"/>
                    <a:pt x="1362517" y="16982"/>
                  </a:cubicBezTo>
                  <a:cubicBezTo>
                    <a:pt x="1364109" y="15124"/>
                    <a:pt x="1367559" y="14328"/>
                    <a:pt x="1372865" y="14328"/>
                  </a:cubicBezTo>
                  <a:lnTo>
                    <a:pt x="1389847" y="14328"/>
                  </a:lnTo>
                  <a:lnTo>
                    <a:pt x="1389847" y="78540"/>
                  </a:lnTo>
                  <a:cubicBezTo>
                    <a:pt x="1390112" y="85439"/>
                    <a:pt x="1386663" y="88889"/>
                    <a:pt x="1378968" y="88889"/>
                  </a:cubicBezTo>
                  <a:lnTo>
                    <a:pt x="1373927" y="88889"/>
                  </a:lnTo>
                  <a:lnTo>
                    <a:pt x="1373927" y="94461"/>
                  </a:lnTo>
                  <a:lnTo>
                    <a:pt x="1424341" y="94461"/>
                  </a:lnTo>
                  <a:lnTo>
                    <a:pt x="1424341" y="89154"/>
                  </a:lnTo>
                  <a:lnTo>
                    <a:pt x="1421157" y="89154"/>
                  </a:lnTo>
                  <a:cubicBezTo>
                    <a:pt x="1412401" y="89419"/>
                    <a:pt x="1408421" y="85970"/>
                    <a:pt x="1409217" y="78806"/>
                  </a:cubicBezTo>
                  <a:lnTo>
                    <a:pt x="1409217" y="14328"/>
                  </a:lnTo>
                  <a:lnTo>
                    <a:pt x="1408686" y="14328"/>
                  </a:lnTo>
                  <a:close/>
                  <a:moveTo>
                    <a:pt x="1517475" y="75356"/>
                  </a:moveTo>
                  <a:cubicBezTo>
                    <a:pt x="1510842" y="82786"/>
                    <a:pt x="1505270" y="86235"/>
                    <a:pt x="1500494" y="85705"/>
                  </a:cubicBezTo>
                  <a:cubicBezTo>
                    <a:pt x="1490941" y="84643"/>
                    <a:pt x="1485369" y="77744"/>
                    <a:pt x="1483512" y="64743"/>
                  </a:cubicBezTo>
                  <a:lnTo>
                    <a:pt x="1522517" y="64743"/>
                  </a:lnTo>
                  <a:lnTo>
                    <a:pt x="1522517" y="61028"/>
                  </a:lnTo>
                  <a:cubicBezTo>
                    <a:pt x="1521190" y="60232"/>
                    <a:pt x="1519863" y="58375"/>
                    <a:pt x="1519333" y="54925"/>
                  </a:cubicBezTo>
                  <a:cubicBezTo>
                    <a:pt x="1518271" y="49353"/>
                    <a:pt x="1516149" y="45108"/>
                    <a:pt x="1513230" y="42189"/>
                  </a:cubicBezTo>
                  <a:cubicBezTo>
                    <a:pt x="1508719" y="37944"/>
                    <a:pt x="1502882" y="35555"/>
                    <a:pt x="1495717" y="35555"/>
                  </a:cubicBezTo>
                  <a:cubicBezTo>
                    <a:pt x="1477144" y="37147"/>
                    <a:pt x="1467061" y="47496"/>
                    <a:pt x="1465469" y="66865"/>
                  </a:cubicBezTo>
                  <a:cubicBezTo>
                    <a:pt x="1466265" y="84909"/>
                    <a:pt x="1474756" y="94195"/>
                    <a:pt x="1491207" y="94726"/>
                  </a:cubicBezTo>
                  <a:cubicBezTo>
                    <a:pt x="1502882" y="94461"/>
                    <a:pt x="1512699" y="88623"/>
                    <a:pt x="1520925" y="77744"/>
                  </a:cubicBezTo>
                  <a:lnTo>
                    <a:pt x="1517475" y="75356"/>
                  </a:lnTo>
                  <a:lnTo>
                    <a:pt x="1517475" y="75356"/>
                  </a:lnTo>
                  <a:close/>
                  <a:moveTo>
                    <a:pt x="1482716" y="59967"/>
                  </a:moveTo>
                  <a:cubicBezTo>
                    <a:pt x="1482451" y="49618"/>
                    <a:pt x="1485635" y="43781"/>
                    <a:pt x="1492533" y="42454"/>
                  </a:cubicBezTo>
                  <a:cubicBezTo>
                    <a:pt x="1498636" y="42720"/>
                    <a:pt x="1502086" y="48557"/>
                    <a:pt x="1502351" y="59967"/>
                  </a:cubicBezTo>
                  <a:lnTo>
                    <a:pt x="1482716" y="59967"/>
                  </a:lnTo>
                  <a:lnTo>
                    <a:pt x="1482716" y="59967"/>
                  </a:lnTo>
                  <a:close/>
                  <a:moveTo>
                    <a:pt x="1595750" y="78540"/>
                  </a:moveTo>
                  <a:cubicBezTo>
                    <a:pt x="1589913" y="85439"/>
                    <a:pt x="1583810" y="88889"/>
                    <a:pt x="1577707" y="88889"/>
                  </a:cubicBezTo>
                  <a:cubicBezTo>
                    <a:pt x="1566828" y="87827"/>
                    <a:pt x="1560991" y="79071"/>
                    <a:pt x="1560195" y="63151"/>
                  </a:cubicBezTo>
                  <a:cubicBezTo>
                    <a:pt x="1560460" y="49884"/>
                    <a:pt x="1564706" y="42985"/>
                    <a:pt x="1572135" y="42189"/>
                  </a:cubicBezTo>
                  <a:cubicBezTo>
                    <a:pt x="1574789" y="42189"/>
                    <a:pt x="1577707" y="44046"/>
                    <a:pt x="1580891" y="47761"/>
                  </a:cubicBezTo>
                  <a:cubicBezTo>
                    <a:pt x="1584606" y="52006"/>
                    <a:pt x="1588321" y="54395"/>
                    <a:pt x="1591770" y="54395"/>
                  </a:cubicBezTo>
                  <a:cubicBezTo>
                    <a:pt x="1596546" y="54129"/>
                    <a:pt x="1598934" y="51741"/>
                    <a:pt x="1598934" y="47230"/>
                  </a:cubicBezTo>
                  <a:cubicBezTo>
                    <a:pt x="1597873" y="39801"/>
                    <a:pt x="1590974" y="36086"/>
                    <a:pt x="1577973" y="35821"/>
                  </a:cubicBezTo>
                  <a:cubicBezTo>
                    <a:pt x="1555419" y="37678"/>
                    <a:pt x="1542948" y="48557"/>
                    <a:pt x="1541356" y="68192"/>
                  </a:cubicBezTo>
                  <a:cubicBezTo>
                    <a:pt x="1542417" y="85439"/>
                    <a:pt x="1552235" y="94461"/>
                    <a:pt x="1571074" y="94991"/>
                  </a:cubicBezTo>
                  <a:cubicBezTo>
                    <a:pt x="1583545" y="94991"/>
                    <a:pt x="1593097" y="90215"/>
                    <a:pt x="1599731" y="80663"/>
                  </a:cubicBezTo>
                  <a:lnTo>
                    <a:pt x="1595750" y="78540"/>
                  </a:lnTo>
                  <a:lnTo>
                    <a:pt x="1595750" y="78540"/>
                  </a:lnTo>
                  <a:close/>
                  <a:moveTo>
                    <a:pt x="1641389" y="51741"/>
                  </a:moveTo>
                  <a:cubicBezTo>
                    <a:pt x="1646961" y="48026"/>
                    <a:pt x="1651737" y="46169"/>
                    <a:pt x="1655717" y="46169"/>
                  </a:cubicBezTo>
                  <a:cubicBezTo>
                    <a:pt x="1661555" y="46434"/>
                    <a:pt x="1664739" y="50680"/>
                    <a:pt x="1665004" y="58375"/>
                  </a:cubicBezTo>
                  <a:lnTo>
                    <a:pt x="1665004" y="79867"/>
                  </a:lnTo>
                  <a:cubicBezTo>
                    <a:pt x="1665800" y="87562"/>
                    <a:pt x="1663412" y="91011"/>
                    <a:pt x="1657840" y="90215"/>
                  </a:cubicBezTo>
                  <a:lnTo>
                    <a:pt x="1656778" y="90215"/>
                  </a:lnTo>
                  <a:lnTo>
                    <a:pt x="1656778" y="94726"/>
                  </a:lnTo>
                  <a:lnTo>
                    <a:pt x="1689681" y="94726"/>
                  </a:lnTo>
                  <a:lnTo>
                    <a:pt x="1689681" y="90215"/>
                  </a:lnTo>
                  <a:lnTo>
                    <a:pt x="1688619" y="90215"/>
                  </a:lnTo>
                  <a:cubicBezTo>
                    <a:pt x="1683843" y="91011"/>
                    <a:pt x="1681720" y="87297"/>
                    <a:pt x="1681986" y="79336"/>
                  </a:cubicBezTo>
                  <a:lnTo>
                    <a:pt x="1681986" y="60763"/>
                  </a:lnTo>
                  <a:cubicBezTo>
                    <a:pt x="1681986" y="44312"/>
                    <a:pt x="1676944" y="36086"/>
                    <a:pt x="1666596" y="36086"/>
                  </a:cubicBezTo>
                  <a:cubicBezTo>
                    <a:pt x="1659963" y="36086"/>
                    <a:pt x="1651737" y="39536"/>
                    <a:pt x="1641389" y="46434"/>
                  </a:cubicBezTo>
                  <a:lnTo>
                    <a:pt x="1641389" y="796"/>
                  </a:lnTo>
                  <a:lnTo>
                    <a:pt x="1638205" y="796"/>
                  </a:lnTo>
                  <a:lnTo>
                    <a:pt x="1615651" y="7430"/>
                  </a:lnTo>
                  <a:lnTo>
                    <a:pt x="1615651" y="10614"/>
                  </a:lnTo>
                  <a:lnTo>
                    <a:pt x="1619896" y="12206"/>
                  </a:lnTo>
                  <a:cubicBezTo>
                    <a:pt x="1623080" y="13002"/>
                    <a:pt x="1624672" y="14859"/>
                    <a:pt x="1624407" y="18308"/>
                  </a:cubicBezTo>
                  <a:lnTo>
                    <a:pt x="1624407" y="79867"/>
                  </a:lnTo>
                  <a:cubicBezTo>
                    <a:pt x="1625203" y="87562"/>
                    <a:pt x="1622550" y="91011"/>
                    <a:pt x="1616712" y="90215"/>
                  </a:cubicBezTo>
                  <a:lnTo>
                    <a:pt x="1614589" y="90215"/>
                  </a:lnTo>
                  <a:lnTo>
                    <a:pt x="1614589" y="94726"/>
                  </a:lnTo>
                  <a:lnTo>
                    <a:pt x="1650145" y="94726"/>
                  </a:lnTo>
                  <a:lnTo>
                    <a:pt x="1650145" y="90215"/>
                  </a:lnTo>
                  <a:lnTo>
                    <a:pt x="1649084" y="90215"/>
                  </a:lnTo>
                  <a:cubicBezTo>
                    <a:pt x="1643511" y="91011"/>
                    <a:pt x="1641123" y="87562"/>
                    <a:pt x="1641389" y="80398"/>
                  </a:cubicBezTo>
                  <a:lnTo>
                    <a:pt x="1641389" y="51741"/>
                  </a:lnTo>
                  <a:lnTo>
                    <a:pt x="1641389" y="51741"/>
                  </a:lnTo>
                  <a:close/>
                  <a:moveTo>
                    <a:pt x="1771405" y="59967"/>
                  </a:moveTo>
                  <a:cubicBezTo>
                    <a:pt x="1771670" y="43516"/>
                    <a:pt x="1766894" y="35555"/>
                    <a:pt x="1756546" y="35821"/>
                  </a:cubicBezTo>
                  <a:cubicBezTo>
                    <a:pt x="1749647" y="35821"/>
                    <a:pt x="1740891" y="39536"/>
                    <a:pt x="1730277" y="46700"/>
                  </a:cubicBezTo>
                  <a:lnTo>
                    <a:pt x="1730277" y="33963"/>
                  </a:lnTo>
                  <a:lnTo>
                    <a:pt x="1728155" y="33963"/>
                  </a:lnTo>
                  <a:lnTo>
                    <a:pt x="1704009" y="42189"/>
                  </a:lnTo>
                  <a:lnTo>
                    <a:pt x="1704009" y="45373"/>
                  </a:lnTo>
                  <a:lnTo>
                    <a:pt x="1706662" y="45904"/>
                  </a:lnTo>
                  <a:cubicBezTo>
                    <a:pt x="1711438" y="47496"/>
                    <a:pt x="1713561" y="49618"/>
                    <a:pt x="1713296" y="52537"/>
                  </a:cubicBezTo>
                  <a:lnTo>
                    <a:pt x="1713296" y="79867"/>
                  </a:lnTo>
                  <a:cubicBezTo>
                    <a:pt x="1713561" y="86766"/>
                    <a:pt x="1711173" y="90215"/>
                    <a:pt x="1705601" y="89685"/>
                  </a:cubicBezTo>
                  <a:lnTo>
                    <a:pt x="1704539" y="89685"/>
                  </a:lnTo>
                  <a:lnTo>
                    <a:pt x="1704539" y="94195"/>
                  </a:lnTo>
                  <a:lnTo>
                    <a:pt x="1740095" y="94195"/>
                  </a:lnTo>
                  <a:lnTo>
                    <a:pt x="1740095" y="89685"/>
                  </a:lnTo>
                  <a:lnTo>
                    <a:pt x="1739034" y="89685"/>
                  </a:lnTo>
                  <a:cubicBezTo>
                    <a:pt x="1733196" y="89685"/>
                    <a:pt x="1730277" y="86501"/>
                    <a:pt x="1730277" y="80398"/>
                  </a:cubicBezTo>
                  <a:lnTo>
                    <a:pt x="1730277" y="51741"/>
                  </a:lnTo>
                  <a:cubicBezTo>
                    <a:pt x="1736115" y="47761"/>
                    <a:pt x="1741156" y="45638"/>
                    <a:pt x="1745667" y="45638"/>
                  </a:cubicBezTo>
                  <a:cubicBezTo>
                    <a:pt x="1751239" y="45373"/>
                    <a:pt x="1753893" y="50680"/>
                    <a:pt x="1753893" y="61559"/>
                  </a:cubicBezTo>
                  <a:lnTo>
                    <a:pt x="1753893" y="73764"/>
                  </a:lnTo>
                  <a:cubicBezTo>
                    <a:pt x="1754158" y="84378"/>
                    <a:pt x="1751770" y="89685"/>
                    <a:pt x="1746198" y="89685"/>
                  </a:cubicBezTo>
                  <a:lnTo>
                    <a:pt x="1746198" y="94195"/>
                  </a:lnTo>
                  <a:lnTo>
                    <a:pt x="1779100" y="94195"/>
                  </a:lnTo>
                  <a:lnTo>
                    <a:pt x="1779100" y="89685"/>
                  </a:lnTo>
                  <a:cubicBezTo>
                    <a:pt x="1773528" y="89950"/>
                    <a:pt x="1771140" y="87297"/>
                    <a:pt x="1771405" y="81459"/>
                  </a:cubicBezTo>
                  <a:lnTo>
                    <a:pt x="1771405" y="59967"/>
                  </a:lnTo>
                  <a:lnTo>
                    <a:pt x="1771405" y="59967"/>
                  </a:lnTo>
                  <a:close/>
                  <a:moveTo>
                    <a:pt x="1797143" y="66600"/>
                  </a:moveTo>
                  <a:cubicBezTo>
                    <a:pt x="1798204" y="84909"/>
                    <a:pt x="1809083" y="94461"/>
                    <a:pt x="1830045" y="94991"/>
                  </a:cubicBezTo>
                  <a:cubicBezTo>
                    <a:pt x="1852068" y="93930"/>
                    <a:pt x="1863743" y="83847"/>
                    <a:pt x="1865600" y="64743"/>
                  </a:cubicBezTo>
                  <a:cubicBezTo>
                    <a:pt x="1864008" y="46965"/>
                    <a:pt x="1852864" y="37147"/>
                    <a:pt x="1832168" y="35555"/>
                  </a:cubicBezTo>
                  <a:cubicBezTo>
                    <a:pt x="1810675" y="37147"/>
                    <a:pt x="1799000" y="47496"/>
                    <a:pt x="1797143" y="66600"/>
                  </a:cubicBezTo>
                  <a:lnTo>
                    <a:pt x="1797143" y="66600"/>
                  </a:lnTo>
                  <a:close/>
                  <a:moveTo>
                    <a:pt x="1815717" y="58375"/>
                  </a:moveTo>
                  <a:cubicBezTo>
                    <a:pt x="1815982" y="47761"/>
                    <a:pt x="1820493" y="42189"/>
                    <a:pt x="1828984" y="41924"/>
                  </a:cubicBezTo>
                  <a:cubicBezTo>
                    <a:pt x="1840393" y="43250"/>
                    <a:pt x="1846231" y="53599"/>
                    <a:pt x="1847027" y="72703"/>
                  </a:cubicBezTo>
                  <a:cubicBezTo>
                    <a:pt x="1846761" y="84113"/>
                    <a:pt x="1842516" y="89950"/>
                    <a:pt x="1834290" y="90215"/>
                  </a:cubicBezTo>
                  <a:cubicBezTo>
                    <a:pt x="1823146" y="89419"/>
                    <a:pt x="1816778" y="78806"/>
                    <a:pt x="1815717" y="58375"/>
                  </a:cubicBezTo>
                  <a:lnTo>
                    <a:pt x="1815717" y="58375"/>
                  </a:lnTo>
                  <a:close/>
                  <a:moveTo>
                    <a:pt x="1908055" y="796"/>
                  </a:moveTo>
                  <a:lnTo>
                    <a:pt x="1905401" y="796"/>
                  </a:lnTo>
                  <a:lnTo>
                    <a:pt x="1881256" y="7960"/>
                  </a:lnTo>
                  <a:lnTo>
                    <a:pt x="1881256" y="11675"/>
                  </a:lnTo>
                  <a:lnTo>
                    <a:pt x="1887358" y="13798"/>
                  </a:lnTo>
                  <a:cubicBezTo>
                    <a:pt x="1890277" y="14063"/>
                    <a:pt x="1891604" y="16982"/>
                    <a:pt x="1891073" y="22023"/>
                  </a:cubicBezTo>
                  <a:lnTo>
                    <a:pt x="1891073" y="80132"/>
                  </a:lnTo>
                  <a:cubicBezTo>
                    <a:pt x="1891338" y="87031"/>
                    <a:pt x="1888685" y="90481"/>
                    <a:pt x="1882847" y="89950"/>
                  </a:cubicBezTo>
                  <a:lnTo>
                    <a:pt x="1881786" y="89950"/>
                  </a:lnTo>
                  <a:lnTo>
                    <a:pt x="1881786" y="94461"/>
                  </a:lnTo>
                  <a:lnTo>
                    <a:pt x="1916280" y="94461"/>
                  </a:lnTo>
                  <a:lnTo>
                    <a:pt x="1916280" y="89950"/>
                  </a:lnTo>
                  <a:cubicBezTo>
                    <a:pt x="1910708" y="89950"/>
                    <a:pt x="1908055" y="86766"/>
                    <a:pt x="1908055" y="80132"/>
                  </a:cubicBezTo>
                  <a:lnTo>
                    <a:pt x="1908055" y="796"/>
                  </a:lnTo>
                  <a:lnTo>
                    <a:pt x="1908055" y="796"/>
                  </a:lnTo>
                  <a:close/>
                  <a:moveTo>
                    <a:pt x="1933793" y="66600"/>
                  </a:moveTo>
                  <a:cubicBezTo>
                    <a:pt x="1934854" y="84909"/>
                    <a:pt x="1945733" y="94461"/>
                    <a:pt x="1966695" y="94991"/>
                  </a:cubicBezTo>
                  <a:cubicBezTo>
                    <a:pt x="1988718" y="93930"/>
                    <a:pt x="2000393" y="83847"/>
                    <a:pt x="2002250" y="64743"/>
                  </a:cubicBezTo>
                  <a:cubicBezTo>
                    <a:pt x="2000658" y="46965"/>
                    <a:pt x="1989514" y="37147"/>
                    <a:pt x="1968817" y="35555"/>
                  </a:cubicBezTo>
                  <a:cubicBezTo>
                    <a:pt x="1947325" y="37147"/>
                    <a:pt x="1935650" y="47496"/>
                    <a:pt x="1933793" y="66600"/>
                  </a:cubicBezTo>
                  <a:lnTo>
                    <a:pt x="1933793" y="66600"/>
                  </a:lnTo>
                  <a:close/>
                  <a:moveTo>
                    <a:pt x="1952366" y="58375"/>
                  </a:moveTo>
                  <a:cubicBezTo>
                    <a:pt x="1952632" y="47761"/>
                    <a:pt x="1957143" y="42189"/>
                    <a:pt x="1965633" y="41924"/>
                  </a:cubicBezTo>
                  <a:cubicBezTo>
                    <a:pt x="1977043" y="43250"/>
                    <a:pt x="1982881" y="53599"/>
                    <a:pt x="1983676" y="72703"/>
                  </a:cubicBezTo>
                  <a:cubicBezTo>
                    <a:pt x="1983411" y="84113"/>
                    <a:pt x="1979166" y="89950"/>
                    <a:pt x="1970940" y="90215"/>
                  </a:cubicBezTo>
                  <a:cubicBezTo>
                    <a:pt x="1959796" y="89419"/>
                    <a:pt x="1953428" y="78806"/>
                    <a:pt x="1952366" y="58375"/>
                  </a:cubicBezTo>
                  <a:lnTo>
                    <a:pt x="1952366" y="58375"/>
                  </a:lnTo>
                  <a:close/>
                  <a:moveTo>
                    <a:pt x="2092731" y="36351"/>
                  </a:moveTo>
                  <a:lnTo>
                    <a:pt x="2073096" y="41393"/>
                  </a:lnTo>
                  <a:cubicBezTo>
                    <a:pt x="2068054" y="37678"/>
                    <a:pt x="2061686" y="35821"/>
                    <a:pt x="2053991" y="35821"/>
                  </a:cubicBezTo>
                  <a:cubicBezTo>
                    <a:pt x="2036479" y="36882"/>
                    <a:pt x="2026927" y="44046"/>
                    <a:pt x="2025600" y="57313"/>
                  </a:cubicBezTo>
                  <a:cubicBezTo>
                    <a:pt x="2026661" y="66865"/>
                    <a:pt x="2032764" y="72438"/>
                    <a:pt x="2043643" y="74295"/>
                  </a:cubicBezTo>
                  <a:lnTo>
                    <a:pt x="2043643" y="74826"/>
                  </a:lnTo>
                  <a:cubicBezTo>
                    <a:pt x="2030111" y="77744"/>
                    <a:pt x="2024008" y="81724"/>
                    <a:pt x="2025069" y="86235"/>
                  </a:cubicBezTo>
                  <a:cubicBezTo>
                    <a:pt x="2025335" y="92073"/>
                    <a:pt x="2029580" y="96053"/>
                    <a:pt x="2037275" y="98176"/>
                  </a:cubicBezTo>
                  <a:cubicBezTo>
                    <a:pt x="2036479" y="99768"/>
                    <a:pt x="2034356" y="101094"/>
                    <a:pt x="2030641" y="102686"/>
                  </a:cubicBezTo>
                  <a:cubicBezTo>
                    <a:pt x="2025600" y="105340"/>
                    <a:pt x="2022947" y="108258"/>
                    <a:pt x="2022947" y="111973"/>
                  </a:cubicBezTo>
                  <a:cubicBezTo>
                    <a:pt x="2024539" y="120464"/>
                    <a:pt x="2034091" y="124975"/>
                    <a:pt x="2052134" y="125771"/>
                  </a:cubicBezTo>
                  <a:cubicBezTo>
                    <a:pt x="2076545" y="124709"/>
                    <a:pt x="2089812" y="116749"/>
                    <a:pt x="2091670" y="102156"/>
                  </a:cubicBezTo>
                  <a:cubicBezTo>
                    <a:pt x="2090874" y="92603"/>
                    <a:pt x="2083709" y="87827"/>
                    <a:pt x="2070177" y="87297"/>
                  </a:cubicBezTo>
                  <a:lnTo>
                    <a:pt x="2057971" y="87297"/>
                  </a:lnTo>
                  <a:cubicBezTo>
                    <a:pt x="2046297" y="87297"/>
                    <a:pt x="2040459" y="85705"/>
                    <a:pt x="2040459" y="82255"/>
                  </a:cubicBezTo>
                  <a:cubicBezTo>
                    <a:pt x="2040194" y="80928"/>
                    <a:pt x="2043908" y="78540"/>
                    <a:pt x="2051869" y="75622"/>
                  </a:cubicBezTo>
                  <a:cubicBezTo>
                    <a:pt x="2070442" y="75356"/>
                    <a:pt x="2080260" y="68723"/>
                    <a:pt x="2081587" y="56517"/>
                  </a:cubicBezTo>
                  <a:cubicBezTo>
                    <a:pt x="2081852" y="52802"/>
                    <a:pt x="2081056" y="49884"/>
                    <a:pt x="2078933" y="47230"/>
                  </a:cubicBezTo>
                  <a:lnTo>
                    <a:pt x="2093262" y="50414"/>
                  </a:lnTo>
                  <a:lnTo>
                    <a:pt x="2093262" y="36351"/>
                  </a:lnTo>
                  <a:lnTo>
                    <a:pt x="2092731" y="36351"/>
                  </a:lnTo>
                  <a:close/>
                  <a:moveTo>
                    <a:pt x="2066993" y="101094"/>
                  </a:moveTo>
                  <a:cubicBezTo>
                    <a:pt x="2074688" y="101094"/>
                    <a:pt x="2078403" y="103482"/>
                    <a:pt x="2078403" y="108258"/>
                  </a:cubicBezTo>
                  <a:cubicBezTo>
                    <a:pt x="2077607" y="115423"/>
                    <a:pt x="2071238" y="119403"/>
                    <a:pt x="2058767" y="119668"/>
                  </a:cubicBezTo>
                  <a:cubicBezTo>
                    <a:pt x="2046031" y="118872"/>
                    <a:pt x="2039132" y="114892"/>
                    <a:pt x="2038071" y="107462"/>
                  </a:cubicBezTo>
                  <a:cubicBezTo>
                    <a:pt x="2038336" y="104544"/>
                    <a:pt x="2040194" y="101890"/>
                    <a:pt x="2043643" y="99768"/>
                  </a:cubicBezTo>
                  <a:cubicBezTo>
                    <a:pt x="2047358" y="100564"/>
                    <a:pt x="2051338" y="100829"/>
                    <a:pt x="2055849" y="100829"/>
                  </a:cubicBezTo>
                  <a:lnTo>
                    <a:pt x="2066993" y="100829"/>
                  </a:lnTo>
                  <a:lnTo>
                    <a:pt x="2066993" y="101094"/>
                  </a:lnTo>
                  <a:close/>
                  <a:moveTo>
                    <a:pt x="2042316" y="54925"/>
                  </a:moveTo>
                  <a:cubicBezTo>
                    <a:pt x="2042582" y="46434"/>
                    <a:pt x="2046031" y="42189"/>
                    <a:pt x="2052665" y="41658"/>
                  </a:cubicBezTo>
                  <a:cubicBezTo>
                    <a:pt x="2060094" y="41924"/>
                    <a:pt x="2063809" y="47496"/>
                    <a:pt x="2064074" y="58109"/>
                  </a:cubicBezTo>
                  <a:cubicBezTo>
                    <a:pt x="2063809" y="65804"/>
                    <a:pt x="2060360" y="69784"/>
                    <a:pt x="2054257" y="70315"/>
                  </a:cubicBezTo>
                  <a:cubicBezTo>
                    <a:pt x="2046827" y="70050"/>
                    <a:pt x="2042582" y="64743"/>
                    <a:pt x="2042316" y="54925"/>
                  </a:cubicBezTo>
                  <a:lnTo>
                    <a:pt x="2042316" y="54925"/>
                  </a:lnTo>
                  <a:close/>
                  <a:moveTo>
                    <a:pt x="2136247" y="92869"/>
                  </a:moveTo>
                  <a:lnTo>
                    <a:pt x="2133593" y="98441"/>
                  </a:lnTo>
                  <a:cubicBezTo>
                    <a:pt x="2130409" y="105074"/>
                    <a:pt x="2125633" y="108789"/>
                    <a:pt x="2119796" y="109320"/>
                  </a:cubicBezTo>
                  <a:cubicBezTo>
                    <a:pt x="2116081" y="109585"/>
                    <a:pt x="2113693" y="110646"/>
                    <a:pt x="2112101" y="111973"/>
                  </a:cubicBezTo>
                  <a:cubicBezTo>
                    <a:pt x="2111039" y="113830"/>
                    <a:pt x="2110243" y="115688"/>
                    <a:pt x="2109978" y="118076"/>
                  </a:cubicBezTo>
                  <a:cubicBezTo>
                    <a:pt x="2110243" y="123117"/>
                    <a:pt x="2113162" y="126036"/>
                    <a:pt x="2118734" y="126301"/>
                  </a:cubicBezTo>
                  <a:cubicBezTo>
                    <a:pt x="2123776" y="126301"/>
                    <a:pt x="2128286" y="122852"/>
                    <a:pt x="2132001" y="115953"/>
                  </a:cubicBezTo>
                  <a:lnTo>
                    <a:pt x="2163311" y="52802"/>
                  </a:lnTo>
                  <a:cubicBezTo>
                    <a:pt x="2166230" y="45904"/>
                    <a:pt x="2170210" y="42189"/>
                    <a:pt x="2175517" y="41924"/>
                  </a:cubicBezTo>
                  <a:lnTo>
                    <a:pt x="2175517" y="37413"/>
                  </a:lnTo>
                  <a:lnTo>
                    <a:pt x="2149248" y="37413"/>
                  </a:lnTo>
                  <a:lnTo>
                    <a:pt x="2149248" y="41924"/>
                  </a:lnTo>
                  <a:cubicBezTo>
                    <a:pt x="2157208" y="42189"/>
                    <a:pt x="2159862" y="45904"/>
                    <a:pt x="2156943" y="52802"/>
                  </a:cubicBezTo>
                  <a:lnTo>
                    <a:pt x="2146064" y="74295"/>
                  </a:lnTo>
                  <a:lnTo>
                    <a:pt x="2134654" y="50149"/>
                  </a:lnTo>
                  <a:cubicBezTo>
                    <a:pt x="2133328" y="47230"/>
                    <a:pt x="2133062" y="45108"/>
                    <a:pt x="2134124" y="44046"/>
                  </a:cubicBezTo>
                  <a:cubicBezTo>
                    <a:pt x="2134920" y="42454"/>
                    <a:pt x="2137043" y="41924"/>
                    <a:pt x="2140757" y="41924"/>
                  </a:cubicBezTo>
                  <a:lnTo>
                    <a:pt x="2140757" y="37413"/>
                  </a:lnTo>
                  <a:lnTo>
                    <a:pt x="2104671" y="37413"/>
                  </a:lnTo>
                  <a:lnTo>
                    <a:pt x="2104671" y="41924"/>
                  </a:lnTo>
                  <a:cubicBezTo>
                    <a:pt x="2109713" y="41128"/>
                    <a:pt x="2114489" y="45373"/>
                    <a:pt x="2118469" y="54660"/>
                  </a:cubicBezTo>
                  <a:lnTo>
                    <a:pt x="2136247" y="92869"/>
                  </a:lnTo>
                  <a:close/>
                </a:path>
              </a:pathLst>
            </a:custGeom>
            <a:solidFill>
              <a:srgbClr val="0049A0"/>
            </a:solidFill>
            <a:ln w="264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581889" y="3897196"/>
            <a:ext cx="2538024" cy="359659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 wrap="square" bIns="36000">
            <a:noAutofit/>
          </a:bodyPr>
          <a:lstStyle>
            <a:lvl1pPr marL="0" indent="0" algn="ctr">
              <a:buNone/>
              <a:defRPr lang="en-US" sz="1200" b="0" i="0" dirty="0">
                <a:solidFill>
                  <a:schemeClr val="accent1">
                    <a:lumMod val="40000"/>
                    <a:lumOff val="6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marL="0" lvl="0" algn="ctr" defTabSz="914400"/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1498597" y="1749211"/>
            <a:ext cx="6591303" cy="2029664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zh-CN" altLang="en-US" sz="4800" dirty="0"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</a:defRPr>
            </a:lvl1pPr>
          </a:lstStyle>
          <a:p>
            <a:pPr marL="0" lvl="0" fontAlgn="b">
              <a:lnSpc>
                <a:spcPct val="100000"/>
              </a:lnSpc>
            </a:pPr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648993" y="4750392"/>
            <a:ext cx="2222501" cy="296271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US" altLang="zh-CN" sz="1400" b="0" dirty="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marL="228589" lvl="0" indent="-228589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648993" y="5046663"/>
            <a:ext cx="2222501" cy="296271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zh-CN" altLang="en-US" sz="1400" b="0" dirty="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marL="228589" lvl="0" indent="-228589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2">
            <a:extLst>
              <a:ext uri="{FF2B5EF4-FFF2-40B4-BE49-F238E27FC236}">
                <a16:creationId xmlns:a16="http://schemas.microsoft.com/office/drawing/2014/main" id="{75B21FC5-1485-4CF3-A1CF-C7575E18286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duotone>
              <a:schemeClr val="accent4">
                <a:shade val="45000"/>
                <a:satMod val="135000"/>
              </a:schemeClr>
              <a:prstClr val="white"/>
            </a:duotone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63" t="-6975" r="14962" b="1890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isļïḍè">
            <a:extLst>
              <a:ext uri="{FF2B5EF4-FFF2-40B4-BE49-F238E27FC236}">
                <a16:creationId xmlns:a16="http://schemas.microsoft.com/office/drawing/2014/main" id="{A9D870BF-B469-4FE5-8908-9CC6BFA37852}"/>
              </a:ext>
            </a:extLst>
          </p:cNvPr>
          <p:cNvSpPr/>
          <p:nvPr userDrawn="1"/>
        </p:nvSpPr>
        <p:spPr>
          <a:xfrm>
            <a:off x="675698" y="2680608"/>
            <a:ext cx="10576502" cy="2088282"/>
          </a:xfrm>
          <a:prstGeom prst="roundRect">
            <a:avLst/>
          </a:prstGeom>
          <a:gradFill>
            <a:gsLst>
              <a:gs pos="0">
                <a:schemeClr val="accent3">
                  <a:alpha val="80000"/>
                </a:schemeClr>
              </a:gs>
              <a:gs pos="100000">
                <a:schemeClr val="accent3">
                  <a:lumMod val="50000"/>
                  <a:alpha val="90000"/>
                </a:schemeClr>
              </a:gs>
            </a:gsLst>
            <a:lin ang="5400000" scaled="1"/>
          </a:gradFill>
          <a:ln>
            <a:noFill/>
          </a:ln>
          <a:effectLst>
            <a:outerShdw blurRad="304800" dist="38100" dir="5400000" algn="t" rotWithShape="0">
              <a:schemeClr val="accent1">
                <a:lumMod val="60000"/>
                <a:lumOff val="4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zh-CN" altLang="en-US"/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id="{BC298A77-E08C-40B3-9AAA-CA85F2A6A370}"/>
              </a:ext>
            </a:extLst>
          </p:cNvPr>
          <p:cNvGrpSpPr/>
          <p:nvPr userDrawn="1"/>
        </p:nvGrpSpPr>
        <p:grpSpPr>
          <a:xfrm>
            <a:off x="9123589" y="857250"/>
            <a:ext cx="1920422" cy="442835"/>
            <a:chOff x="1030611" y="1440402"/>
            <a:chExt cx="2939653" cy="677862"/>
          </a:xfrm>
        </p:grpSpPr>
        <p:sp>
          <p:nvSpPr>
            <p:cNvPr id="8" name="ísľíḍé">
              <a:extLst>
                <a:ext uri="{FF2B5EF4-FFF2-40B4-BE49-F238E27FC236}">
                  <a16:creationId xmlns:a16="http://schemas.microsoft.com/office/drawing/2014/main" id="{857292F3-76AD-46FE-8F7B-ED24CA6F08C2}"/>
                </a:ext>
              </a:extLst>
            </p:cNvPr>
            <p:cNvSpPr/>
            <p:nvPr/>
          </p:nvSpPr>
          <p:spPr>
            <a:xfrm>
              <a:off x="1043310" y="1468287"/>
              <a:ext cx="649977" cy="649977"/>
            </a:xfrm>
            <a:prstGeom prst="ellipse">
              <a:avLst/>
            </a:prstGeom>
            <a:solidFill>
              <a:srgbClr val="B9E1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9" name="图形 8">
              <a:extLst>
                <a:ext uri="{FF2B5EF4-FFF2-40B4-BE49-F238E27FC236}">
                  <a16:creationId xmlns:a16="http://schemas.microsoft.com/office/drawing/2014/main" id="{BE4A2FFD-7CCA-4546-BFC1-77C50092818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r="74611"/>
            <a:stretch/>
          </p:blipFill>
          <p:spPr>
            <a:xfrm>
              <a:off x="1030611" y="1440402"/>
              <a:ext cx="764138" cy="677862"/>
            </a:xfrm>
            <a:prstGeom prst="rect">
              <a:avLst/>
            </a:prstGeom>
          </p:spPr>
        </p:pic>
        <p:grpSp>
          <p:nvGrpSpPr>
            <p:cNvPr id="10" name="图形 255">
              <a:extLst>
                <a:ext uri="{FF2B5EF4-FFF2-40B4-BE49-F238E27FC236}">
                  <a16:creationId xmlns:a16="http://schemas.microsoft.com/office/drawing/2014/main" id="{4AB1AE88-3CFA-49E2-9B4A-C6474CB957F5}"/>
                </a:ext>
              </a:extLst>
            </p:cNvPr>
            <p:cNvGrpSpPr/>
            <p:nvPr/>
          </p:nvGrpSpPr>
          <p:grpSpPr>
            <a:xfrm>
              <a:off x="1794775" y="1455281"/>
              <a:ext cx="2156121" cy="426727"/>
              <a:chOff x="1794775" y="1455281"/>
              <a:chExt cx="2156121" cy="426727"/>
            </a:xfrm>
            <a:solidFill>
              <a:srgbClr val="0049A0"/>
            </a:solidFill>
          </p:grpSpPr>
          <p:sp>
            <p:nvSpPr>
              <p:cNvPr id="12" name="ïṡḻíďe">
                <a:extLst>
                  <a:ext uri="{FF2B5EF4-FFF2-40B4-BE49-F238E27FC236}">
                    <a16:creationId xmlns:a16="http://schemas.microsoft.com/office/drawing/2014/main" id="{B2E85B4F-BBED-4394-9A8C-E5DBF7944930}"/>
                  </a:ext>
                </a:extLst>
              </p:cNvPr>
              <p:cNvSpPr/>
              <p:nvPr/>
            </p:nvSpPr>
            <p:spPr>
              <a:xfrm>
                <a:off x="3688614" y="1455281"/>
                <a:ext cx="262281" cy="187348"/>
              </a:xfrm>
              <a:custGeom>
                <a:avLst/>
                <a:gdLst>
                  <a:gd name="connsiteX0" fmla="*/ 40457 w 262281"/>
                  <a:gd name="connsiteY0" fmla="*/ 87238 h 187348"/>
                  <a:gd name="connsiteX1" fmla="*/ 55316 w 262281"/>
                  <a:gd name="connsiteY1" fmla="*/ 87238 h 187348"/>
                  <a:gd name="connsiteX2" fmla="*/ 102016 w 262281"/>
                  <a:gd name="connsiteY2" fmla="*/ 126508 h 187348"/>
                  <a:gd name="connsiteX3" fmla="*/ 121651 w 262281"/>
                  <a:gd name="connsiteY3" fmla="*/ 94667 h 187348"/>
                  <a:gd name="connsiteX4" fmla="*/ 84768 w 262281"/>
                  <a:gd name="connsiteY4" fmla="*/ 97056 h 187348"/>
                  <a:gd name="connsiteX5" fmla="*/ 79727 w 262281"/>
                  <a:gd name="connsiteY5" fmla="*/ 72379 h 187348"/>
                  <a:gd name="connsiteX6" fmla="*/ 180556 w 262281"/>
                  <a:gd name="connsiteY6" fmla="*/ 1003 h 187348"/>
                  <a:gd name="connsiteX7" fmla="*/ 205233 w 262281"/>
                  <a:gd name="connsiteY7" fmla="*/ 25679 h 187348"/>
                  <a:gd name="connsiteX8" fmla="*/ 163309 w 262281"/>
                  <a:gd name="connsiteY8" fmla="*/ 67338 h 187348"/>
                  <a:gd name="connsiteX9" fmla="*/ 165697 w 262281"/>
                  <a:gd name="connsiteY9" fmla="*/ 77155 h 187348"/>
                  <a:gd name="connsiteX10" fmla="*/ 173127 w 262281"/>
                  <a:gd name="connsiteY10" fmla="*/ 79543 h 187348"/>
                  <a:gd name="connsiteX11" fmla="*/ 251667 w 262281"/>
                  <a:gd name="connsiteY11" fmla="*/ 54867 h 187348"/>
                  <a:gd name="connsiteX12" fmla="*/ 261485 w 262281"/>
                  <a:gd name="connsiteY12" fmla="*/ 67072 h 187348"/>
                  <a:gd name="connsiteX13" fmla="*/ 202579 w 262281"/>
                  <a:gd name="connsiteY13" fmla="*/ 145613 h 187348"/>
                  <a:gd name="connsiteX14" fmla="*/ 163309 w 262281"/>
                  <a:gd name="connsiteY14" fmla="*/ 143225 h 187348"/>
                  <a:gd name="connsiteX15" fmla="*/ 215050 w 262281"/>
                  <a:gd name="connsiteY15" fmla="*/ 79808 h 187348"/>
                  <a:gd name="connsiteX16" fmla="*/ 212662 w 262281"/>
                  <a:gd name="connsiteY16" fmla="*/ 79808 h 187348"/>
                  <a:gd name="connsiteX17" fmla="*/ 155349 w 262281"/>
                  <a:gd name="connsiteY17" fmla="*/ 150389 h 187348"/>
                  <a:gd name="connsiteX18" fmla="*/ 155879 w 262281"/>
                  <a:gd name="connsiteY18" fmla="*/ 162594 h 187348"/>
                  <a:gd name="connsiteX19" fmla="*/ 114221 w 262281"/>
                  <a:gd name="connsiteY19" fmla="*/ 148531 h 187348"/>
                  <a:gd name="connsiteX20" fmla="*/ 77339 w 262281"/>
                  <a:gd name="connsiteY20" fmla="*/ 180372 h 187348"/>
                  <a:gd name="connsiteX21" fmla="*/ 69910 w 262281"/>
                  <a:gd name="connsiteY21" fmla="*/ 175331 h 187348"/>
                  <a:gd name="connsiteX22" fmla="*/ 87157 w 262281"/>
                  <a:gd name="connsiteY22" fmla="*/ 153307 h 187348"/>
                  <a:gd name="connsiteX23" fmla="*/ 74951 w 262281"/>
                  <a:gd name="connsiteY23" fmla="*/ 148266 h 187348"/>
                  <a:gd name="connsiteX24" fmla="*/ 35681 w 262281"/>
                  <a:gd name="connsiteY24" fmla="*/ 185148 h 187348"/>
                  <a:gd name="connsiteX25" fmla="*/ 8616 w 262281"/>
                  <a:gd name="connsiteY25" fmla="*/ 183025 h 187348"/>
                  <a:gd name="connsiteX26" fmla="*/ 3575 w 262281"/>
                  <a:gd name="connsiteY26" fmla="*/ 126508 h 187348"/>
                  <a:gd name="connsiteX27" fmla="*/ 5963 w 262281"/>
                  <a:gd name="connsiteY27" fmla="*/ 126508 h 187348"/>
                  <a:gd name="connsiteX28" fmla="*/ 55050 w 262281"/>
                  <a:gd name="connsiteY28" fmla="*/ 143755 h 187348"/>
                  <a:gd name="connsiteX29" fmla="*/ 40457 w 262281"/>
                  <a:gd name="connsiteY29" fmla="*/ 87238 h 187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262281" h="187348">
                    <a:moveTo>
                      <a:pt x="40457" y="87238"/>
                    </a:moveTo>
                    <a:cubicBezTo>
                      <a:pt x="43376" y="84054"/>
                      <a:pt x="50009" y="84319"/>
                      <a:pt x="55316" y="87238"/>
                    </a:cubicBezTo>
                    <a:cubicBezTo>
                      <a:pt x="61684" y="103424"/>
                      <a:pt x="86360" y="134999"/>
                      <a:pt x="102016" y="126508"/>
                    </a:cubicBezTo>
                    <a:cubicBezTo>
                      <a:pt x="113160" y="121467"/>
                      <a:pt x="128019" y="107404"/>
                      <a:pt x="121651" y="94667"/>
                    </a:cubicBezTo>
                    <a:cubicBezTo>
                      <a:pt x="101750" y="107934"/>
                      <a:pt x="103077" y="112445"/>
                      <a:pt x="84768" y="97056"/>
                    </a:cubicBezTo>
                    <a:cubicBezTo>
                      <a:pt x="78135" y="85911"/>
                      <a:pt x="77339" y="85115"/>
                      <a:pt x="79727" y="72379"/>
                    </a:cubicBezTo>
                    <a:cubicBezTo>
                      <a:pt x="158002" y="79808"/>
                      <a:pt x="144735" y="47437"/>
                      <a:pt x="180556" y="1003"/>
                    </a:cubicBezTo>
                    <a:cubicBezTo>
                      <a:pt x="202579" y="-4039"/>
                      <a:pt x="208417" y="10820"/>
                      <a:pt x="205233" y="25679"/>
                    </a:cubicBezTo>
                    <a:cubicBezTo>
                      <a:pt x="191170" y="39742"/>
                      <a:pt x="177372" y="53540"/>
                      <a:pt x="163309" y="67338"/>
                    </a:cubicBezTo>
                    <a:cubicBezTo>
                      <a:pt x="164105" y="70522"/>
                      <a:pt x="164901" y="73971"/>
                      <a:pt x="165697" y="77155"/>
                    </a:cubicBezTo>
                    <a:cubicBezTo>
                      <a:pt x="168085" y="77951"/>
                      <a:pt x="170738" y="78747"/>
                      <a:pt x="173127" y="79543"/>
                    </a:cubicBezTo>
                    <a:cubicBezTo>
                      <a:pt x="203641" y="73175"/>
                      <a:pt x="212397" y="55663"/>
                      <a:pt x="251667" y="54867"/>
                    </a:cubicBezTo>
                    <a:cubicBezTo>
                      <a:pt x="255116" y="53805"/>
                      <a:pt x="262546" y="56459"/>
                      <a:pt x="261485" y="67072"/>
                    </a:cubicBezTo>
                    <a:cubicBezTo>
                      <a:pt x="268118" y="94402"/>
                      <a:pt x="232032" y="96259"/>
                      <a:pt x="202579" y="145613"/>
                    </a:cubicBezTo>
                    <a:cubicBezTo>
                      <a:pt x="192496" y="150654"/>
                      <a:pt x="170208" y="149062"/>
                      <a:pt x="163309" y="143225"/>
                    </a:cubicBezTo>
                    <a:cubicBezTo>
                      <a:pt x="161982" y="123855"/>
                      <a:pt x="230440" y="105016"/>
                      <a:pt x="215050" y="79808"/>
                    </a:cubicBezTo>
                    <a:cubicBezTo>
                      <a:pt x="214254" y="79808"/>
                      <a:pt x="213458" y="79808"/>
                      <a:pt x="212662" y="79808"/>
                    </a:cubicBezTo>
                    <a:cubicBezTo>
                      <a:pt x="176310" y="87503"/>
                      <a:pt x="104669" y="116691"/>
                      <a:pt x="155349" y="150389"/>
                    </a:cubicBezTo>
                    <a:cubicBezTo>
                      <a:pt x="159594" y="153042"/>
                      <a:pt x="160656" y="162064"/>
                      <a:pt x="155879" y="162594"/>
                    </a:cubicBezTo>
                    <a:cubicBezTo>
                      <a:pt x="133326" y="163390"/>
                      <a:pt x="123508" y="160206"/>
                      <a:pt x="114221" y="148531"/>
                    </a:cubicBezTo>
                    <a:cubicBezTo>
                      <a:pt x="97505" y="156757"/>
                      <a:pt x="113691" y="177188"/>
                      <a:pt x="77339" y="180372"/>
                    </a:cubicBezTo>
                    <a:cubicBezTo>
                      <a:pt x="73093" y="180372"/>
                      <a:pt x="71236" y="180107"/>
                      <a:pt x="69910" y="175331"/>
                    </a:cubicBezTo>
                    <a:cubicBezTo>
                      <a:pt x="81850" y="166309"/>
                      <a:pt x="84503" y="160737"/>
                      <a:pt x="87157" y="153307"/>
                    </a:cubicBezTo>
                    <a:cubicBezTo>
                      <a:pt x="79462" y="144286"/>
                      <a:pt x="78135" y="146939"/>
                      <a:pt x="74951" y="148266"/>
                    </a:cubicBezTo>
                    <a:cubicBezTo>
                      <a:pt x="61949" y="160472"/>
                      <a:pt x="48682" y="172943"/>
                      <a:pt x="35681" y="185148"/>
                    </a:cubicBezTo>
                    <a:cubicBezTo>
                      <a:pt x="25333" y="188598"/>
                      <a:pt x="19230" y="188067"/>
                      <a:pt x="8616" y="183025"/>
                    </a:cubicBezTo>
                    <a:cubicBezTo>
                      <a:pt x="-1201" y="166574"/>
                      <a:pt x="-2263" y="146939"/>
                      <a:pt x="3575" y="126508"/>
                    </a:cubicBezTo>
                    <a:cubicBezTo>
                      <a:pt x="4371" y="126508"/>
                      <a:pt x="5167" y="126508"/>
                      <a:pt x="5963" y="126508"/>
                    </a:cubicBezTo>
                    <a:cubicBezTo>
                      <a:pt x="29843" y="135795"/>
                      <a:pt x="30905" y="163125"/>
                      <a:pt x="55050" y="143755"/>
                    </a:cubicBezTo>
                    <a:cubicBezTo>
                      <a:pt x="61684" y="114568"/>
                      <a:pt x="44172" y="110853"/>
                      <a:pt x="40457" y="87238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" name="íṧļíďé">
                <a:extLst>
                  <a:ext uri="{FF2B5EF4-FFF2-40B4-BE49-F238E27FC236}">
                    <a16:creationId xmlns:a16="http://schemas.microsoft.com/office/drawing/2014/main" id="{98309D7B-B60E-4EE5-9EB1-256723F4D9A8}"/>
                  </a:ext>
                </a:extLst>
              </p:cNvPr>
              <p:cNvSpPr/>
              <p:nvPr/>
            </p:nvSpPr>
            <p:spPr>
              <a:xfrm>
                <a:off x="1794775" y="1489986"/>
                <a:ext cx="294159" cy="392022"/>
              </a:xfrm>
              <a:custGeom>
                <a:avLst/>
                <a:gdLst>
                  <a:gd name="connsiteX0" fmla="*/ 171382 w 294159"/>
                  <a:gd name="connsiteY0" fmla="*/ 261 h 392022"/>
                  <a:gd name="connsiteX1" fmla="*/ 223654 w 294159"/>
                  <a:gd name="connsiteY1" fmla="*/ 20427 h 392022"/>
                  <a:gd name="connsiteX2" fmla="*/ 226042 w 294159"/>
                  <a:gd name="connsiteY2" fmla="*/ 138503 h 392022"/>
                  <a:gd name="connsiteX3" fmla="*/ 260536 w 294159"/>
                  <a:gd name="connsiteY3" fmla="*/ 138503 h 392022"/>
                  <a:gd name="connsiteX4" fmla="*/ 260536 w 294159"/>
                  <a:gd name="connsiteY4" fmla="*/ 140891 h 392022"/>
                  <a:gd name="connsiteX5" fmla="*/ 231083 w 294159"/>
                  <a:gd name="connsiteY5" fmla="*/ 170609 h 392022"/>
                  <a:gd name="connsiteX6" fmla="*/ 270353 w 294159"/>
                  <a:gd name="connsiteY6" fmla="*/ 273825 h 392022"/>
                  <a:gd name="connsiteX7" fmla="*/ 272741 w 294159"/>
                  <a:gd name="connsiteY7" fmla="*/ 214920 h 392022"/>
                  <a:gd name="connsiteX8" fmla="*/ 285743 w 294159"/>
                  <a:gd name="connsiteY8" fmla="*/ 212532 h 392022"/>
                  <a:gd name="connsiteX9" fmla="*/ 275395 w 294159"/>
                  <a:gd name="connsiteY9" fmla="*/ 367490 h 392022"/>
                  <a:gd name="connsiteX10" fmla="*/ 273007 w 294159"/>
                  <a:gd name="connsiteY10" fmla="*/ 367490 h 392022"/>
                  <a:gd name="connsiteX11" fmla="*/ 214101 w 294159"/>
                  <a:gd name="connsiteY11" fmla="*/ 274091 h 392022"/>
                  <a:gd name="connsiteX12" fmla="*/ 63919 w 294159"/>
                  <a:gd name="connsiteY12" fmla="*/ 389248 h 392022"/>
                  <a:gd name="connsiteX13" fmla="*/ 2361 w 294159"/>
                  <a:gd name="connsiteY13" fmla="*/ 372001 h 392022"/>
                  <a:gd name="connsiteX14" fmla="*/ 2361 w 294159"/>
                  <a:gd name="connsiteY14" fmla="*/ 362183 h 392022"/>
                  <a:gd name="connsiteX15" fmla="*/ 9790 w 294159"/>
                  <a:gd name="connsiteY15" fmla="*/ 357142 h 392022"/>
                  <a:gd name="connsiteX16" fmla="*/ 68696 w 294159"/>
                  <a:gd name="connsiteY16" fmla="*/ 342283 h 392022"/>
                  <a:gd name="connsiteX17" fmla="*/ 171913 w 294159"/>
                  <a:gd name="connsiteY17" fmla="*/ 248884 h 392022"/>
                  <a:gd name="connsiteX18" fmla="*/ 149889 w 294159"/>
                  <a:gd name="connsiteY18" fmla="*/ 253925 h 392022"/>
                  <a:gd name="connsiteX19" fmla="*/ 115395 w 294159"/>
                  <a:gd name="connsiteY19" fmla="*/ 280990 h 392022"/>
                  <a:gd name="connsiteX20" fmla="*/ 110354 w 294159"/>
                  <a:gd name="connsiteY20" fmla="*/ 273560 h 392022"/>
                  <a:gd name="connsiteX21" fmla="*/ 113007 w 294159"/>
                  <a:gd name="connsiteY21" fmla="*/ 219696 h 392022"/>
                  <a:gd name="connsiteX22" fmla="*/ 98148 w 294159"/>
                  <a:gd name="connsiteY22" fmla="*/ 219696 h 392022"/>
                  <a:gd name="connsiteX23" fmla="*/ 44019 w 294159"/>
                  <a:gd name="connsiteY23" fmla="*/ 258966 h 392022"/>
                  <a:gd name="connsiteX24" fmla="*/ 2361 w 294159"/>
                  <a:gd name="connsiteY24" fmla="*/ 236943 h 392022"/>
                  <a:gd name="connsiteX25" fmla="*/ 7402 w 294159"/>
                  <a:gd name="connsiteY25" fmla="*/ 212267 h 392022"/>
                  <a:gd name="connsiteX26" fmla="*/ 194201 w 294159"/>
                  <a:gd name="connsiteY26" fmla="*/ 150708 h 392022"/>
                  <a:gd name="connsiteX27" fmla="*/ 171382 w 294159"/>
                  <a:gd name="connsiteY27" fmla="*/ 261 h 392022"/>
                  <a:gd name="connsiteX28" fmla="*/ 171382 w 294159"/>
                  <a:gd name="connsiteY28" fmla="*/ 261 h 392022"/>
                  <a:gd name="connsiteX29" fmla="*/ 186772 w 294159"/>
                  <a:gd name="connsiteY29" fmla="*/ 182814 h 392022"/>
                  <a:gd name="connsiteX30" fmla="*/ 181730 w 294159"/>
                  <a:gd name="connsiteY30" fmla="*/ 214920 h 392022"/>
                  <a:gd name="connsiteX31" fmla="*/ 196589 w 294159"/>
                  <a:gd name="connsiteY31" fmla="*/ 236943 h 392022"/>
                  <a:gd name="connsiteX32" fmla="*/ 206407 w 294159"/>
                  <a:gd name="connsiteY32" fmla="*/ 236943 h 392022"/>
                  <a:gd name="connsiteX33" fmla="*/ 208795 w 294159"/>
                  <a:gd name="connsiteY33" fmla="*/ 234555 h 392022"/>
                  <a:gd name="connsiteX34" fmla="*/ 194201 w 294159"/>
                  <a:gd name="connsiteY34" fmla="*/ 182814 h 392022"/>
                  <a:gd name="connsiteX35" fmla="*/ 186772 w 294159"/>
                  <a:gd name="connsiteY35" fmla="*/ 182814 h 392022"/>
                  <a:gd name="connsiteX36" fmla="*/ 186772 w 294159"/>
                  <a:gd name="connsiteY36" fmla="*/ 182814 h 392022"/>
                  <a:gd name="connsiteX37" fmla="*/ 140072 w 294159"/>
                  <a:gd name="connsiteY37" fmla="*/ 197673 h 392022"/>
                  <a:gd name="connsiteX38" fmla="*/ 129724 w 294159"/>
                  <a:gd name="connsiteY38" fmla="*/ 219696 h 392022"/>
                  <a:gd name="connsiteX39" fmla="*/ 161299 w 294159"/>
                  <a:gd name="connsiteY39" fmla="*/ 225534 h 392022"/>
                  <a:gd name="connsiteX40" fmla="*/ 159176 w 294159"/>
                  <a:gd name="connsiteY40" fmla="*/ 197673 h 392022"/>
                  <a:gd name="connsiteX41" fmla="*/ 140072 w 294159"/>
                  <a:gd name="connsiteY41" fmla="*/ 197673 h 392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294159" h="392022">
                    <a:moveTo>
                      <a:pt x="171382" y="261"/>
                    </a:moveTo>
                    <a:cubicBezTo>
                      <a:pt x="196854" y="-1331"/>
                      <a:pt x="215428" y="4241"/>
                      <a:pt x="223654" y="20427"/>
                    </a:cubicBezTo>
                    <a:cubicBezTo>
                      <a:pt x="223123" y="60227"/>
                      <a:pt x="219674" y="97110"/>
                      <a:pt x="226042" y="138503"/>
                    </a:cubicBezTo>
                    <a:cubicBezTo>
                      <a:pt x="237451" y="138503"/>
                      <a:pt x="248861" y="138503"/>
                      <a:pt x="260536" y="138503"/>
                    </a:cubicBezTo>
                    <a:cubicBezTo>
                      <a:pt x="260536" y="139299"/>
                      <a:pt x="260536" y="140095"/>
                      <a:pt x="260536" y="140891"/>
                    </a:cubicBezTo>
                    <a:cubicBezTo>
                      <a:pt x="257086" y="160791"/>
                      <a:pt x="245942" y="163179"/>
                      <a:pt x="231083" y="170609"/>
                    </a:cubicBezTo>
                    <a:cubicBezTo>
                      <a:pt x="231083" y="209083"/>
                      <a:pt x="240105" y="264804"/>
                      <a:pt x="270353" y="273825"/>
                    </a:cubicBezTo>
                    <a:cubicBezTo>
                      <a:pt x="271149" y="254190"/>
                      <a:pt x="271945" y="234555"/>
                      <a:pt x="272741" y="214920"/>
                    </a:cubicBezTo>
                    <a:cubicBezTo>
                      <a:pt x="274864" y="201388"/>
                      <a:pt x="281232" y="204307"/>
                      <a:pt x="285743" y="212532"/>
                    </a:cubicBezTo>
                    <a:cubicBezTo>
                      <a:pt x="297153" y="250210"/>
                      <a:pt x="299806" y="353427"/>
                      <a:pt x="275395" y="367490"/>
                    </a:cubicBezTo>
                    <a:cubicBezTo>
                      <a:pt x="274599" y="367490"/>
                      <a:pt x="273803" y="367490"/>
                      <a:pt x="273007" y="367490"/>
                    </a:cubicBezTo>
                    <a:cubicBezTo>
                      <a:pt x="237982" y="352366"/>
                      <a:pt x="247004" y="285766"/>
                      <a:pt x="214101" y="274091"/>
                    </a:cubicBezTo>
                    <a:cubicBezTo>
                      <a:pt x="159176" y="306462"/>
                      <a:pt x="89657" y="373858"/>
                      <a:pt x="63919" y="389248"/>
                    </a:cubicBezTo>
                    <a:cubicBezTo>
                      <a:pt x="37386" y="399596"/>
                      <a:pt x="16954" y="378104"/>
                      <a:pt x="2361" y="372001"/>
                    </a:cubicBezTo>
                    <a:cubicBezTo>
                      <a:pt x="2361" y="368817"/>
                      <a:pt x="2361" y="365367"/>
                      <a:pt x="2361" y="362183"/>
                    </a:cubicBezTo>
                    <a:cubicBezTo>
                      <a:pt x="4749" y="360591"/>
                      <a:pt x="7402" y="358999"/>
                      <a:pt x="9790" y="357142"/>
                    </a:cubicBezTo>
                    <a:cubicBezTo>
                      <a:pt x="25180" y="343610"/>
                      <a:pt x="46672" y="350774"/>
                      <a:pt x="68696" y="342283"/>
                    </a:cubicBezTo>
                    <a:cubicBezTo>
                      <a:pt x="95760" y="331935"/>
                      <a:pt x="185710" y="279928"/>
                      <a:pt x="171913" y="248884"/>
                    </a:cubicBezTo>
                    <a:cubicBezTo>
                      <a:pt x="164218" y="246761"/>
                      <a:pt x="158115" y="247026"/>
                      <a:pt x="149889" y="253925"/>
                    </a:cubicBezTo>
                    <a:cubicBezTo>
                      <a:pt x="145909" y="273295"/>
                      <a:pt x="138745" y="280724"/>
                      <a:pt x="115395" y="280990"/>
                    </a:cubicBezTo>
                    <a:cubicBezTo>
                      <a:pt x="113803" y="278602"/>
                      <a:pt x="112211" y="275948"/>
                      <a:pt x="110354" y="273560"/>
                    </a:cubicBezTo>
                    <a:cubicBezTo>
                      <a:pt x="100802" y="250210"/>
                      <a:pt x="126540" y="225534"/>
                      <a:pt x="113007" y="219696"/>
                    </a:cubicBezTo>
                    <a:cubicBezTo>
                      <a:pt x="108496" y="217308"/>
                      <a:pt x="104782" y="217574"/>
                      <a:pt x="98148" y="219696"/>
                    </a:cubicBezTo>
                    <a:cubicBezTo>
                      <a:pt x="80105" y="232698"/>
                      <a:pt x="49856" y="260559"/>
                      <a:pt x="44019" y="258966"/>
                    </a:cubicBezTo>
                    <a:cubicBezTo>
                      <a:pt x="24649" y="257374"/>
                      <a:pt x="12709" y="254456"/>
                      <a:pt x="2361" y="236943"/>
                    </a:cubicBezTo>
                    <a:cubicBezTo>
                      <a:pt x="-823" y="228718"/>
                      <a:pt x="-2150" y="221288"/>
                      <a:pt x="7402" y="212267"/>
                    </a:cubicBezTo>
                    <a:cubicBezTo>
                      <a:pt x="71084" y="213328"/>
                      <a:pt x="150951" y="178569"/>
                      <a:pt x="194201" y="150708"/>
                    </a:cubicBezTo>
                    <a:cubicBezTo>
                      <a:pt x="194201" y="36082"/>
                      <a:pt x="168728" y="53329"/>
                      <a:pt x="171382" y="261"/>
                    </a:cubicBezTo>
                    <a:lnTo>
                      <a:pt x="171382" y="261"/>
                    </a:lnTo>
                    <a:close/>
                    <a:moveTo>
                      <a:pt x="186772" y="182814"/>
                    </a:moveTo>
                    <a:cubicBezTo>
                      <a:pt x="181995" y="192366"/>
                      <a:pt x="180669" y="203776"/>
                      <a:pt x="181730" y="214920"/>
                    </a:cubicBezTo>
                    <a:cubicBezTo>
                      <a:pt x="185710" y="224207"/>
                      <a:pt x="189956" y="230841"/>
                      <a:pt x="196589" y="236943"/>
                    </a:cubicBezTo>
                    <a:cubicBezTo>
                      <a:pt x="199773" y="236943"/>
                      <a:pt x="203223" y="236943"/>
                      <a:pt x="206407" y="236943"/>
                    </a:cubicBezTo>
                    <a:cubicBezTo>
                      <a:pt x="207203" y="236147"/>
                      <a:pt x="207999" y="235351"/>
                      <a:pt x="208795" y="234555"/>
                    </a:cubicBezTo>
                    <a:cubicBezTo>
                      <a:pt x="203223" y="214920"/>
                      <a:pt x="200835" y="198204"/>
                      <a:pt x="194201" y="182814"/>
                    </a:cubicBezTo>
                    <a:cubicBezTo>
                      <a:pt x="191548" y="182814"/>
                      <a:pt x="189160" y="182814"/>
                      <a:pt x="186772" y="182814"/>
                    </a:cubicBezTo>
                    <a:lnTo>
                      <a:pt x="186772" y="182814"/>
                    </a:lnTo>
                    <a:close/>
                    <a:moveTo>
                      <a:pt x="140072" y="197673"/>
                    </a:moveTo>
                    <a:cubicBezTo>
                      <a:pt x="129724" y="203245"/>
                      <a:pt x="130254" y="210940"/>
                      <a:pt x="129724" y="219696"/>
                    </a:cubicBezTo>
                    <a:cubicBezTo>
                      <a:pt x="140603" y="234290"/>
                      <a:pt x="152277" y="227656"/>
                      <a:pt x="161299" y="225534"/>
                    </a:cubicBezTo>
                    <a:cubicBezTo>
                      <a:pt x="164218" y="216512"/>
                      <a:pt x="164483" y="203776"/>
                      <a:pt x="159176" y="197673"/>
                    </a:cubicBezTo>
                    <a:cubicBezTo>
                      <a:pt x="148032" y="197673"/>
                      <a:pt x="147501" y="197673"/>
                      <a:pt x="140072" y="197673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" name="îšľiďé">
                <a:extLst>
                  <a:ext uri="{FF2B5EF4-FFF2-40B4-BE49-F238E27FC236}">
                    <a16:creationId xmlns:a16="http://schemas.microsoft.com/office/drawing/2014/main" id="{11741D9F-8CD1-4180-A1E7-1CF6F79728D8}"/>
                  </a:ext>
                </a:extLst>
              </p:cNvPr>
              <p:cNvSpPr/>
              <p:nvPr/>
            </p:nvSpPr>
            <p:spPr>
              <a:xfrm>
                <a:off x="2316265" y="1493719"/>
                <a:ext cx="165529" cy="318248"/>
              </a:xfrm>
              <a:custGeom>
                <a:avLst/>
                <a:gdLst>
                  <a:gd name="connsiteX0" fmla="*/ 132279 w 165529"/>
                  <a:gd name="connsiteY0" fmla="*/ 2100 h 318248"/>
                  <a:gd name="connsiteX1" fmla="*/ 151914 w 165529"/>
                  <a:gd name="connsiteY1" fmla="*/ 2100 h 318248"/>
                  <a:gd name="connsiteX2" fmla="*/ 161731 w 165529"/>
                  <a:gd name="connsiteY2" fmla="*/ 43758 h 318248"/>
                  <a:gd name="connsiteX3" fmla="*/ 109990 w 165529"/>
                  <a:gd name="connsiteY3" fmla="*/ 107705 h 318248"/>
                  <a:gd name="connsiteX4" fmla="*/ 115032 w 165529"/>
                  <a:gd name="connsiteY4" fmla="*/ 107705 h 318248"/>
                  <a:gd name="connsiteX5" fmla="*/ 146872 w 165529"/>
                  <a:gd name="connsiteY5" fmla="*/ 117523 h 318248"/>
                  <a:gd name="connsiteX6" fmla="*/ 146872 w 165529"/>
                  <a:gd name="connsiteY6" fmla="*/ 139546 h 318248"/>
                  <a:gd name="connsiteX7" fmla="*/ 122196 w 165529"/>
                  <a:gd name="connsiteY7" fmla="*/ 154405 h 318248"/>
                  <a:gd name="connsiteX8" fmla="*/ 132013 w 165529"/>
                  <a:gd name="connsiteY8" fmla="*/ 186245 h 318248"/>
                  <a:gd name="connsiteX9" fmla="*/ 102561 w 165529"/>
                  <a:gd name="connsiteY9" fmla="*/ 223128 h 318248"/>
                  <a:gd name="connsiteX10" fmla="*/ 104949 w 165529"/>
                  <a:gd name="connsiteY10" fmla="*/ 232945 h 318248"/>
                  <a:gd name="connsiteX11" fmla="*/ 136789 w 165529"/>
                  <a:gd name="connsiteY11" fmla="*/ 215698 h 318248"/>
                  <a:gd name="connsiteX12" fmla="*/ 163854 w 165529"/>
                  <a:gd name="connsiteY12" fmla="*/ 220740 h 318248"/>
                  <a:gd name="connsiteX13" fmla="*/ 154036 w 165529"/>
                  <a:gd name="connsiteY13" fmla="*/ 245416 h 318248"/>
                  <a:gd name="connsiteX14" fmla="*/ 97519 w 165529"/>
                  <a:gd name="connsiteY14" fmla="*/ 262663 h 318248"/>
                  <a:gd name="connsiteX15" fmla="*/ 95131 w 165529"/>
                  <a:gd name="connsiteY15" fmla="*/ 270093 h 318248"/>
                  <a:gd name="connsiteX16" fmla="*/ 29858 w 165529"/>
                  <a:gd name="connsiteY16" fmla="*/ 317058 h 318248"/>
                  <a:gd name="connsiteX17" fmla="*/ 55861 w 165529"/>
                  <a:gd name="connsiteY17" fmla="*/ 289728 h 318248"/>
                  <a:gd name="connsiteX18" fmla="*/ 53207 w 165529"/>
                  <a:gd name="connsiteY18" fmla="*/ 278849 h 318248"/>
                  <a:gd name="connsiteX19" fmla="*/ 27735 w 165529"/>
                  <a:gd name="connsiteY19" fmla="*/ 275134 h 318248"/>
                  <a:gd name="connsiteX20" fmla="*/ 33838 w 165529"/>
                  <a:gd name="connsiteY20" fmla="*/ 255234 h 318248"/>
                  <a:gd name="connsiteX21" fmla="*/ 70720 w 165529"/>
                  <a:gd name="connsiteY21" fmla="*/ 235599 h 318248"/>
                  <a:gd name="connsiteX22" fmla="*/ 65678 w 165529"/>
                  <a:gd name="connsiteY22" fmla="*/ 230557 h 318248"/>
                  <a:gd name="connsiteX23" fmla="*/ 18979 w 165529"/>
                  <a:gd name="connsiteY23" fmla="*/ 237987 h 318248"/>
                  <a:gd name="connsiteX24" fmla="*/ 11549 w 165529"/>
                  <a:gd name="connsiteY24" fmla="*/ 223128 h 318248"/>
                  <a:gd name="connsiteX25" fmla="*/ 33572 w 165529"/>
                  <a:gd name="connsiteY25" fmla="*/ 146975 h 318248"/>
                  <a:gd name="connsiteX26" fmla="*/ 1732 w 165529"/>
                  <a:gd name="connsiteY26" fmla="*/ 129728 h 318248"/>
                  <a:gd name="connsiteX27" fmla="*/ 5977 w 165529"/>
                  <a:gd name="connsiteY27" fmla="*/ 113012 h 318248"/>
                  <a:gd name="connsiteX28" fmla="*/ 53473 w 165529"/>
                  <a:gd name="connsiteY28" fmla="*/ 95499 h 318248"/>
                  <a:gd name="connsiteX29" fmla="*/ 61964 w 165529"/>
                  <a:gd name="connsiteY29" fmla="*/ 56229 h 318248"/>
                  <a:gd name="connsiteX30" fmla="*/ 75496 w 165529"/>
                  <a:gd name="connsiteY30" fmla="*/ 56229 h 318248"/>
                  <a:gd name="connsiteX31" fmla="*/ 84783 w 165529"/>
                  <a:gd name="connsiteY31" fmla="*/ 69762 h 318248"/>
                  <a:gd name="connsiteX32" fmla="*/ 99907 w 165529"/>
                  <a:gd name="connsiteY32" fmla="*/ 33941 h 318248"/>
                  <a:gd name="connsiteX33" fmla="*/ 109725 w 165529"/>
                  <a:gd name="connsiteY33" fmla="*/ 55964 h 318248"/>
                  <a:gd name="connsiteX34" fmla="*/ 124584 w 165529"/>
                  <a:gd name="connsiteY34" fmla="*/ 50923 h 318248"/>
                  <a:gd name="connsiteX35" fmla="*/ 132279 w 165529"/>
                  <a:gd name="connsiteY35" fmla="*/ 2100 h 318248"/>
                  <a:gd name="connsiteX36" fmla="*/ 132279 w 165529"/>
                  <a:gd name="connsiteY36" fmla="*/ 2100 h 318248"/>
                  <a:gd name="connsiteX37" fmla="*/ 63556 w 165529"/>
                  <a:gd name="connsiteY37" fmla="*/ 193940 h 318248"/>
                  <a:gd name="connsiteX38" fmla="*/ 51350 w 165529"/>
                  <a:gd name="connsiteY38" fmla="*/ 215963 h 318248"/>
                  <a:gd name="connsiteX39" fmla="*/ 61168 w 165529"/>
                  <a:gd name="connsiteY39" fmla="*/ 215963 h 318248"/>
                  <a:gd name="connsiteX40" fmla="*/ 70985 w 165529"/>
                  <a:gd name="connsiteY40" fmla="*/ 196328 h 318248"/>
                  <a:gd name="connsiteX41" fmla="*/ 63556 w 165529"/>
                  <a:gd name="connsiteY41" fmla="*/ 193940 h 318248"/>
                  <a:gd name="connsiteX42" fmla="*/ 63556 w 165529"/>
                  <a:gd name="connsiteY42" fmla="*/ 193940 h 318248"/>
                  <a:gd name="connsiteX43" fmla="*/ 63556 w 165529"/>
                  <a:gd name="connsiteY43" fmla="*/ 164488 h 318248"/>
                  <a:gd name="connsiteX44" fmla="*/ 65944 w 165529"/>
                  <a:gd name="connsiteY44" fmla="*/ 179347 h 318248"/>
                  <a:gd name="connsiteX45" fmla="*/ 68332 w 165529"/>
                  <a:gd name="connsiteY45" fmla="*/ 179347 h 318248"/>
                  <a:gd name="connsiteX46" fmla="*/ 75761 w 165529"/>
                  <a:gd name="connsiteY46" fmla="*/ 164488 h 318248"/>
                  <a:gd name="connsiteX47" fmla="*/ 63556 w 165529"/>
                  <a:gd name="connsiteY47" fmla="*/ 164488 h 318248"/>
                  <a:gd name="connsiteX48" fmla="*/ 63556 w 165529"/>
                  <a:gd name="connsiteY48" fmla="*/ 164488 h 318248"/>
                  <a:gd name="connsiteX49" fmla="*/ 60902 w 165529"/>
                  <a:gd name="connsiteY49" fmla="*/ 115135 h 318248"/>
                  <a:gd name="connsiteX50" fmla="*/ 46309 w 165529"/>
                  <a:gd name="connsiteY50" fmla="*/ 132382 h 318248"/>
                  <a:gd name="connsiteX51" fmla="*/ 78149 w 165529"/>
                  <a:gd name="connsiteY51" fmla="*/ 147241 h 318248"/>
                  <a:gd name="connsiteX52" fmla="*/ 78149 w 165529"/>
                  <a:gd name="connsiteY52" fmla="*/ 142199 h 318248"/>
                  <a:gd name="connsiteX53" fmla="*/ 78149 w 165529"/>
                  <a:gd name="connsiteY53" fmla="*/ 122564 h 318248"/>
                  <a:gd name="connsiteX54" fmla="*/ 73108 w 165529"/>
                  <a:gd name="connsiteY54" fmla="*/ 115135 h 318248"/>
                  <a:gd name="connsiteX55" fmla="*/ 60902 w 165529"/>
                  <a:gd name="connsiteY55" fmla="*/ 115135 h 318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165529" h="318248">
                    <a:moveTo>
                      <a:pt x="132279" y="2100"/>
                    </a:moveTo>
                    <a:cubicBezTo>
                      <a:pt x="138381" y="-1084"/>
                      <a:pt x="146076" y="-288"/>
                      <a:pt x="151914" y="2100"/>
                    </a:cubicBezTo>
                    <a:cubicBezTo>
                      <a:pt x="163323" y="8734"/>
                      <a:pt x="165446" y="23858"/>
                      <a:pt x="161731" y="43758"/>
                    </a:cubicBezTo>
                    <a:cubicBezTo>
                      <a:pt x="151383" y="72680"/>
                      <a:pt x="102561" y="78252"/>
                      <a:pt x="109990" y="107705"/>
                    </a:cubicBezTo>
                    <a:cubicBezTo>
                      <a:pt x="111582" y="107705"/>
                      <a:pt x="113174" y="107705"/>
                      <a:pt x="115032" y="107705"/>
                    </a:cubicBezTo>
                    <a:cubicBezTo>
                      <a:pt x="128564" y="107970"/>
                      <a:pt x="143954" y="106644"/>
                      <a:pt x="146872" y="117523"/>
                    </a:cubicBezTo>
                    <a:cubicBezTo>
                      <a:pt x="151383" y="126013"/>
                      <a:pt x="150587" y="135035"/>
                      <a:pt x="146872" y="139546"/>
                    </a:cubicBezTo>
                    <a:cubicBezTo>
                      <a:pt x="138647" y="144587"/>
                      <a:pt x="123522" y="143791"/>
                      <a:pt x="122196" y="154405"/>
                    </a:cubicBezTo>
                    <a:cubicBezTo>
                      <a:pt x="131217" y="163957"/>
                      <a:pt x="133871" y="172979"/>
                      <a:pt x="132013" y="186245"/>
                    </a:cubicBezTo>
                    <a:cubicBezTo>
                      <a:pt x="125114" y="201370"/>
                      <a:pt x="116624" y="215433"/>
                      <a:pt x="102561" y="223128"/>
                    </a:cubicBezTo>
                    <a:cubicBezTo>
                      <a:pt x="103357" y="226312"/>
                      <a:pt x="104153" y="229761"/>
                      <a:pt x="104949" y="232945"/>
                    </a:cubicBezTo>
                    <a:cubicBezTo>
                      <a:pt x="124318" y="232945"/>
                      <a:pt x="124053" y="230557"/>
                      <a:pt x="136789" y="215698"/>
                    </a:cubicBezTo>
                    <a:cubicBezTo>
                      <a:pt x="150587" y="209065"/>
                      <a:pt x="156690" y="214106"/>
                      <a:pt x="163854" y="220740"/>
                    </a:cubicBezTo>
                    <a:cubicBezTo>
                      <a:pt x="168365" y="233741"/>
                      <a:pt x="163323" y="239048"/>
                      <a:pt x="154036" y="245416"/>
                    </a:cubicBezTo>
                    <a:cubicBezTo>
                      <a:pt x="135197" y="251254"/>
                      <a:pt x="116358" y="256826"/>
                      <a:pt x="97519" y="262663"/>
                    </a:cubicBezTo>
                    <a:cubicBezTo>
                      <a:pt x="96723" y="265051"/>
                      <a:pt x="95927" y="267705"/>
                      <a:pt x="95131" y="270093"/>
                    </a:cubicBezTo>
                    <a:cubicBezTo>
                      <a:pt x="88763" y="281237"/>
                      <a:pt x="64882" y="326079"/>
                      <a:pt x="29858" y="317058"/>
                    </a:cubicBezTo>
                    <a:cubicBezTo>
                      <a:pt x="24551" y="312812"/>
                      <a:pt x="54004" y="291585"/>
                      <a:pt x="55861" y="289728"/>
                    </a:cubicBezTo>
                    <a:cubicBezTo>
                      <a:pt x="56392" y="285748"/>
                      <a:pt x="54799" y="282033"/>
                      <a:pt x="53207" y="278849"/>
                    </a:cubicBezTo>
                    <a:cubicBezTo>
                      <a:pt x="44982" y="275665"/>
                      <a:pt x="35430" y="278584"/>
                      <a:pt x="27735" y="275134"/>
                    </a:cubicBezTo>
                    <a:cubicBezTo>
                      <a:pt x="24020" y="270623"/>
                      <a:pt x="24816" y="257622"/>
                      <a:pt x="33838" y="255234"/>
                    </a:cubicBezTo>
                    <a:cubicBezTo>
                      <a:pt x="49493" y="253111"/>
                      <a:pt x="62760" y="245947"/>
                      <a:pt x="70720" y="235599"/>
                    </a:cubicBezTo>
                    <a:cubicBezTo>
                      <a:pt x="69128" y="234007"/>
                      <a:pt x="67536" y="232415"/>
                      <a:pt x="65678" y="230557"/>
                    </a:cubicBezTo>
                    <a:cubicBezTo>
                      <a:pt x="44982" y="236129"/>
                      <a:pt x="38879" y="242232"/>
                      <a:pt x="18979" y="237987"/>
                    </a:cubicBezTo>
                    <a:cubicBezTo>
                      <a:pt x="14468" y="235599"/>
                      <a:pt x="11815" y="231884"/>
                      <a:pt x="11549" y="223128"/>
                    </a:cubicBezTo>
                    <a:cubicBezTo>
                      <a:pt x="1732" y="199778"/>
                      <a:pt x="37287" y="189960"/>
                      <a:pt x="33572" y="146975"/>
                    </a:cubicBezTo>
                    <a:cubicBezTo>
                      <a:pt x="26674" y="138219"/>
                      <a:pt x="17121" y="139811"/>
                      <a:pt x="1732" y="129728"/>
                    </a:cubicBezTo>
                    <a:cubicBezTo>
                      <a:pt x="-1983" y="123625"/>
                      <a:pt x="670" y="115931"/>
                      <a:pt x="5977" y="113012"/>
                    </a:cubicBezTo>
                    <a:cubicBezTo>
                      <a:pt x="22428" y="110093"/>
                      <a:pt x="49227" y="109032"/>
                      <a:pt x="53473" y="95499"/>
                    </a:cubicBezTo>
                    <a:cubicBezTo>
                      <a:pt x="57453" y="82498"/>
                      <a:pt x="51881" y="69231"/>
                      <a:pt x="61964" y="56229"/>
                    </a:cubicBezTo>
                    <a:cubicBezTo>
                      <a:pt x="66209" y="55699"/>
                      <a:pt x="70985" y="54372"/>
                      <a:pt x="75496" y="56229"/>
                    </a:cubicBezTo>
                    <a:cubicBezTo>
                      <a:pt x="79211" y="66312"/>
                      <a:pt x="74169" y="65782"/>
                      <a:pt x="84783" y="69762"/>
                    </a:cubicBezTo>
                    <a:cubicBezTo>
                      <a:pt x="89294" y="49330"/>
                      <a:pt x="77619" y="31022"/>
                      <a:pt x="99907" y="33941"/>
                    </a:cubicBezTo>
                    <a:cubicBezTo>
                      <a:pt x="102030" y="44554"/>
                      <a:pt x="103357" y="50126"/>
                      <a:pt x="109725" y="55964"/>
                    </a:cubicBezTo>
                    <a:cubicBezTo>
                      <a:pt x="117685" y="55964"/>
                      <a:pt x="118746" y="56760"/>
                      <a:pt x="124584" y="50923"/>
                    </a:cubicBezTo>
                    <a:cubicBezTo>
                      <a:pt x="124053" y="30226"/>
                      <a:pt x="125645" y="2100"/>
                      <a:pt x="132279" y="2100"/>
                    </a:cubicBezTo>
                    <a:lnTo>
                      <a:pt x="132279" y="2100"/>
                    </a:lnTo>
                    <a:close/>
                    <a:moveTo>
                      <a:pt x="63556" y="193940"/>
                    </a:moveTo>
                    <a:cubicBezTo>
                      <a:pt x="56392" y="201635"/>
                      <a:pt x="53738" y="202431"/>
                      <a:pt x="51350" y="215963"/>
                    </a:cubicBezTo>
                    <a:cubicBezTo>
                      <a:pt x="54534" y="215963"/>
                      <a:pt x="57984" y="215963"/>
                      <a:pt x="61168" y="215963"/>
                    </a:cubicBezTo>
                    <a:cubicBezTo>
                      <a:pt x="68862" y="209861"/>
                      <a:pt x="69659" y="209861"/>
                      <a:pt x="70985" y="196328"/>
                    </a:cubicBezTo>
                    <a:cubicBezTo>
                      <a:pt x="68332" y="195532"/>
                      <a:pt x="65944" y="194736"/>
                      <a:pt x="63556" y="193940"/>
                    </a:cubicBezTo>
                    <a:lnTo>
                      <a:pt x="63556" y="193940"/>
                    </a:lnTo>
                    <a:close/>
                    <a:moveTo>
                      <a:pt x="63556" y="164488"/>
                    </a:moveTo>
                    <a:cubicBezTo>
                      <a:pt x="64352" y="169529"/>
                      <a:pt x="65148" y="174305"/>
                      <a:pt x="65944" y="179347"/>
                    </a:cubicBezTo>
                    <a:cubicBezTo>
                      <a:pt x="66740" y="179347"/>
                      <a:pt x="67536" y="179347"/>
                      <a:pt x="68332" y="179347"/>
                    </a:cubicBezTo>
                    <a:cubicBezTo>
                      <a:pt x="79741" y="174836"/>
                      <a:pt x="77884" y="175632"/>
                      <a:pt x="75761" y="164488"/>
                    </a:cubicBezTo>
                    <a:cubicBezTo>
                      <a:pt x="71516" y="164488"/>
                      <a:pt x="67536" y="164488"/>
                      <a:pt x="63556" y="164488"/>
                    </a:cubicBezTo>
                    <a:lnTo>
                      <a:pt x="63556" y="164488"/>
                    </a:lnTo>
                    <a:close/>
                    <a:moveTo>
                      <a:pt x="60902" y="115135"/>
                    </a:moveTo>
                    <a:cubicBezTo>
                      <a:pt x="56126" y="120972"/>
                      <a:pt x="51085" y="126544"/>
                      <a:pt x="46309" y="132382"/>
                    </a:cubicBezTo>
                    <a:cubicBezTo>
                      <a:pt x="53473" y="144322"/>
                      <a:pt x="57984" y="147771"/>
                      <a:pt x="78149" y="147241"/>
                    </a:cubicBezTo>
                    <a:cubicBezTo>
                      <a:pt x="78149" y="145649"/>
                      <a:pt x="78149" y="144057"/>
                      <a:pt x="78149" y="142199"/>
                    </a:cubicBezTo>
                    <a:cubicBezTo>
                      <a:pt x="78149" y="135566"/>
                      <a:pt x="78149" y="129198"/>
                      <a:pt x="78149" y="122564"/>
                    </a:cubicBezTo>
                    <a:cubicBezTo>
                      <a:pt x="76557" y="120176"/>
                      <a:pt x="74965" y="117523"/>
                      <a:pt x="73108" y="115135"/>
                    </a:cubicBezTo>
                    <a:cubicBezTo>
                      <a:pt x="69128" y="115135"/>
                      <a:pt x="65148" y="115135"/>
                      <a:pt x="60902" y="115135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" name="íṡļîďê">
                <a:extLst>
                  <a:ext uri="{FF2B5EF4-FFF2-40B4-BE49-F238E27FC236}">
                    <a16:creationId xmlns:a16="http://schemas.microsoft.com/office/drawing/2014/main" id="{F432F270-CD61-4834-BC8C-8D2634D2F624}"/>
                  </a:ext>
                </a:extLst>
              </p:cNvPr>
              <p:cNvSpPr/>
              <p:nvPr/>
            </p:nvSpPr>
            <p:spPr>
              <a:xfrm>
                <a:off x="2241662" y="1514923"/>
                <a:ext cx="54313" cy="101530"/>
              </a:xfrm>
              <a:custGeom>
                <a:avLst/>
                <a:gdLst>
                  <a:gd name="connsiteX0" fmla="*/ 17960 w 54313"/>
                  <a:gd name="connsiteY0" fmla="*/ 0 h 101530"/>
                  <a:gd name="connsiteX1" fmla="*/ 54312 w 54313"/>
                  <a:gd name="connsiteY1" fmla="*/ 42454 h 101530"/>
                  <a:gd name="connsiteX2" fmla="*/ 7612 w 54313"/>
                  <a:gd name="connsiteY2" fmla="*/ 101360 h 101530"/>
                  <a:gd name="connsiteX3" fmla="*/ 182 w 54313"/>
                  <a:gd name="connsiteY3" fmla="*/ 84113 h 101530"/>
                  <a:gd name="connsiteX4" fmla="*/ 17960 w 54313"/>
                  <a:gd name="connsiteY4" fmla="*/ 0 h 101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313" h="101530">
                    <a:moveTo>
                      <a:pt x="17960" y="0"/>
                    </a:moveTo>
                    <a:cubicBezTo>
                      <a:pt x="29370" y="3449"/>
                      <a:pt x="46617" y="15920"/>
                      <a:pt x="54312" y="42454"/>
                    </a:cubicBezTo>
                    <a:cubicBezTo>
                      <a:pt x="54577" y="55191"/>
                      <a:pt x="32023" y="104809"/>
                      <a:pt x="7612" y="101360"/>
                    </a:cubicBezTo>
                    <a:cubicBezTo>
                      <a:pt x="2836" y="97910"/>
                      <a:pt x="-879" y="95787"/>
                      <a:pt x="182" y="84113"/>
                    </a:cubicBezTo>
                    <a:cubicBezTo>
                      <a:pt x="13980" y="56517"/>
                      <a:pt x="-1675" y="14063"/>
                      <a:pt x="17960" y="0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" name="î$1îḍe">
                <a:extLst>
                  <a:ext uri="{FF2B5EF4-FFF2-40B4-BE49-F238E27FC236}">
                    <a16:creationId xmlns:a16="http://schemas.microsoft.com/office/drawing/2014/main" id="{29929CF0-3075-4496-B1D2-15B1882D9861}"/>
                  </a:ext>
                </a:extLst>
              </p:cNvPr>
              <p:cNvSpPr/>
              <p:nvPr/>
            </p:nvSpPr>
            <p:spPr>
              <a:xfrm>
                <a:off x="3250014" y="1518573"/>
                <a:ext cx="263071" cy="354315"/>
              </a:xfrm>
              <a:custGeom>
                <a:avLst/>
                <a:gdLst>
                  <a:gd name="connsiteX0" fmla="*/ 184265 w 263071"/>
                  <a:gd name="connsiteY0" fmla="*/ 1923 h 354315"/>
                  <a:gd name="connsiteX1" fmla="*/ 238395 w 263071"/>
                  <a:gd name="connsiteY1" fmla="*/ 65870 h 354315"/>
                  <a:gd name="connsiteX2" fmla="*/ 206554 w 263071"/>
                  <a:gd name="connsiteY2" fmla="*/ 161657 h 354315"/>
                  <a:gd name="connsiteX3" fmla="*/ 213983 w 263071"/>
                  <a:gd name="connsiteY3" fmla="*/ 161657 h 354315"/>
                  <a:gd name="connsiteX4" fmla="*/ 238660 w 263071"/>
                  <a:gd name="connsiteY4" fmla="*/ 136981 h 354315"/>
                  <a:gd name="connsiteX5" fmla="*/ 250866 w 263071"/>
                  <a:gd name="connsiteY5" fmla="*/ 139369 h 354315"/>
                  <a:gd name="connsiteX6" fmla="*/ 263071 w 263071"/>
                  <a:gd name="connsiteY6" fmla="*/ 156616 h 354315"/>
                  <a:gd name="connsiteX7" fmla="*/ 194348 w 263071"/>
                  <a:gd name="connsiteY7" fmla="*/ 208357 h 354315"/>
                  <a:gd name="connsiteX8" fmla="*/ 86090 w 263071"/>
                  <a:gd name="connsiteY8" fmla="*/ 336250 h 354315"/>
                  <a:gd name="connsiteX9" fmla="*/ 14714 w 263071"/>
                  <a:gd name="connsiteY9" fmla="*/ 351109 h 354315"/>
                  <a:gd name="connsiteX10" fmla="*/ 4896 w 263071"/>
                  <a:gd name="connsiteY10" fmla="*/ 329086 h 354315"/>
                  <a:gd name="connsiteX11" fmla="*/ 122972 w 263071"/>
                  <a:gd name="connsiteY11" fmla="*/ 220828 h 354315"/>
                  <a:gd name="connsiteX12" fmla="*/ 37002 w 263071"/>
                  <a:gd name="connsiteY12" fmla="*/ 238075 h 354315"/>
                  <a:gd name="connsiteX13" fmla="*/ 27184 w 263071"/>
                  <a:gd name="connsiteY13" fmla="*/ 233033 h 354315"/>
                  <a:gd name="connsiteX14" fmla="*/ 32226 w 263071"/>
                  <a:gd name="connsiteY14" fmla="*/ 213398 h 354315"/>
                  <a:gd name="connsiteX15" fmla="*/ 172325 w 263071"/>
                  <a:gd name="connsiteY15" fmla="*/ 117611 h 354315"/>
                  <a:gd name="connsiteX16" fmla="*/ 189572 w 263071"/>
                  <a:gd name="connsiteY16" fmla="*/ 65870 h 354315"/>
                  <a:gd name="connsiteX17" fmla="*/ 157731 w 263071"/>
                  <a:gd name="connsiteY17" fmla="*/ 9352 h 354315"/>
                  <a:gd name="connsiteX18" fmla="*/ 184265 w 263071"/>
                  <a:gd name="connsiteY18" fmla="*/ 1923 h 3543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63071" h="354315">
                    <a:moveTo>
                      <a:pt x="184265" y="1923"/>
                    </a:moveTo>
                    <a:cubicBezTo>
                      <a:pt x="202308" y="21558"/>
                      <a:pt x="222474" y="27926"/>
                      <a:pt x="238395" y="65870"/>
                    </a:cubicBezTo>
                    <a:cubicBezTo>
                      <a:pt x="241844" y="95322"/>
                      <a:pt x="197798" y="139103"/>
                      <a:pt x="206554" y="161657"/>
                    </a:cubicBezTo>
                    <a:cubicBezTo>
                      <a:pt x="208942" y="161657"/>
                      <a:pt x="211595" y="161657"/>
                      <a:pt x="213983" y="161657"/>
                    </a:cubicBezTo>
                    <a:cubicBezTo>
                      <a:pt x="222209" y="153432"/>
                      <a:pt x="230434" y="145206"/>
                      <a:pt x="238660" y="136981"/>
                    </a:cubicBezTo>
                    <a:cubicBezTo>
                      <a:pt x="242640" y="137777"/>
                      <a:pt x="246885" y="138573"/>
                      <a:pt x="250866" y="139369"/>
                    </a:cubicBezTo>
                    <a:cubicBezTo>
                      <a:pt x="259091" y="144145"/>
                      <a:pt x="260683" y="145206"/>
                      <a:pt x="263071" y="156616"/>
                    </a:cubicBezTo>
                    <a:cubicBezTo>
                      <a:pt x="245293" y="181558"/>
                      <a:pt x="215841" y="187395"/>
                      <a:pt x="194348" y="208357"/>
                    </a:cubicBezTo>
                    <a:cubicBezTo>
                      <a:pt x="158262" y="251076"/>
                      <a:pt x="122176" y="293531"/>
                      <a:pt x="86090" y="336250"/>
                    </a:cubicBezTo>
                    <a:cubicBezTo>
                      <a:pt x="69108" y="350048"/>
                      <a:pt x="58760" y="359600"/>
                      <a:pt x="14714" y="351109"/>
                    </a:cubicBezTo>
                    <a:cubicBezTo>
                      <a:pt x="3039" y="345272"/>
                      <a:pt x="-5983" y="333862"/>
                      <a:pt x="4896" y="329086"/>
                    </a:cubicBezTo>
                    <a:cubicBezTo>
                      <a:pt x="55576" y="318738"/>
                      <a:pt x="107317" y="264343"/>
                      <a:pt x="122972" y="220828"/>
                    </a:cubicBezTo>
                    <a:cubicBezTo>
                      <a:pt x="99357" y="226134"/>
                      <a:pt x="68577" y="250280"/>
                      <a:pt x="37002" y="238075"/>
                    </a:cubicBezTo>
                    <a:cubicBezTo>
                      <a:pt x="33818" y="236483"/>
                      <a:pt x="31961" y="235687"/>
                      <a:pt x="27184" y="233033"/>
                    </a:cubicBezTo>
                    <a:cubicBezTo>
                      <a:pt x="24000" y="221358"/>
                      <a:pt x="25858" y="218174"/>
                      <a:pt x="32226" y="213398"/>
                    </a:cubicBezTo>
                    <a:cubicBezTo>
                      <a:pt x="127748" y="198009"/>
                      <a:pt x="156670" y="195090"/>
                      <a:pt x="172325" y="117611"/>
                    </a:cubicBezTo>
                    <a:cubicBezTo>
                      <a:pt x="178693" y="105670"/>
                      <a:pt x="194348" y="86035"/>
                      <a:pt x="189572" y="65870"/>
                    </a:cubicBezTo>
                    <a:cubicBezTo>
                      <a:pt x="184531" y="44377"/>
                      <a:pt x="161977" y="35886"/>
                      <a:pt x="157731" y="9352"/>
                    </a:cubicBezTo>
                    <a:cubicBezTo>
                      <a:pt x="159058" y="596"/>
                      <a:pt x="167814" y="-2323"/>
                      <a:pt x="184265" y="1923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" name="íšļîdè">
                <a:extLst>
                  <a:ext uri="{FF2B5EF4-FFF2-40B4-BE49-F238E27FC236}">
                    <a16:creationId xmlns:a16="http://schemas.microsoft.com/office/drawing/2014/main" id="{2B3CF23C-FF6B-42EF-86F4-059C28552C28}"/>
                  </a:ext>
                </a:extLst>
              </p:cNvPr>
              <p:cNvSpPr/>
              <p:nvPr/>
            </p:nvSpPr>
            <p:spPr>
              <a:xfrm>
                <a:off x="2905824" y="1542784"/>
                <a:ext cx="284873" cy="305018"/>
              </a:xfrm>
              <a:custGeom>
                <a:avLst/>
                <a:gdLst>
                  <a:gd name="connsiteX0" fmla="*/ 95687 w 284873"/>
                  <a:gd name="connsiteY0" fmla="*/ 199004 h 305018"/>
                  <a:gd name="connsiteX1" fmla="*/ 107892 w 284873"/>
                  <a:gd name="connsiteY1" fmla="*/ 199004 h 305018"/>
                  <a:gd name="connsiteX2" fmla="*/ 152204 w 284873"/>
                  <a:gd name="connsiteY2" fmla="*/ 142487 h 305018"/>
                  <a:gd name="connsiteX3" fmla="*/ 186698 w 284873"/>
                  <a:gd name="connsiteY3" fmla="*/ 147529 h 305018"/>
                  <a:gd name="connsiteX4" fmla="*/ 211375 w 284873"/>
                  <a:gd name="connsiteY4" fmla="*/ 122852 h 305018"/>
                  <a:gd name="connsiteX5" fmla="*/ 238439 w 284873"/>
                  <a:gd name="connsiteY5" fmla="*/ 122852 h 305018"/>
                  <a:gd name="connsiteX6" fmla="*/ 255421 w 284873"/>
                  <a:gd name="connsiteY6" fmla="*/ 159469 h 305018"/>
                  <a:gd name="connsiteX7" fmla="*/ 240562 w 284873"/>
                  <a:gd name="connsiteY7" fmla="*/ 171674 h 305018"/>
                  <a:gd name="connsiteX8" fmla="*/ 255421 w 284873"/>
                  <a:gd name="connsiteY8" fmla="*/ 198739 h 305018"/>
                  <a:gd name="connsiteX9" fmla="*/ 211109 w 284873"/>
                  <a:gd name="connsiteY9" fmla="*/ 260298 h 305018"/>
                  <a:gd name="connsiteX10" fmla="*/ 284874 w 284873"/>
                  <a:gd name="connsiteY10" fmla="*/ 265339 h 305018"/>
                  <a:gd name="connsiteX11" fmla="*/ 282486 w 284873"/>
                  <a:gd name="connsiteY11" fmla="*/ 282586 h 305018"/>
                  <a:gd name="connsiteX12" fmla="*/ 171839 w 284873"/>
                  <a:gd name="connsiteY12" fmla="*/ 267727 h 305018"/>
                  <a:gd name="connsiteX13" fmla="*/ 201292 w 284873"/>
                  <a:gd name="connsiteY13" fmla="*/ 208822 h 305018"/>
                  <a:gd name="connsiteX14" fmla="*/ 198904 w 284873"/>
                  <a:gd name="connsiteY14" fmla="*/ 184145 h 305018"/>
                  <a:gd name="connsiteX15" fmla="*/ 216151 w 284873"/>
                  <a:gd name="connsiteY15" fmla="*/ 171940 h 305018"/>
                  <a:gd name="connsiteX16" fmla="*/ 213763 w 284873"/>
                  <a:gd name="connsiteY16" fmla="*/ 154693 h 305018"/>
                  <a:gd name="connsiteX17" fmla="*/ 149816 w 284873"/>
                  <a:gd name="connsiteY17" fmla="*/ 171940 h 305018"/>
                  <a:gd name="connsiteX18" fmla="*/ 100994 w 284873"/>
                  <a:gd name="connsiteY18" fmla="*/ 259502 h 305018"/>
                  <a:gd name="connsiteX19" fmla="*/ 81093 w 284873"/>
                  <a:gd name="connsiteY19" fmla="*/ 275157 h 305018"/>
                  <a:gd name="connsiteX20" fmla="*/ 65173 w 284873"/>
                  <a:gd name="connsiteY20" fmla="*/ 267993 h 305018"/>
                  <a:gd name="connsiteX21" fmla="*/ 29617 w 284873"/>
                  <a:gd name="connsiteY21" fmla="*/ 304609 h 305018"/>
                  <a:gd name="connsiteX22" fmla="*/ 2553 w 284873"/>
                  <a:gd name="connsiteY22" fmla="*/ 297180 h 305018"/>
                  <a:gd name="connsiteX23" fmla="*/ 71276 w 284873"/>
                  <a:gd name="connsiteY23" fmla="*/ 215986 h 305018"/>
                  <a:gd name="connsiteX24" fmla="*/ 71276 w 284873"/>
                  <a:gd name="connsiteY24" fmla="*/ 159469 h 305018"/>
                  <a:gd name="connsiteX25" fmla="*/ 61458 w 284873"/>
                  <a:gd name="connsiteY25" fmla="*/ 159469 h 305018"/>
                  <a:gd name="connsiteX26" fmla="*/ 29617 w 284873"/>
                  <a:gd name="connsiteY26" fmla="*/ 174328 h 305018"/>
                  <a:gd name="connsiteX27" fmla="*/ 17412 w 284873"/>
                  <a:gd name="connsiteY27" fmla="*/ 162122 h 305018"/>
                  <a:gd name="connsiteX28" fmla="*/ 135488 w 284873"/>
                  <a:gd name="connsiteY28" fmla="*/ 0 h 305018"/>
                  <a:gd name="connsiteX29" fmla="*/ 164940 w 284873"/>
                  <a:gd name="connsiteY29" fmla="*/ 9818 h 305018"/>
                  <a:gd name="connsiteX30" fmla="*/ 164940 w 284873"/>
                  <a:gd name="connsiteY30" fmla="*/ 12206 h 305018"/>
                  <a:gd name="connsiteX31" fmla="*/ 152735 w 284873"/>
                  <a:gd name="connsiteY31" fmla="*/ 53864 h 305018"/>
                  <a:gd name="connsiteX32" fmla="*/ 64377 w 284873"/>
                  <a:gd name="connsiteY32" fmla="*/ 125240 h 305018"/>
                  <a:gd name="connsiteX33" fmla="*/ 66765 w 284873"/>
                  <a:gd name="connsiteY33" fmla="*/ 130282 h 305018"/>
                  <a:gd name="connsiteX34" fmla="*/ 69153 w 284873"/>
                  <a:gd name="connsiteY34" fmla="*/ 130282 h 305018"/>
                  <a:gd name="connsiteX35" fmla="*/ 78970 w 284873"/>
                  <a:gd name="connsiteY35" fmla="*/ 127893 h 305018"/>
                  <a:gd name="connsiteX36" fmla="*/ 128058 w 284873"/>
                  <a:gd name="connsiteY36" fmla="*/ 83582 h 305018"/>
                  <a:gd name="connsiteX37" fmla="*/ 133100 w 284873"/>
                  <a:gd name="connsiteY37" fmla="*/ 85970 h 305018"/>
                  <a:gd name="connsiteX38" fmla="*/ 133100 w 284873"/>
                  <a:gd name="connsiteY38" fmla="*/ 117811 h 305018"/>
                  <a:gd name="connsiteX39" fmla="*/ 95687 w 284873"/>
                  <a:gd name="connsiteY39" fmla="*/ 199004 h 305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284873" h="305018">
                    <a:moveTo>
                      <a:pt x="95687" y="199004"/>
                    </a:moveTo>
                    <a:cubicBezTo>
                      <a:pt x="99667" y="199004"/>
                      <a:pt x="103912" y="199004"/>
                      <a:pt x="107892" y="199004"/>
                    </a:cubicBezTo>
                    <a:cubicBezTo>
                      <a:pt x="122751" y="180165"/>
                      <a:pt x="137345" y="161326"/>
                      <a:pt x="152204" y="142487"/>
                    </a:cubicBezTo>
                    <a:cubicBezTo>
                      <a:pt x="170778" y="145937"/>
                      <a:pt x="171574" y="153366"/>
                      <a:pt x="186698" y="147529"/>
                    </a:cubicBezTo>
                    <a:cubicBezTo>
                      <a:pt x="191740" y="137180"/>
                      <a:pt x="202353" y="129486"/>
                      <a:pt x="211375" y="122852"/>
                    </a:cubicBezTo>
                    <a:cubicBezTo>
                      <a:pt x="220396" y="122852"/>
                      <a:pt x="229418" y="122852"/>
                      <a:pt x="238439" y="122852"/>
                    </a:cubicBezTo>
                    <a:cubicBezTo>
                      <a:pt x="244807" y="138772"/>
                      <a:pt x="253298" y="138242"/>
                      <a:pt x="255421" y="159469"/>
                    </a:cubicBezTo>
                    <a:cubicBezTo>
                      <a:pt x="250380" y="163449"/>
                      <a:pt x="245604" y="167694"/>
                      <a:pt x="240562" y="171674"/>
                    </a:cubicBezTo>
                    <a:cubicBezTo>
                      <a:pt x="247196" y="184676"/>
                      <a:pt x="252768" y="179900"/>
                      <a:pt x="255421" y="198739"/>
                    </a:cubicBezTo>
                    <a:cubicBezTo>
                      <a:pt x="244807" y="223946"/>
                      <a:pt x="219335" y="235887"/>
                      <a:pt x="211109" y="260298"/>
                    </a:cubicBezTo>
                    <a:cubicBezTo>
                      <a:pt x="229418" y="266135"/>
                      <a:pt x="283282" y="232172"/>
                      <a:pt x="284874" y="265339"/>
                    </a:cubicBezTo>
                    <a:cubicBezTo>
                      <a:pt x="284078" y="271177"/>
                      <a:pt x="283282" y="276749"/>
                      <a:pt x="282486" y="282586"/>
                    </a:cubicBezTo>
                    <a:cubicBezTo>
                      <a:pt x="252502" y="291342"/>
                      <a:pt x="177677" y="306467"/>
                      <a:pt x="171839" y="267727"/>
                    </a:cubicBezTo>
                    <a:cubicBezTo>
                      <a:pt x="176085" y="236152"/>
                      <a:pt x="201823" y="239601"/>
                      <a:pt x="201292" y="208822"/>
                    </a:cubicBezTo>
                    <a:cubicBezTo>
                      <a:pt x="190944" y="194494"/>
                      <a:pt x="189086" y="198739"/>
                      <a:pt x="198904" y="184145"/>
                    </a:cubicBezTo>
                    <a:cubicBezTo>
                      <a:pt x="209517" y="181227"/>
                      <a:pt x="210579" y="179104"/>
                      <a:pt x="216151" y="171940"/>
                    </a:cubicBezTo>
                    <a:cubicBezTo>
                      <a:pt x="215355" y="166102"/>
                      <a:pt x="214559" y="160530"/>
                      <a:pt x="213763" y="154693"/>
                    </a:cubicBezTo>
                    <a:cubicBezTo>
                      <a:pt x="186167" y="187595"/>
                      <a:pt x="179003" y="173266"/>
                      <a:pt x="149816" y="171940"/>
                    </a:cubicBezTo>
                    <a:cubicBezTo>
                      <a:pt x="149020" y="173797"/>
                      <a:pt x="108954" y="212006"/>
                      <a:pt x="100994" y="259502"/>
                    </a:cubicBezTo>
                    <a:cubicBezTo>
                      <a:pt x="97279" y="281525"/>
                      <a:pt x="81358" y="274891"/>
                      <a:pt x="81093" y="275157"/>
                    </a:cubicBezTo>
                    <a:cubicBezTo>
                      <a:pt x="72602" y="273034"/>
                      <a:pt x="73398" y="266135"/>
                      <a:pt x="65173" y="267993"/>
                    </a:cubicBezTo>
                    <a:cubicBezTo>
                      <a:pt x="47395" y="275687"/>
                      <a:pt x="39435" y="292404"/>
                      <a:pt x="29617" y="304609"/>
                    </a:cubicBezTo>
                    <a:cubicBezTo>
                      <a:pt x="14758" y="305405"/>
                      <a:pt x="8390" y="305936"/>
                      <a:pt x="2553" y="297180"/>
                    </a:cubicBezTo>
                    <a:cubicBezTo>
                      <a:pt x="-13102" y="257379"/>
                      <a:pt x="47395" y="227396"/>
                      <a:pt x="71276" y="215986"/>
                    </a:cubicBezTo>
                    <a:cubicBezTo>
                      <a:pt x="71276" y="197147"/>
                      <a:pt x="71276" y="178308"/>
                      <a:pt x="71276" y="159469"/>
                    </a:cubicBezTo>
                    <a:cubicBezTo>
                      <a:pt x="68091" y="159469"/>
                      <a:pt x="64642" y="159469"/>
                      <a:pt x="61458" y="159469"/>
                    </a:cubicBezTo>
                    <a:cubicBezTo>
                      <a:pt x="50579" y="168490"/>
                      <a:pt x="50048" y="173532"/>
                      <a:pt x="29617" y="174328"/>
                    </a:cubicBezTo>
                    <a:cubicBezTo>
                      <a:pt x="25637" y="170348"/>
                      <a:pt x="21392" y="166102"/>
                      <a:pt x="17412" y="162122"/>
                    </a:cubicBezTo>
                    <a:cubicBezTo>
                      <a:pt x="24045" y="88623"/>
                      <a:pt x="116649" y="66069"/>
                      <a:pt x="135488" y="0"/>
                    </a:cubicBezTo>
                    <a:cubicBezTo>
                      <a:pt x="153531" y="0"/>
                      <a:pt x="155388" y="3184"/>
                      <a:pt x="164940" y="9818"/>
                    </a:cubicBezTo>
                    <a:cubicBezTo>
                      <a:pt x="164940" y="10614"/>
                      <a:pt x="164940" y="11410"/>
                      <a:pt x="164940" y="12206"/>
                    </a:cubicBezTo>
                    <a:cubicBezTo>
                      <a:pt x="165736" y="36351"/>
                      <a:pt x="161756" y="41924"/>
                      <a:pt x="152735" y="53864"/>
                    </a:cubicBezTo>
                    <a:cubicBezTo>
                      <a:pt x="116649" y="57579"/>
                      <a:pt x="71806" y="93134"/>
                      <a:pt x="64377" y="125240"/>
                    </a:cubicBezTo>
                    <a:cubicBezTo>
                      <a:pt x="65173" y="126832"/>
                      <a:pt x="65969" y="128424"/>
                      <a:pt x="66765" y="130282"/>
                    </a:cubicBezTo>
                    <a:cubicBezTo>
                      <a:pt x="67561" y="130282"/>
                      <a:pt x="68357" y="130282"/>
                      <a:pt x="69153" y="130282"/>
                    </a:cubicBezTo>
                    <a:cubicBezTo>
                      <a:pt x="72337" y="129486"/>
                      <a:pt x="75786" y="128690"/>
                      <a:pt x="78970" y="127893"/>
                    </a:cubicBezTo>
                    <a:cubicBezTo>
                      <a:pt x="100463" y="116749"/>
                      <a:pt x="102055" y="90746"/>
                      <a:pt x="128058" y="83582"/>
                    </a:cubicBezTo>
                    <a:cubicBezTo>
                      <a:pt x="129650" y="84378"/>
                      <a:pt x="131242" y="85174"/>
                      <a:pt x="133100" y="85970"/>
                    </a:cubicBezTo>
                    <a:cubicBezTo>
                      <a:pt x="138937" y="96849"/>
                      <a:pt x="136814" y="109054"/>
                      <a:pt x="133100" y="117811"/>
                    </a:cubicBezTo>
                    <a:cubicBezTo>
                      <a:pt x="106300" y="135323"/>
                      <a:pt x="94891" y="153366"/>
                      <a:pt x="95687" y="199004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" name="îŝľîďê">
                <a:extLst>
                  <a:ext uri="{FF2B5EF4-FFF2-40B4-BE49-F238E27FC236}">
                    <a16:creationId xmlns:a16="http://schemas.microsoft.com/office/drawing/2014/main" id="{BE84B2DE-B842-4EEF-9183-AB6AE522DBE8}"/>
                  </a:ext>
                </a:extLst>
              </p:cNvPr>
              <p:cNvSpPr/>
              <p:nvPr/>
            </p:nvSpPr>
            <p:spPr>
              <a:xfrm>
                <a:off x="3095174" y="1535800"/>
                <a:ext cx="120200" cy="104941"/>
              </a:xfrm>
              <a:custGeom>
                <a:avLst/>
                <a:gdLst>
                  <a:gd name="connsiteX0" fmla="*/ 83318 w 120200"/>
                  <a:gd name="connsiteY0" fmla="*/ 6719 h 104941"/>
                  <a:gd name="connsiteX1" fmla="*/ 120200 w 120200"/>
                  <a:gd name="connsiteY1" fmla="*/ 9107 h 104941"/>
                  <a:gd name="connsiteX2" fmla="*/ 117812 w 120200"/>
                  <a:gd name="connsiteY2" fmla="*/ 26354 h 104941"/>
                  <a:gd name="connsiteX3" fmla="*/ 53866 w 120200"/>
                  <a:gd name="connsiteY3" fmla="*/ 104894 h 104941"/>
                  <a:gd name="connsiteX4" fmla="*/ 4778 w 120200"/>
                  <a:gd name="connsiteY4" fmla="*/ 95077 h 104941"/>
                  <a:gd name="connsiteX5" fmla="*/ 7166 w 120200"/>
                  <a:gd name="connsiteY5" fmla="*/ 60583 h 104941"/>
                  <a:gd name="connsiteX6" fmla="*/ 45375 w 120200"/>
                  <a:gd name="connsiteY6" fmla="*/ 69870 h 104941"/>
                  <a:gd name="connsiteX7" fmla="*/ 83318 w 120200"/>
                  <a:gd name="connsiteY7" fmla="*/ 6719 h 104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0200" h="104941">
                    <a:moveTo>
                      <a:pt x="83318" y="6719"/>
                    </a:moveTo>
                    <a:cubicBezTo>
                      <a:pt x="97646" y="-4160"/>
                      <a:pt x="107995" y="-711"/>
                      <a:pt x="120200" y="9107"/>
                    </a:cubicBezTo>
                    <a:cubicBezTo>
                      <a:pt x="119404" y="14944"/>
                      <a:pt x="118608" y="20516"/>
                      <a:pt x="117812" y="26354"/>
                    </a:cubicBezTo>
                    <a:cubicBezTo>
                      <a:pt x="117016" y="27946"/>
                      <a:pt x="74562" y="59256"/>
                      <a:pt x="53866" y="104894"/>
                    </a:cubicBezTo>
                    <a:cubicBezTo>
                      <a:pt x="30250" y="105425"/>
                      <a:pt x="19902" y="101445"/>
                      <a:pt x="4778" y="95077"/>
                    </a:cubicBezTo>
                    <a:cubicBezTo>
                      <a:pt x="-1060" y="87117"/>
                      <a:pt x="-2917" y="79952"/>
                      <a:pt x="7166" y="60583"/>
                    </a:cubicBezTo>
                    <a:cubicBezTo>
                      <a:pt x="34230" y="54480"/>
                      <a:pt x="24944" y="75176"/>
                      <a:pt x="45375" y="69870"/>
                    </a:cubicBezTo>
                    <a:cubicBezTo>
                      <a:pt x="56254" y="46254"/>
                      <a:pt x="72705" y="35110"/>
                      <a:pt x="83318" y="6719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" name="işliḋé">
                <a:extLst>
                  <a:ext uri="{FF2B5EF4-FFF2-40B4-BE49-F238E27FC236}">
                    <a16:creationId xmlns:a16="http://schemas.microsoft.com/office/drawing/2014/main" id="{BA1E71AA-BAB7-43F0-99DD-1146277190F3}"/>
                  </a:ext>
                </a:extLst>
              </p:cNvPr>
              <p:cNvSpPr/>
              <p:nvPr/>
            </p:nvSpPr>
            <p:spPr>
              <a:xfrm>
                <a:off x="2064775" y="1557378"/>
                <a:ext cx="46787" cy="62206"/>
              </a:xfrm>
              <a:custGeom>
                <a:avLst/>
                <a:gdLst>
                  <a:gd name="connsiteX0" fmla="*/ 5130 w 46787"/>
                  <a:gd name="connsiteY0" fmla="*/ 0 h 62206"/>
                  <a:gd name="connsiteX1" fmla="*/ 46788 w 46787"/>
                  <a:gd name="connsiteY1" fmla="*/ 41658 h 62206"/>
                  <a:gd name="connsiteX2" fmla="*/ 88 w 46787"/>
                  <a:gd name="connsiteY2" fmla="*/ 56517 h 62206"/>
                  <a:gd name="connsiteX3" fmla="*/ 5130 w 46787"/>
                  <a:gd name="connsiteY3" fmla="*/ 0 h 62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787" h="62206">
                    <a:moveTo>
                      <a:pt x="5130" y="0"/>
                    </a:moveTo>
                    <a:cubicBezTo>
                      <a:pt x="29010" y="3715"/>
                      <a:pt x="42542" y="18574"/>
                      <a:pt x="46788" y="41658"/>
                    </a:cubicBezTo>
                    <a:cubicBezTo>
                      <a:pt x="29275" y="56517"/>
                      <a:pt x="21315" y="70315"/>
                      <a:pt x="88" y="56517"/>
                    </a:cubicBezTo>
                    <a:cubicBezTo>
                      <a:pt x="-177" y="35290"/>
                      <a:pt x="-177" y="12206"/>
                      <a:pt x="5130" y="0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" name="islîḋe">
                <a:extLst>
                  <a:ext uri="{FF2B5EF4-FFF2-40B4-BE49-F238E27FC236}">
                    <a16:creationId xmlns:a16="http://schemas.microsoft.com/office/drawing/2014/main" id="{209EB45A-16EE-49DF-A1E0-6B88CC80DD6E}"/>
                  </a:ext>
                </a:extLst>
              </p:cNvPr>
              <p:cNvSpPr/>
              <p:nvPr/>
            </p:nvSpPr>
            <p:spPr>
              <a:xfrm>
                <a:off x="2645126" y="1579301"/>
                <a:ext cx="140398" cy="160099"/>
              </a:xfrm>
              <a:custGeom>
                <a:avLst/>
                <a:gdLst>
                  <a:gd name="connsiteX0" fmla="*/ 78840 w 140398"/>
                  <a:gd name="connsiteY0" fmla="*/ 100 h 160099"/>
                  <a:gd name="connsiteX1" fmla="*/ 132969 w 140398"/>
                  <a:gd name="connsiteY1" fmla="*/ 19735 h 160099"/>
                  <a:gd name="connsiteX2" fmla="*/ 140399 w 140398"/>
                  <a:gd name="connsiteY2" fmla="*/ 34594 h 160099"/>
                  <a:gd name="connsiteX3" fmla="*/ 140399 w 140398"/>
                  <a:gd name="connsiteY3" fmla="*/ 51841 h 160099"/>
                  <a:gd name="connsiteX4" fmla="*/ 27364 w 140398"/>
                  <a:gd name="connsiteY4" fmla="*/ 160100 h 160099"/>
                  <a:gd name="connsiteX5" fmla="*/ 24976 w 140398"/>
                  <a:gd name="connsiteY5" fmla="*/ 142853 h 160099"/>
                  <a:gd name="connsiteX6" fmla="*/ 103516 w 140398"/>
                  <a:gd name="connsiteY6" fmla="*/ 42024 h 160099"/>
                  <a:gd name="connsiteX7" fmla="*/ 98475 w 140398"/>
                  <a:gd name="connsiteY7" fmla="*/ 24777 h 160099"/>
                  <a:gd name="connsiteX8" fmla="*/ 88657 w 140398"/>
                  <a:gd name="connsiteY8" fmla="*/ 24777 h 160099"/>
                  <a:gd name="connsiteX9" fmla="*/ 29752 w 140398"/>
                  <a:gd name="connsiteY9" fmla="*/ 54229 h 160099"/>
                  <a:gd name="connsiteX10" fmla="*/ 2688 w 140398"/>
                  <a:gd name="connsiteY10" fmla="*/ 34594 h 160099"/>
                  <a:gd name="connsiteX11" fmla="*/ 2688 w 140398"/>
                  <a:gd name="connsiteY11" fmla="*/ 17347 h 160099"/>
                  <a:gd name="connsiteX12" fmla="*/ 78840 w 140398"/>
                  <a:gd name="connsiteY12" fmla="*/ 100 h 160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40398" h="160099">
                    <a:moveTo>
                      <a:pt x="78840" y="100"/>
                    </a:moveTo>
                    <a:cubicBezTo>
                      <a:pt x="112273" y="-961"/>
                      <a:pt x="116253" y="6468"/>
                      <a:pt x="132969" y="19735"/>
                    </a:cubicBezTo>
                    <a:cubicBezTo>
                      <a:pt x="135357" y="24777"/>
                      <a:pt x="138011" y="29553"/>
                      <a:pt x="140399" y="34594"/>
                    </a:cubicBezTo>
                    <a:cubicBezTo>
                      <a:pt x="140399" y="40432"/>
                      <a:pt x="140399" y="46004"/>
                      <a:pt x="140399" y="51841"/>
                    </a:cubicBezTo>
                    <a:cubicBezTo>
                      <a:pt x="78309" y="100133"/>
                      <a:pt x="69553" y="151874"/>
                      <a:pt x="27364" y="160100"/>
                    </a:cubicBezTo>
                    <a:cubicBezTo>
                      <a:pt x="21792" y="157181"/>
                      <a:pt x="20465" y="152139"/>
                      <a:pt x="24976" y="142853"/>
                    </a:cubicBezTo>
                    <a:cubicBezTo>
                      <a:pt x="51245" y="109155"/>
                      <a:pt x="77513" y="75722"/>
                      <a:pt x="103516" y="42024"/>
                    </a:cubicBezTo>
                    <a:cubicBezTo>
                      <a:pt x="101924" y="36186"/>
                      <a:pt x="100332" y="30614"/>
                      <a:pt x="98475" y="24777"/>
                    </a:cubicBezTo>
                    <a:cubicBezTo>
                      <a:pt x="95291" y="24777"/>
                      <a:pt x="91841" y="24777"/>
                      <a:pt x="88657" y="24777"/>
                    </a:cubicBezTo>
                    <a:cubicBezTo>
                      <a:pt x="75921" y="42820"/>
                      <a:pt x="61062" y="54229"/>
                      <a:pt x="29752" y="54229"/>
                    </a:cubicBezTo>
                    <a:cubicBezTo>
                      <a:pt x="15954" y="45208"/>
                      <a:pt x="8525" y="42554"/>
                      <a:pt x="2688" y="34594"/>
                    </a:cubicBezTo>
                    <a:cubicBezTo>
                      <a:pt x="-762" y="28757"/>
                      <a:pt x="-1027" y="25042"/>
                      <a:pt x="2688" y="17347"/>
                    </a:cubicBezTo>
                    <a:cubicBezTo>
                      <a:pt x="19404" y="1958"/>
                      <a:pt x="44346" y="14163"/>
                      <a:pt x="78840" y="100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" name="iṡľïḓê">
                <a:extLst>
                  <a:ext uri="{FF2B5EF4-FFF2-40B4-BE49-F238E27FC236}">
                    <a16:creationId xmlns:a16="http://schemas.microsoft.com/office/drawing/2014/main" id="{07AEEDCB-1495-4775-9FA9-099A1B74E43C}"/>
                  </a:ext>
                </a:extLst>
              </p:cNvPr>
              <p:cNvSpPr/>
              <p:nvPr/>
            </p:nvSpPr>
            <p:spPr>
              <a:xfrm>
                <a:off x="1880717" y="1584812"/>
                <a:ext cx="88826" cy="62538"/>
              </a:xfrm>
              <a:custGeom>
                <a:avLst/>
                <a:gdLst>
                  <a:gd name="connsiteX0" fmla="*/ 71376 w 88826"/>
                  <a:gd name="connsiteY0" fmla="*/ 2019 h 62538"/>
                  <a:gd name="connsiteX1" fmla="*/ 86235 w 88826"/>
                  <a:gd name="connsiteY1" fmla="*/ 4407 h 62538"/>
                  <a:gd name="connsiteX2" fmla="*/ 86235 w 88826"/>
                  <a:gd name="connsiteY2" fmla="*/ 38901 h 62538"/>
                  <a:gd name="connsiteX3" fmla="*/ 2388 w 88826"/>
                  <a:gd name="connsiteY3" fmla="*/ 53494 h 62538"/>
                  <a:gd name="connsiteX4" fmla="*/ 0 w 88826"/>
                  <a:gd name="connsiteY4" fmla="*/ 46330 h 62538"/>
                  <a:gd name="connsiteX5" fmla="*/ 71376 w 88826"/>
                  <a:gd name="connsiteY5" fmla="*/ 2019 h 62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8826" h="62538">
                    <a:moveTo>
                      <a:pt x="71376" y="2019"/>
                    </a:moveTo>
                    <a:cubicBezTo>
                      <a:pt x="75887" y="-635"/>
                      <a:pt x="81990" y="-1431"/>
                      <a:pt x="86235" y="4407"/>
                    </a:cubicBezTo>
                    <a:cubicBezTo>
                      <a:pt x="89419" y="12367"/>
                      <a:pt x="89950" y="24838"/>
                      <a:pt x="86235" y="38901"/>
                    </a:cubicBezTo>
                    <a:cubicBezTo>
                      <a:pt x="65008" y="68884"/>
                      <a:pt x="38474" y="66231"/>
                      <a:pt x="2388" y="53494"/>
                    </a:cubicBezTo>
                    <a:cubicBezTo>
                      <a:pt x="1592" y="51106"/>
                      <a:pt x="796" y="48718"/>
                      <a:pt x="0" y="46330"/>
                    </a:cubicBezTo>
                    <a:cubicBezTo>
                      <a:pt x="5307" y="20327"/>
                      <a:pt x="50149" y="27226"/>
                      <a:pt x="71376" y="2019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4" name="ïŝľíďe">
                <a:extLst>
                  <a:ext uri="{FF2B5EF4-FFF2-40B4-BE49-F238E27FC236}">
                    <a16:creationId xmlns:a16="http://schemas.microsoft.com/office/drawing/2014/main" id="{8934D43A-4801-456B-9457-CEB8C678B50C}"/>
                  </a:ext>
                </a:extLst>
              </p:cNvPr>
              <p:cNvSpPr/>
              <p:nvPr/>
            </p:nvSpPr>
            <p:spPr>
              <a:xfrm>
                <a:off x="3591360" y="1628792"/>
                <a:ext cx="300654" cy="123065"/>
              </a:xfrm>
              <a:custGeom>
                <a:avLst/>
                <a:gdLst>
                  <a:gd name="connsiteX0" fmla="*/ 238540 w 300654"/>
                  <a:gd name="connsiteY0" fmla="*/ 4738 h 123065"/>
                  <a:gd name="connsiteX1" fmla="*/ 299303 w 300654"/>
                  <a:gd name="connsiteY1" fmla="*/ 3146 h 123065"/>
                  <a:gd name="connsiteX2" fmla="*/ 297445 w 300654"/>
                  <a:gd name="connsiteY2" fmla="*/ 19597 h 123065"/>
                  <a:gd name="connsiteX3" fmla="*/ 228723 w 300654"/>
                  <a:gd name="connsiteY3" fmla="*/ 51438 h 123065"/>
                  <a:gd name="connsiteX4" fmla="*/ 250746 w 300654"/>
                  <a:gd name="connsiteY4" fmla="*/ 31803 h 123065"/>
                  <a:gd name="connsiteX5" fmla="*/ 248358 w 300654"/>
                  <a:gd name="connsiteY5" fmla="*/ 21985 h 123065"/>
                  <a:gd name="connsiteX6" fmla="*/ 17247 w 300654"/>
                  <a:gd name="connsiteY6" fmla="*/ 120426 h 123065"/>
                  <a:gd name="connsiteX7" fmla="*/ 0 w 300654"/>
                  <a:gd name="connsiteY7" fmla="*/ 100791 h 123065"/>
                  <a:gd name="connsiteX8" fmla="*/ 0 w 300654"/>
                  <a:gd name="connsiteY8" fmla="*/ 95749 h 123065"/>
                  <a:gd name="connsiteX9" fmla="*/ 17247 w 300654"/>
                  <a:gd name="connsiteY9" fmla="*/ 83544 h 123065"/>
                  <a:gd name="connsiteX10" fmla="*/ 71376 w 300654"/>
                  <a:gd name="connsiteY10" fmla="*/ 81156 h 123065"/>
                  <a:gd name="connsiteX11" fmla="*/ 238540 w 300654"/>
                  <a:gd name="connsiteY11" fmla="*/ 4738 h 123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00654" h="123065">
                    <a:moveTo>
                      <a:pt x="238540" y="4738"/>
                    </a:moveTo>
                    <a:cubicBezTo>
                      <a:pt x="256052" y="227"/>
                      <a:pt x="280464" y="-2426"/>
                      <a:pt x="299303" y="3146"/>
                    </a:cubicBezTo>
                    <a:cubicBezTo>
                      <a:pt x="301956" y="12167"/>
                      <a:pt x="300364" y="16944"/>
                      <a:pt x="297445" y="19597"/>
                    </a:cubicBezTo>
                    <a:cubicBezTo>
                      <a:pt x="286036" y="34456"/>
                      <a:pt x="242255" y="65766"/>
                      <a:pt x="228723" y="51438"/>
                    </a:cubicBezTo>
                    <a:cubicBezTo>
                      <a:pt x="236152" y="44804"/>
                      <a:pt x="243581" y="38436"/>
                      <a:pt x="250746" y="31803"/>
                    </a:cubicBezTo>
                    <a:cubicBezTo>
                      <a:pt x="252603" y="27557"/>
                      <a:pt x="251542" y="23842"/>
                      <a:pt x="248358" y="21985"/>
                    </a:cubicBezTo>
                    <a:cubicBezTo>
                      <a:pt x="164776" y="28088"/>
                      <a:pt x="101094" y="141653"/>
                      <a:pt x="17247" y="120426"/>
                    </a:cubicBezTo>
                    <a:cubicBezTo>
                      <a:pt x="7960" y="117242"/>
                      <a:pt x="3184" y="113262"/>
                      <a:pt x="0" y="100791"/>
                    </a:cubicBezTo>
                    <a:cubicBezTo>
                      <a:pt x="0" y="99199"/>
                      <a:pt x="0" y="97607"/>
                      <a:pt x="0" y="95749"/>
                    </a:cubicBezTo>
                    <a:cubicBezTo>
                      <a:pt x="796" y="89646"/>
                      <a:pt x="6368" y="85136"/>
                      <a:pt x="17247" y="83544"/>
                    </a:cubicBezTo>
                    <a:cubicBezTo>
                      <a:pt x="35290" y="82748"/>
                      <a:pt x="53333" y="81952"/>
                      <a:pt x="71376" y="81156"/>
                    </a:cubicBezTo>
                    <a:cubicBezTo>
                      <a:pt x="107993" y="69215"/>
                      <a:pt x="215190" y="29414"/>
                      <a:pt x="238540" y="4738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" name="isḷïḓe">
                <a:extLst>
                  <a:ext uri="{FF2B5EF4-FFF2-40B4-BE49-F238E27FC236}">
                    <a16:creationId xmlns:a16="http://schemas.microsoft.com/office/drawing/2014/main" id="{5CD676C1-2BA8-417B-9C84-1D788F1874C0}"/>
                  </a:ext>
                </a:extLst>
              </p:cNvPr>
              <p:cNvSpPr/>
              <p:nvPr/>
            </p:nvSpPr>
            <p:spPr>
              <a:xfrm>
                <a:off x="2207881" y="1638306"/>
                <a:ext cx="95787" cy="225007"/>
              </a:xfrm>
              <a:custGeom>
                <a:avLst/>
                <a:gdLst>
                  <a:gd name="connsiteX0" fmla="*/ 51476 w 95787"/>
                  <a:gd name="connsiteY0" fmla="*/ 0 h 225007"/>
                  <a:gd name="connsiteX1" fmla="*/ 58905 w 95787"/>
                  <a:gd name="connsiteY1" fmla="*/ 0 h 225007"/>
                  <a:gd name="connsiteX2" fmla="*/ 95787 w 95787"/>
                  <a:gd name="connsiteY2" fmla="*/ 29453 h 225007"/>
                  <a:gd name="connsiteX3" fmla="*/ 71111 w 95787"/>
                  <a:gd name="connsiteY3" fmla="*/ 76152 h 225007"/>
                  <a:gd name="connsiteX4" fmla="*/ 38740 w 95787"/>
                  <a:gd name="connsiteY4" fmla="*/ 225008 h 225007"/>
                  <a:gd name="connsiteX5" fmla="*/ 0 w 95787"/>
                  <a:gd name="connsiteY5" fmla="*/ 183615 h 225007"/>
                  <a:gd name="connsiteX6" fmla="*/ 25207 w 95787"/>
                  <a:gd name="connsiteY6" fmla="*/ 69784 h 225007"/>
                  <a:gd name="connsiteX7" fmla="*/ 51476 w 95787"/>
                  <a:gd name="connsiteY7" fmla="*/ 0 h 225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5787" h="225007">
                    <a:moveTo>
                      <a:pt x="51476" y="0"/>
                    </a:moveTo>
                    <a:cubicBezTo>
                      <a:pt x="53864" y="0"/>
                      <a:pt x="56517" y="0"/>
                      <a:pt x="58905" y="0"/>
                    </a:cubicBezTo>
                    <a:cubicBezTo>
                      <a:pt x="72703" y="10879"/>
                      <a:pt x="71642" y="24942"/>
                      <a:pt x="95787" y="29453"/>
                    </a:cubicBezTo>
                    <a:cubicBezTo>
                      <a:pt x="94461" y="59436"/>
                      <a:pt x="78806" y="58375"/>
                      <a:pt x="71111" y="76152"/>
                    </a:cubicBezTo>
                    <a:cubicBezTo>
                      <a:pt x="47761" y="112504"/>
                      <a:pt x="63681" y="189718"/>
                      <a:pt x="38740" y="225008"/>
                    </a:cubicBezTo>
                    <a:cubicBezTo>
                      <a:pt x="-3184" y="219966"/>
                      <a:pt x="3184" y="195555"/>
                      <a:pt x="0" y="183615"/>
                    </a:cubicBezTo>
                    <a:cubicBezTo>
                      <a:pt x="39536" y="103217"/>
                      <a:pt x="11410" y="82520"/>
                      <a:pt x="25207" y="69784"/>
                    </a:cubicBezTo>
                    <a:cubicBezTo>
                      <a:pt x="46965" y="49353"/>
                      <a:pt x="22819" y="11940"/>
                      <a:pt x="51476" y="0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6" name="íṥľîḍê">
                <a:extLst>
                  <a:ext uri="{FF2B5EF4-FFF2-40B4-BE49-F238E27FC236}">
                    <a16:creationId xmlns:a16="http://schemas.microsoft.com/office/drawing/2014/main" id="{B3434AD3-BCCF-48D2-AB55-A8BA4469A1C6}"/>
                  </a:ext>
                </a:extLst>
              </p:cNvPr>
              <p:cNvSpPr/>
              <p:nvPr/>
            </p:nvSpPr>
            <p:spPr>
              <a:xfrm>
                <a:off x="3696145" y="1672800"/>
                <a:ext cx="237721" cy="189452"/>
              </a:xfrm>
              <a:custGeom>
                <a:avLst/>
                <a:gdLst>
                  <a:gd name="connsiteX0" fmla="*/ 129775 w 237721"/>
                  <a:gd name="connsiteY0" fmla="*/ 68458 h 189452"/>
                  <a:gd name="connsiteX1" fmla="*/ 128713 w 237721"/>
                  <a:gd name="connsiteY1" fmla="*/ 182023 h 189452"/>
                  <a:gd name="connsiteX2" fmla="*/ 116508 w 237721"/>
                  <a:gd name="connsiteY2" fmla="*/ 189452 h 189452"/>
                  <a:gd name="connsiteX3" fmla="*/ 1085 w 237721"/>
                  <a:gd name="connsiteY3" fmla="*/ 140364 h 189452"/>
                  <a:gd name="connsiteX4" fmla="*/ 8515 w 237721"/>
                  <a:gd name="connsiteY4" fmla="*/ 132935 h 189452"/>
                  <a:gd name="connsiteX5" fmla="*/ 94484 w 237721"/>
                  <a:gd name="connsiteY5" fmla="*/ 140364 h 189452"/>
                  <a:gd name="connsiteX6" fmla="*/ 94219 w 237721"/>
                  <a:gd name="connsiteY6" fmla="*/ 81990 h 189452"/>
                  <a:gd name="connsiteX7" fmla="*/ 40621 w 237721"/>
                  <a:gd name="connsiteY7" fmla="*/ 81194 h 189452"/>
                  <a:gd name="connsiteX8" fmla="*/ 45397 w 237721"/>
                  <a:gd name="connsiteY8" fmla="*/ 55987 h 189452"/>
                  <a:gd name="connsiteX9" fmla="*/ 207784 w 237721"/>
                  <a:gd name="connsiteY9" fmla="*/ 0 h 189452"/>
                  <a:gd name="connsiteX10" fmla="*/ 234849 w 237721"/>
                  <a:gd name="connsiteY10" fmla="*/ 14859 h 189452"/>
                  <a:gd name="connsiteX11" fmla="*/ 236176 w 237721"/>
                  <a:gd name="connsiteY11" fmla="*/ 30514 h 189452"/>
                  <a:gd name="connsiteX12" fmla="*/ 129775 w 237721"/>
                  <a:gd name="connsiteY12" fmla="*/ 68458 h 189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7721" h="189452">
                    <a:moveTo>
                      <a:pt x="129775" y="68458"/>
                    </a:moveTo>
                    <a:cubicBezTo>
                      <a:pt x="123406" y="108258"/>
                      <a:pt x="127121" y="144345"/>
                      <a:pt x="128713" y="182023"/>
                    </a:cubicBezTo>
                    <a:cubicBezTo>
                      <a:pt x="128713" y="188656"/>
                      <a:pt x="123406" y="189452"/>
                      <a:pt x="116508" y="189452"/>
                    </a:cubicBezTo>
                    <a:cubicBezTo>
                      <a:pt x="91300" y="188656"/>
                      <a:pt x="26027" y="160796"/>
                      <a:pt x="1085" y="140364"/>
                    </a:cubicBezTo>
                    <a:cubicBezTo>
                      <a:pt x="-507" y="136119"/>
                      <a:pt x="-1834" y="132139"/>
                      <a:pt x="8515" y="132935"/>
                    </a:cubicBezTo>
                    <a:cubicBezTo>
                      <a:pt x="31599" y="140630"/>
                      <a:pt x="70338" y="151774"/>
                      <a:pt x="94484" y="140364"/>
                    </a:cubicBezTo>
                    <a:cubicBezTo>
                      <a:pt x="96607" y="120464"/>
                      <a:pt x="100587" y="97114"/>
                      <a:pt x="94219" y="81990"/>
                    </a:cubicBezTo>
                    <a:cubicBezTo>
                      <a:pt x="71400" y="90481"/>
                      <a:pt x="50703" y="91277"/>
                      <a:pt x="40621" y="81194"/>
                    </a:cubicBezTo>
                    <a:cubicBezTo>
                      <a:pt x="37171" y="77479"/>
                      <a:pt x="31334" y="64477"/>
                      <a:pt x="45397" y="55987"/>
                    </a:cubicBezTo>
                    <a:cubicBezTo>
                      <a:pt x="95280" y="52803"/>
                      <a:pt x="149940" y="29187"/>
                      <a:pt x="207784" y="0"/>
                    </a:cubicBezTo>
                    <a:cubicBezTo>
                      <a:pt x="219194" y="3449"/>
                      <a:pt x="229011" y="5307"/>
                      <a:pt x="234849" y="14859"/>
                    </a:cubicBezTo>
                    <a:cubicBezTo>
                      <a:pt x="236972" y="22554"/>
                      <a:pt x="239360" y="23615"/>
                      <a:pt x="236176" y="30514"/>
                    </a:cubicBezTo>
                    <a:cubicBezTo>
                      <a:pt x="174882" y="44046"/>
                      <a:pt x="183638" y="58375"/>
                      <a:pt x="129775" y="68458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7" name="îṥḻíḑè">
                <a:extLst>
                  <a:ext uri="{FF2B5EF4-FFF2-40B4-BE49-F238E27FC236}">
                    <a16:creationId xmlns:a16="http://schemas.microsoft.com/office/drawing/2014/main" id="{DE6AEF31-5CC8-409A-B7AB-7CB2913BC22A}"/>
                  </a:ext>
                </a:extLst>
              </p:cNvPr>
              <p:cNvSpPr/>
              <p:nvPr/>
            </p:nvSpPr>
            <p:spPr>
              <a:xfrm>
                <a:off x="2543663" y="1711550"/>
                <a:ext cx="278478" cy="118301"/>
              </a:xfrm>
              <a:custGeom>
                <a:avLst/>
                <a:gdLst>
                  <a:gd name="connsiteX0" fmla="*/ 229391 w 278478"/>
                  <a:gd name="connsiteY0" fmla="*/ 5562 h 118301"/>
                  <a:gd name="connsiteX1" fmla="*/ 278479 w 278478"/>
                  <a:gd name="connsiteY1" fmla="*/ 12992 h 118301"/>
                  <a:gd name="connsiteX2" fmla="*/ 278479 w 278478"/>
                  <a:gd name="connsiteY2" fmla="*/ 20421 h 118301"/>
                  <a:gd name="connsiteX3" fmla="*/ 212144 w 278478"/>
                  <a:gd name="connsiteY3" fmla="*/ 59692 h 118301"/>
                  <a:gd name="connsiteX4" fmla="*/ 177650 w 278478"/>
                  <a:gd name="connsiteY4" fmla="*/ 52262 h 118301"/>
                  <a:gd name="connsiteX5" fmla="*/ 76821 w 278478"/>
                  <a:gd name="connsiteY5" fmla="*/ 113821 h 118301"/>
                  <a:gd name="connsiteX6" fmla="*/ 3056 w 278478"/>
                  <a:gd name="connsiteY6" fmla="*/ 108779 h 118301"/>
                  <a:gd name="connsiteX7" fmla="*/ 8098 w 278478"/>
                  <a:gd name="connsiteY7" fmla="*/ 84103 h 118301"/>
                  <a:gd name="connsiteX8" fmla="*/ 229391 w 278478"/>
                  <a:gd name="connsiteY8" fmla="*/ 5562 h 118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8478" h="118301">
                    <a:moveTo>
                      <a:pt x="229391" y="5562"/>
                    </a:moveTo>
                    <a:cubicBezTo>
                      <a:pt x="247699" y="-6378"/>
                      <a:pt x="269722" y="3174"/>
                      <a:pt x="278479" y="12992"/>
                    </a:cubicBezTo>
                    <a:cubicBezTo>
                      <a:pt x="278479" y="15380"/>
                      <a:pt x="278479" y="18033"/>
                      <a:pt x="278479" y="20421"/>
                    </a:cubicBezTo>
                    <a:cubicBezTo>
                      <a:pt x="267334" y="28912"/>
                      <a:pt x="240004" y="67917"/>
                      <a:pt x="212144" y="59692"/>
                    </a:cubicBezTo>
                    <a:cubicBezTo>
                      <a:pt x="203122" y="56242"/>
                      <a:pt x="196489" y="45098"/>
                      <a:pt x="177650" y="52262"/>
                    </a:cubicBezTo>
                    <a:cubicBezTo>
                      <a:pt x="143952" y="72693"/>
                      <a:pt x="110519" y="93124"/>
                      <a:pt x="76821" y="113821"/>
                    </a:cubicBezTo>
                    <a:cubicBezTo>
                      <a:pt x="57982" y="119393"/>
                      <a:pt x="18446" y="121781"/>
                      <a:pt x="3056" y="108779"/>
                    </a:cubicBezTo>
                    <a:cubicBezTo>
                      <a:pt x="-1189" y="101350"/>
                      <a:pt x="-2250" y="95778"/>
                      <a:pt x="8098" y="84103"/>
                    </a:cubicBezTo>
                    <a:cubicBezTo>
                      <a:pt x="62758" y="77204"/>
                      <a:pt x="189855" y="33688"/>
                      <a:pt x="229391" y="5562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8" name="ïṣļíḍé">
                <a:extLst>
                  <a:ext uri="{FF2B5EF4-FFF2-40B4-BE49-F238E27FC236}">
                    <a16:creationId xmlns:a16="http://schemas.microsoft.com/office/drawing/2014/main" id="{C715F73D-1240-49D6-8FFD-8E1A1F9FF8FC}"/>
                  </a:ext>
                </a:extLst>
              </p:cNvPr>
              <p:cNvSpPr/>
              <p:nvPr/>
            </p:nvSpPr>
            <p:spPr>
              <a:xfrm>
                <a:off x="1844101" y="1751606"/>
                <a:ext cx="47525" cy="66600"/>
              </a:xfrm>
              <a:custGeom>
                <a:avLst/>
                <a:gdLst>
                  <a:gd name="connsiteX0" fmla="*/ 31841 w 47525"/>
                  <a:gd name="connsiteY0" fmla="*/ 0 h 66600"/>
                  <a:gd name="connsiteX1" fmla="*/ 41658 w 47525"/>
                  <a:gd name="connsiteY1" fmla="*/ 51741 h 66600"/>
                  <a:gd name="connsiteX2" fmla="*/ 9818 w 47525"/>
                  <a:gd name="connsiteY2" fmla="*/ 66600 h 66600"/>
                  <a:gd name="connsiteX3" fmla="*/ 0 w 47525"/>
                  <a:gd name="connsiteY3" fmla="*/ 46965 h 66600"/>
                  <a:gd name="connsiteX4" fmla="*/ 31841 w 47525"/>
                  <a:gd name="connsiteY4" fmla="*/ 0 h 66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525" h="66600">
                    <a:moveTo>
                      <a:pt x="31841" y="0"/>
                    </a:moveTo>
                    <a:cubicBezTo>
                      <a:pt x="49884" y="3715"/>
                      <a:pt x="51210" y="33167"/>
                      <a:pt x="41658" y="51741"/>
                    </a:cubicBezTo>
                    <a:cubicBezTo>
                      <a:pt x="30779" y="61559"/>
                      <a:pt x="25738" y="63681"/>
                      <a:pt x="9818" y="66600"/>
                    </a:cubicBezTo>
                    <a:cubicBezTo>
                      <a:pt x="3715" y="59171"/>
                      <a:pt x="0" y="56517"/>
                      <a:pt x="0" y="46965"/>
                    </a:cubicBezTo>
                    <a:cubicBezTo>
                      <a:pt x="14594" y="29983"/>
                      <a:pt x="14063" y="12736"/>
                      <a:pt x="31841" y="0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9" name="ïṣḻîḓe">
                <a:extLst>
                  <a:ext uri="{FF2B5EF4-FFF2-40B4-BE49-F238E27FC236}">
                    <a16:creationId xmlns:a16="http://schemas.microsoft.com/office/drawing/2014/main" id="{AB86C707-7EFA-4020-9CD0-EEB1CC13AA41}"/>
                  </a:ext>
                </a:extLst>
              </p:cNvPr>
              <p:cNvSpPr/>
              <p:nvPr/>
            </p:nvSpPr>
            <p:spPr>
              <a:xfrm>
                <a:off x="3443941" y="1763629"/>
                <a:ext cx="65512" cy="61740"/>
              </a:xfrm>
              <a:custGeom>
                <a:avLst/>
                <a:gdLst>
                  <a:gd name="connsiteX0" fmla="*/ 9973 w 65512"/>
                  <a:gd name="connsiteY0" fmla="*/ 182 h 61740"/>
                  <a:gd name="connsiteX1" fmla="*/ 54284 w 65512"/>
                  <a:gd name="connsiteY1" fmla="*/ 61741 h 61740"/>
                  <a:gd name="connsiteX2" fmla="*/ 51896 w 65512"/>
                  <a:gd name="connsiteY2" fmla="*/ 61741 h 61740"/>
                  <a:gd name="connsiteX3" fmla="*/ 15279 w 65512"/>
                  <a:gd name="connsiteY3" fmla="*/ 61210 h 61740"/>
                  <a:gd name="connsiteX4" fmla="*/ 12626 w 65512"/>
                  <a:gd name="connsiteY4" fmla="*/ 56700 h 61740"/>
                  <a:gd name="connsiteX5" fmla="*/ 24832 w 65512"/>
                  <a:gd name="connsiteY5" fmla="*/ 29635 h 61740"/>
                  <a:gd name="connsiteX6" fmla="*/ 155 w 65512"/>
                  <a:gd name="connsiteY6" fmla="*/ 12388 h 61740"/>
                  <a:gd name="connsiteX7" fmla="*/ 9973 w 65512"/>
                  <a:gd name="connsiteY7" fmla="*/ 182 h 61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5512" h="61740">
                    <a:moveTo>
                      <a:pt x="9973" y="182"/>
                    </a:moveTo>
                    <a:cubicBezTo>
                      <a:pt x="59326" y="-2736"/>
                      <a:pt x="80287" y="29900"/>
                      <a:pt x="54284" y="61741"/>
                    </a:cubicBezTo>
                    <a:cubicBezTo>
                      <a:pt x="53488" y="61741"/>
                      <a:pt x="52692" y="61741"/>
                      <a:pt x="51896" y="61741"/>
                    </a:cubicBezTo>
                    <a:cubicBezTo>
                      <a:pt x="38894" y="60945"/>
                      <a:pt x="28546" y="62272"/>
                      <a:pt x="15279" y="61210"/>
                    </a:cubicBezTo>
                    <a:cubicBezTo>
                      <a:pt x="15279" y="60414"/>
                      <a:pt x="12626" y="57496"/>
                      <a:pt x="12626" y="56700"/>
                    </a:cubicBezTo>
                    <a:cubicBezTo>
                      <a:pt x="21117" y="49801"/>
                      <a:pt x="25893" y="40514"/>
                      <a:pt x="24832" y="29635"/>
                    </a:cubicBezTo>
                    <a:cubicBezTo>
                      <a:pt x="19525" y="22205"/>
                      <a:pt x="11565" y="15307"/>
                      <a:pt x="155" y="12388"/>
                    </a:cubicBezTo>
                    <a:cubicBezTo>
                      <a:pt x="-641" y="7612"/>
                      <a:pt x="1482" y="2836"/>
                      <a:pt x="9973" y="182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" name="îŝ1iďe">
                <a:extLst>
                  <a:ext uri="{FF2B5EF4-FFF2-40B4-BE49-F238E27FC236}">
                    <a16:creationId xmlns:a16="http://schemas.microsoft.com/office/drawing/2014/main" id="{B941ECAA-3565-475A-9A0B-9D29C1DF207A}"/>
                  </a:ext>
                </a:extLst>
              </p:cNvPr>
              <p:cNvSpPr/>
              <p:nvPr/>
            </p:nvSpPr>
            <p:spPr>
              <a:xfrm>
                <a:off x="2416968" y="1771241"/>
                <a:ext cx="55598" cy="63848"/>
              </a:xfrm>
              <a:custGeom>
                <a:avLst/>
                <a:gdLst>
                  <a:gd name="connsiteX0" fmla="*/ 14328 w 55598"/>
                  <a:gd name="connsiteY0" fmla="*/ 0 h 63848"/>
                  <a:gd name="connsiteX1" fmla="*/ 29187 w 55598"/>
                  <a:gd name="connsiteY1" fmla="*/ 0 h 63848"/>
                  <a:gd name="connsiteX2" fmla="*/ 53864 w 55598"/>
                  <a:gd name="connsiteY2" fmla="*/ 27065 h 63848"/>
                  <a:gd name="connsiteX3" fmla="*/ 51476 w 55598"/>
                  <a:gd name="connsiteY3" fmla="*/ 61559 h 63848"/>
                  <a:gd name="connsiteX4" fmla="*/ 3715 w 55598"/>
                  <a:gd name="connsiteY4" fmla="*/ 62355 h 63848"/>
                  <a:gd name="connsiteX5" fmla="*/ 0 w 55598"/>
                  <a:gd name="connsiteY5" fmla="*/ 56783 h 63848"/>
                  <a:gd name="connsiteX6" fmla="*/ 265 w 55598"/>
                  <a:gd name="connsiteY6" fmla="*/ 48557 h 63848"/>
                  <a:gd name="connsiteX7" fmla="*/ 13267 w 55598"/>
                  <a:gd name="connsiteY7" fmla="*/ 40066 h 63848"/>
                  <a:gd name="connsiteX8" fmla="*/ 14328 w 55598"/>
                  <a:gd name="connsiteY8" fmla="*/ 0 h 63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5598" h="63848">
                    <a:moveTo>
                      <a:pt x="14328" y="0"/>
                    </a:moveTo>
                    <a:cubicBezTo>
                      <a:pt x="19370" y="0"/>
                      <a:pt x="24146" y="0"/>
                      <a:pt x="29187" y="0"/>
                    </a:cubicBezTo>
                    <a:cubicBezTo>
                      <a:pt x="37413" y="9022"/>
                      <a:pt x="45638" y="18043"/>
                      <a:pt x="53864" y="27065"/>
                    </a:cubicBezTo>
                    <a:cubicBezTo>
                      <a:pt x="56252" y="39801"/>
                      <a:pt x="56783" y="54925"/>
                      <a:pt x="51476" y="61559"/>
                    </a:cubicBezTo>
                    <a:cubicBezTo>
                      <a:pt x="33167" y="65008"/>
                      <a:pt x="20431" y="63947"/>
                      <a:pt x="3715" y="62355"/>
                    </a:cubicBezTo>
                    <a:cubicBezTo>
                      <a:pt x="2123" y="59967"/>
                      <a:pt x="1592" y="59171"/>
                      <a:pt x="0" y="56783"/>
                    </a:cubicBezTo>
                    <a:cubicBezTo>
                      <a:pt x="0" y="55987"/>
                      <a:pt x="265" y="49353"/>
                      <a:pt x="265" y="48557"/>
                    </a:cubicBezTo>
                    <a:cubicBezTo>
                      <a:pt x="6103" y="45373"/>
                      <a:pt x="7695" y="43516"/>
                      <a:pt x="13267" y="40066"/>
                    </a:cubicBezTo>
                    <a:cubicBezTo>
                      <a:pt x="19900" y="24942"/>
                      <a:pt x="6633" y="19635"/>
                      <a:pt x="14328" y="0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1" name="ïSľiḍé">
              <a:extLst>
                <a:ext uri="{FF2B5EF4-FFF2-40B4-BE49-F238E27FC236}">
                  <a16:creationId xmlns:a16="http://schemas.microsoft.com/office/drawing/2014/main" id="{EA725503-DDC7-46A2-A733-172D1B22E310}"/>
                </a:ext>
              </a:extLst>
            </p:cNvPr>
            <p:cNvSpPr/>
            <p:nvPr/>
          </p:nvSpPr>
          <p:spPr>
            <a:xfrm>
              <a:off x="1794748" y="1968653"/>
              <a:ext cx="2175516" cy="126301"/>
            </a:xfrm>
            <a:custGeom>
              <a:avLst/>
              <a:gdLst>
                <a:gd name="connsiteX0" fmla="*/ 48292 w 2175516"/>
                <a:gd name="connsiteY0" fmla="*/ 95522 h 126301"/>
                <a:gd name="connsiteX1" fmla="*/ 57579 w 2175516"/>
                <a:gd name="connsiteY1" fmla="*/ 95522 h 126301"/>
                <a:gd name="connsiteX2" fmla="*/ 72438 w 2175516"/>
                <a:gd name="connsiteY2" fmla="*/ 65273 h 126301"/>
                <a:gd name="connsiteX3" fmla="*/ 87297 w 2175516"/>
                <a:gd name="connsiteY3" fmla="*/ 95522 h 126301"/>
                <a:gd name="connsiteX4" fmla="*/ 96584 w 2175516"/>
                <a:gd name="connsiteY4" fmla="*/ 95522 h 126301"/>
                <a:gd name="connsiteX5" fmla="*/ 125240 w 2175516"/>
                <a:gd name="connsiteY5" fmla="*/ 25207 h 126301"/>
                <a:gd name="connsiteX6" fmla="*/ 138507 w 2175516"/>
                <a:gd name="connsiteY6" fmla="*/ 12471 h 126301"/>
                <a:gd name="connsiteX7" fmla="*/ 138507 w 2175516"/>
                <a:gd name="connsiteY7" fmla="*/ 6899 h 126301"/>
                <a:gd name="connsiteX8" fmla="*/ 110381 w 2175516"/>
                <a:gd name="connsiteY8" fmla="*/ 6899 h 126301"/>
                <a:gd name="connsiteX9" fmla="*/ 110381 w 2175516"/>
                <a:gd name="connsiteY9" fmla="*/ 12471 h 126301"/>
                <a:gd name="connsiteX10" fmla="*/ 117015 w 2175516"/>
                <a:gd name="connsiteY10" fmla="*/ 23881 h 126301"/>
                <a:gd name="connsiteX11" fmla="*/ 97910 w 2175516"/>
                <a:gd name="connsiteY11" fmla="*/ 73234 h 126301"/>
                <a:gd name="connsiteX12" fmla="*/ 83051 w 2175516"/>
                <a:gd name="connsiteY12" fmla="*/ 42985 h 126301"/>
                <a:gd name="connsiteX13" fmla="*/ 93399 w 2175516"/>
                <a:gd name="connsiteY13" fmla="*/ 22023 h 126301"/>
                <a:gd name="connsiteX14" fmla="*/ 103748 w 2175516"/>
                <a:gd name="connsiteY14" fmla="*/ 12206 h 126301"/>
                <a:gd name="connsiteX15" fmla="*/ 103748 w 2175516"/>
                <a:gd name="connsiteY15" fmla="*/ 6633 h 126301"/>
                <a:gd name="connsiteX16" fmla="*/ 42189 w 2175516"/>
                <a:gd name="connsiteY16" fmla="*/ 6633 h 126301"/>
                <a:gd name="connsiteX17" fmla="*/ 42189 w 2175516"/>
                <a:gd name="connsiteY17" fmla="*/ 12206 h 126301"/>
                <a:gd name="connsiteX18" fmla="*/ 51476 w 2175516"/>
                <a:gd name="connsiteY18" fmla="*/ 21492 h 126301"/>
                <a:gd name="connsiteX19" fmla="*/ 67927 w 2175516"/>
                <a:gd name="connsiteY19" fmla="*/ 56517 h 126301"/>
                <a:gd name="connsiteX20" fmla="*/ 59171 w 2175516"/>
                <a:gd name="connsiteY20" fmla="*/ 74560 h 126301"/>
                <a:gd name="connsiteX21" fmla="*/ 33433 w 2175516"/>
                <a:gd name="connsiteY21" fmla="*/ 20166 h 126301"/>
                <a:gd name="connsiteX22" fmla="*/ 31841 w 2175516"/>
                <a:gd name="connsiteY22" fmla="*/ 14063 h 126301"/>
                <a:gd name="connsiteX23" fmla="*/ 36882 w 2175516"/>
                <a:gd name="connsiteY23" fmla="*/ 11940 h 126301"/>
                <a:gd name="connsiteX24" fmla="*/ 36882 w 2175516"/>
                <a:gd name="connsiteY24" fmla="*/ 6368 h 126301"/>
                <a:gd name="connsiteX25" fmla="*/ 0 w 2175516"/>
                <a:gd name="connsiteY25" fmla="*/ 6368 h 126301"/>
                <a:gd name="connsiteX26" fmla="*/ 0 w 2175516"/>
                <a:gd name="connsiteY26" fmla="*/ 11940 h 126301"/>
                <a:gd name="connsiteX27" fmla="*/ 1061 w 2175516"/>
                <a:gd name="connsiteY27" fmla="*/ 11940 h 126301"/>
                <a:gd name="connsiteX28" fmla="*/ 8226 w 2175516"/>
                <a:gd name="connsiteY28" fmla="*/ 14063 h 126301"/>
                <a:gd name="connsiteX29" fmla="*/ 14328 w 2175516"/>
                <a:gd name="connsiteY29" fmla="*/ 23350 h 126301"/>
                <a:gd name="connsiteX30" fmla="*/ 48292 w 2175516"/>
                <a:gd name="connsiteY30" fmla="*/ 95522 h 126301"/>
                <a:gd name="connsiteX31" fmla="*/ 48292 w 2175516"/>
                <a:gd name="connsiteY31" fmla="*/ 95522 h 126301"/>
                <a:gd name="connsiteX32" fmla="*/ 78540 w 2175516"/>
                <a:gd name="connsiteY32" fmla="*/ 34759 h 126301"/>
                <a:gd name="connsiteX33" fmla="*/ 70846 w 2175516"/>
                <a:gd name="connsiteY33" fmla="*/ 18839 h 126301"/>
                <a:gd name="connsiteX34" fmla="*/ 69784 w 2175516"/>
                <a:gd name="connsiteY34" fmla="*/ 13798 h 126301"/>
                <a:gd name="connsiteX35" fmla="*/ 74826 w 2175516"/>
                <a:gd name="connsiteY35" fmla="*/ 12736 h 126301"/>
                <a:gd name="connsiteX36" fmla="*/ 82255 w 2175516"/>
                <a:gd name="connsiteY36" fmla="*/ 12736 h 126301"/>
                <a:gd name="connsiteX37" fmla="*/ 87297 w 2175516"/>
                <a:gd name="connsiteY37" fmla="*/ 14328 h 126301"/>
                <a:gd name="connsiteX38" fmla="*/ 86766 w 2175516"/>
                <a:gd name="connsiteY38" fmla="*/ 19370 h 126301"/>
                <a:gd name="connsiteX39" fmla="*/ 78540 w 2175516"/>
                <a:gd name="connsiteY39" fmla="*/ 34759 h 126301"/>
                <a:gd name="connsiteX40" fmla="*/ 78540 w 2175516"/>
                <a:gd name="connsiteY40" fmla="*/ 34759 h 126301"/>
                <a:gd name="connsiteX41" fmla="*/ 199800 w 2175516"/>
                <a:gd name="connsiteY41" fmla="*/ 94991 h 126301"/>
                <a:gd name="connsiteX42" fmla="*/ 202454 w 2175516"/>
                <a:gd name="connsiteY42" fmla="*/ 94991 h 126301"/>
                <a:gd name="connsiteX43" fmla="*/ 225008 w 2175516"/>
                <a:gd name="connsiteY43" fmla="*/ 90746 h 126301"/>
                <a:gd name="connsiteX44" fmla="*/ 225008 w 2175516"/>
                <a:gd name="connsiteY44" fmla="*/ 86235 h 126301"/>
                <a:gd name="connsiteX45" fmla="*/ 221293 w 2175516"/>
                <a:gd name="connsiteY45" fmla="*/ 86766 h 126301"/>
                <a:gd name="connsiteX46" fmla="*/ 216782 w 2175516"/>
                <a:gd name="connsiteY46" fmla="*/ 78540 h 126301"/>
                <a:gd name="connsiteX47" fmla="*/ 216782 w 2175516"/>
                <a:gd name="connsiteY47" fmla="*/ 35821 h 126301"/>
                <a:gd name="connsiteX48" fmla="*/ 214129 w 2175516"/>
                <a:gd name="connsiteY48" fmla="*/ 35821 h 126301"/>
                <a:gd name="connsiteX49" fmla="*/ 188391 w 2175516"/>
                <a:gd name="connsiteY49" fmla="*/ 40862 h 126301"/>
                <a:gd name="connsiteX50" fmla="*/ 188391 w 2175516"/>
                <a:gd name="connsiteY50" fmla="*/ 44046 h 126301"/>
                <a:gd name="connsiteX51" fmla="*/ 195024 w 2175516"/>
                <a:gd name="connsiteY51" fmla="*/ 46169 h 126301"/>
                <a:gd name="connsiteX52" fmla="*/ 200066 w 2175516"/>
                <a:gd name="connsiteY52" fmla="*/ 54395 h 126301"/>
                <a:gd name="connsiteX53" fmla="*/ 200066 w 2175516"/>
                <a:gd name="connsiteY53" fmla="*/ 79602 h 126301"/>
                <a:gd name="connsiteX54" fmla="*/ 185737 w 2175516"/>
                <a:gd name="connsiteY54" fmla="*/ 85174 h 126301"/>
                <a:gd name="connsiteX55" fmla="*/ 176451 w 2175516"/>
                <a:gd name="connsiteY55" fmla="*/ 71376 h 126301"/>
                <a:gd name="connsiteX56" fmla="*/ 176451 w 2175516"/>
                <a:gd name="connsiteY56" fmla="*/ 35821 h 126301"/>
                <a:gd name="connsiteX57" fmla="*/ 173797 w 2175516"/>
                <a:gd name="connsiteY57" fmla="*/ 35821 h 126301"/>
                <a:gd name="connsiteX58" fmla="*/ 153631 w 2175516"/>
                <a:gd name="connsiteY58" fmla="*/ 40862 h 126301"/>
                <a:gd name="connsiteX59" fmla="*/ 153631 w 2175516"/>
                <a:gd name="connsiteY59" fmla="*/ 44046 h 126301"/>
                <a:gd name="connsiteX60" fmla="*/ 156816 w 2175516"/>
                <a:gd name="connsiteY60" fmla="*/ 45638 h 126301"/>
                <a:gd name="connsiteX61" fmla="*/ 159469 w 2175516"/>
                <a:gd name="connsiteY61" fmla="*/ 53333 h 126301"/>
                <a:gd name="connsiteX62" fmla="*/ 159469 w 2175516"/>
                <a:gd name="connsiteY62" fmla="*/ 76948 h 126301"/>
                <a:gd name="connsiteX63" fmla="*/ 174859 w 2175516"/>
                <a:gd name="connsiteY63" fmla="*/ 94991 h 126301"/>
                <a:gd name="connsiteX64" fmla="*/ 200066 w 2175516"/>
                <a:gd name="connsiteY64" fmla="*/ 84643 h 126301"/>
                <a:gd name="connsiteX65" fmla="*/ 200066 w 2175516"/>
                <a:gd name="connsiteY65" fmla="*/ 94991 h 126301"/>
                <a:gd name="connsiteX66" fmla="*/ 199800 w 2175516"/>
                <a:gd name="connsiteY66" fmla="*/ 94991 h 126301"/>
                <a:gd name="connsiteX67" fmla="*/ 266135 w 2175516"/>
                <a:gd name="connsiteY67" fmla="*/ 51741 h 126301"/>
                <a:gd name="connsiteX68" fmla="*/ 280464 w 2175516"/>
                <a:gd name="connsiteY68" fmla="*/ 46169 h 126301"/>
                <a:gd name="connsiteX69" fmla="*/ 289750 w 2175516"/>
                <a:gd name="connsiteY69" fmla="*/ 58375 h 126301"/>
                <a:gd name="connsiteX70" fmla="*/ 289750 w 2175516"/>
                <a:gd name="connsiteY70" fmla="*/ 79867 h 126301"/>
                <a:gd name="connsiteX71" fmla="*/ 282586 w 2175516"/>
                <a:gd name="connsiteY71" fmla="*/ 90215 h 126301"/>
                <a:gd name="connsiteX72" fmla="*/ 281525 w 2175516"/>
                <a:gd name="connsiteY72" fmla="*/ 90215 h 126301"/>
                <a:gd name="connsiteX73" fmla="*/ 281525 w 2175516"/>
                <a:gd name="connsiteY73" fmla="*/ 94726 h 126301"/>
                <a:gd name="connsiteX74" fmla="*/ 314427 w 2175516"/>
                <a:gd name="connsiteY74" fmla="*/ 94726 h 126301"/>
                <a:gd name="connsiteX75" fmla="*/ 314427 w 2175516"/>
                <a:gd name="connsiteY75" fmla="*/ 90215 h 126301"/>
                <a:gd name="connsiteX76" fmla="*/ 313366 w 2175516"/>
                <a:gd name="connsiteY76" fmla="*/ 90215 h 126301"/>
                <a:gd name="connsiteX77" fmla="*/ 306732 w 2175516"/>
                <a:gd name="connsiteY77" fmla="*/ 79336 h 126301"/>
                <a:gd name="connsiteX78" fmla="*/ 306732 w 2175516"/>
                <a:gd name="connsiteY78" fmla="*/ 60763 h 126301"/>
                <a:gd name="connsiteX79" fmla="*/ 291343 w 2175516"/>
                <a:gd name="connsiteY79" fmla="*/ 36086 h 126301"/>
                <a:gd name="connsiteX80" fmla="*/ 266135 w 2175516"/>
                <a:gd name="connsiteY80" fmla="*/ 46434 h 126301"/>
                <a:gd name="connsiteX81" fmla="*/ 266135 w 2175516"/>
                <a:gd name="connsiteY81" fmla="*/ 796 h 126301"/>
                <a:gd name="connsiteX82" fmla="*/ 262686 w 2175516"/>
                <a:gd name="connsiteY82" fmla="*/ 796 h 126301"/>
                <a:gd name="connsiteX83" fmla="*/ 240132 w 2175516"/>
                <a:gd name="connsiteY83" fmla="*/ 7430 h 126301"/>
                <a:gd name="connsiteX84" fmla="*/ 240132 w 2175516"/>
                <a:gd name="connsiteY84" fmla="*/ 10614 h 126301"/>
                <a:gd name="connsiteX85" fmla="*/ 244377 w 2175516"/>
                <a:gd name="connsiteY85" fmla="*/ 12206 h 126301"/>
                <a:gd name="connsiteX86" fmla="*/ 248888 w 2175516"/>
                <a:gd name="connsiteY86" fmla="*/ 18308 h 126301"/>
                <a:gd name="connsiteX87" fmla="*/ 248888 w 2175516"/>
                <a:gd name="connsiteY87" fmla="*/ 79867 h 126301"/>
                <a:gd name="connsiteX88" fmla="*/ 241193 w 2175516"/>
                <a:gd name="connsiteY88" fmla="*/ 90215 h 126301"/>
                <a:gd name="connsiteX89" fmla="*/ 239071 w 2175516"/>
                <a:gd name="connsiteY89" fmla="*/ 90215 h 126301"/>
                <a:gd name="connsiteX90" fmla="*/ 239071 w 2175516"/>
                <a:gd name="connsiteY90" fmla="*/ 94726 h 126301"/>
                <a:gd name="connsiteX91" fmla="*/ 274626 w 2175516"/>
                <a:gd name="connsiteY91" fmla="*/ 94726 h 126301"/>
                <a:gd name="connsiteX92" fmla="*/ 274626 w 2175516"/>
                <a:gd name="connsiteY92" fmla="*/ 90215 h 126301"/>
                <a:gd name="connsiteX93" fmla="*/ 273565 w 2175516"/>
                <a:gd name="connsiteY93" fmla="*/ 90215 h 126301"/>
                <a:gd name="connsiteX94" fmla="*/ 265870 w 2175516"/>
                <a:gd name="connsiteY94" fmla="*/ 80398 h 126301"/>
                <a:gd name="connsiteX95" fmla="*/ 265870 w 2175516"/>
                <a:gd name="connsiteY95" fmla="*/ 51741 h 126301"/>
                <a:gd name="connsiteX96" fmla="*/ 266135 w 2175516"/>
                <a:gd name="connsiteY96" fmla="*/ 51741 h 126301"/>
                <a:gd name="connsiteX97" fmla="*/ 388987 w 2175516"/>
                <a:gd name="connsiteY97" fmla="*/ 84113 h 126301"/>
                <a:gd name="connsiteX98" fmla="*/ 385273 w 2175516"/>
                <a:gd name="connsiteY98" fmla="*/ 85705 h 126301"/>
                <a:gd name="connsiteX99" fmla="*/ 382619 w 2175516"/>
                <a:gd name="connsiteY99" fmla="*/ 79071 h 126301"/>
                <a:gd name="connsiteX100" fmla="*/ 382619 w 2175516"/>
                <a:gd name="connsiteY100" fmla="*/ 52802 h 126301"/>
                <a:gd name="connsiteX101" fmla="*/ 359535 w 2175516"/>
                <a:gd name="connsiteY101" fmla="*/ 35821 h 126301"/>
                <a:gd name="connsiteX102" fmla="*/ 336450 w 2175516"/>
                <a:gd name="connsiteY102" fmla="*/ 44046 h 126301"/>
                <a:gd name="connsiteX103" fmla="*/ 333266 w 2175516"/>
                <a:gd name="connsiteY103" fmla="*/ 57844 h 126301"/>
                <a:gd name="connsiteX104" fmla="*/ 349186 w 2175516"/>
                <a:gd name="connsiteY104" fmla="*/ 52272 h 126301"/>
                <a:gd name="connsiteX105" fmla="*/ 356351 w 2175516"/>
                <a:gd name="connsiteY105" fmla="*/ 41393 h 126301"/>
                <a:gd name="connsiteX106" fmla="*/ 365107 w 2175516"/>
                <a:gd name="connsiteY106" fmla="*/ 50680 h 126301"/>
                <a:gd name="connsiteX107" fmla="*/ 365107 w 2175516"/>
                <a:gd name="connsiteY107" fmla="*/ 56252 h 126301"/>
                <a:gd name="connsiteX108" fmla="*/ 348656 w 2175516"/>
                <a:gd name="connsiteY108" fmla="*/ 63947 h 126301"/>
                <a:gd name="connsiteX109" fmla="*/ 336450 w 2175516"/>
                <a:gd name="connsiteY109" fmla="*/ 70050 h 126301"/>
                <a:gd name="connsiteX110" fmla="*/ 331939 w 2175516"/>
                <a:gd name="connsiteY110" fmla="*/ 81459 h 126301"/>
                <a:gd name="connsiteX111" fmla="*/ 347860 w 2175516"/>
                <a:gd name="connsiteY111" fmla="*/ 95257 h 126301"/>
                <a:gd name="connsiteX112" fmla="*/ 365372 w 2175516"/>
                <a:gd name="connsiteY112" fmla="*/ 87562 h 126301"/>
                <a:gd name="connsiteX113" fmla="*/ 375190 w 2175516"/>
                <a:gd name="connsiteY113" fmla="*/ 95257 h 126301"/>
                <a:gd name="connsiteX114" fmla="*/ 391110 w 2175516"/>
                <a:gd name="connsiteY114" fmla="*/ 87562 h 126301"/>
                <a:gd name="connsiteX115" fmla="*/ 388987 w 2175516"/>
                <a:gd name="connsiteY115" fmla="*/ 84113 h 126301"/>
                <a:gd name="connsiteX116" fmla="*/ 388987 w 2175516"/>
                <a:gd name="connsiteY116" fmla="*/ 84113 h 126301"/>
                <a:gd name="connsiteX117" fmla="*/ 364842 w 2175516"/>
                <a:gd name="connsiteY117" fmla="*/ 82521 h 126301"/>
                <a:gd name="connsiteX118" fmla="*/ 355555 w 2175516"/>
                <a:gd name="connsiteY118" fmla="*/ 88093 h 126301"/>
                <a:gd name="connsiteX119" fmla="*/ 348390 w 2175516"/>
                <a:gd name="connsiteY119" fmla="*/ 78806 h 126301"/>
                <a:gd name="connsiteX120" fmla="*/ 357677 w 2175516"/>
                <a:gd name="connsiteY120" fmla="*/ 66865 h 126301"/>
                <a:gd name="connsiteX121" fmla="*/ 364842 w 2175516"/>
                <a:gd name="connsiteY121" fmla="*/ 62355 h 126301"/>
                <a:gd name="connsiteX122" fmla="*/ 364842 w 2175516"/>
                <a:gd name="connsiteY122" fmla="*/ 82521 h 126301"/>
                <a:gd name="connsiteX123" fmla="*/ 364842 w 2175516"/>
                <a:gd name="connsiteY123" fmla="*/ 82521 h 126301"/>
                <a:gd name="connsiteX124" fmla="*/ 472304 w 2175516"/>
                <a:gd name="connsiteY124" fmla="*/ 59967 h 126301"/>
                <a:gd name="connsiteX125" fmla="*/ 457445 w 2175516"/>
                <a:gd name="connsiteY125" fmla="*/ 35821 h 126301"/>
                <a:gd name="connsiteX126" fmla="*/ 431176 w 2175516"/>
                <a:gd name="connsiteY126" fmla="*/ 46700 h 126301"/>
                <a:gd name="connsiteX127" fmla="*/ 431176 w 2175516"/>
                <a:gd name="connsiteY127" fmla="*/ 33963 h 126301"/>
                <a:gd name="connsiteX128" fmla="*/ 429054 w 2175516"/>
                <a:gd name="connsiteY128" fmla="*/ 33963 h 126301"/>
                <a:gd name="connsiteX129" fmla="*/ 404908 w 2175516"/>
                <a:gd name="connsiteY129" fmla="*/ 42189 h 126301"/>
                <a:gd name="connsiteX130" fmla="*/ 404908 w 2175516"/>
                <a:gd name="connsiteY130" fmla="*/ 45373 h 126301"/>
                <a:gd name="connsiteX131" fmla="*/ 407561 w 2175516"/>
                <a:gd name="connsiteY131" fmla="*/ 45904 h 126301"/>
                <a:gd name="connsiteX132" fmla="*/ 414195 w 2175516"/>
                <a:gd name="connsiteY132" fmla="*/ 52537 h 126301"/>
                <a:gd name="connsiteX133" fmla="*/ 414195 w 2175516"/>
                <a:gd name="connsiteY133" fmla="*/ 79867 h 126301"/>
                <a:gd name="connsiteX134" fmla="*/ 406500 w 2175516"/>
                <a:gd name="connsiteY134" fmla="*/ 89685 h 126301"/>
                <a:gd name="connsiteX135" fmla="*/ 405438 w 2175516"/>
                <a:gd name="connsiteY135" fmla="*/ 89685 h 126301"/>
                <a:gd name="connsiteX136" fmla="*/ 405438 w 2175516"/>
                <a:gd name="connsiteY136" fmla="*/ 94195 h 126301"/>
                <a:gd name="connsiteX137" fmla="*/ 440994 w 2175516"/>
                <a:gd name="connsiteY137" fmla="*/ 94195 h 126301"/>
                <a:gd name="connsiteX138" fmla="*/ 440994 w 2175516"/>
                <a:gd name="connsiteY138" fmla="*/ 89685 h 126301"/>
                <a:gd name="connsiteX139" fmla="*/ 439933 w 2175516"/>
                <a:gd name="connsiteY139" fmla="*/ 89685 h 126301"/>
                <a:gd name="connsiteX140" fmla="*/ 431176 w 2175516"/>
                <a:gd name="connsiteY140" fmla="*/ 80398 h 126301"/>
                <a:gd name="connsiteX141" fmla="*/ 431176 w 2175516"/>
                <a:gd name="connsiteY141" fmla="*/ 51741 h 126301"/>
                <a:gd name="connsiteX142" fmla="*/ 446566 w 2175516"/>
                <a:gd name="connsiteY142" fmla="*/ 45638 h 126301"/>
                <a:gd name="connsiteX143" fmla="*/ 454792 w 2175516"/>
                <a:gd name="connsiteY143" fmla="*/ 61559 h 126301"/>
                <a:gd name="connsiteX144" fmla="*/ 454792 w 2175516"/>
                <a:gd name="connsiteY144" fmla="*/ 73764 h 126301"/>
                <a:gd name="connsiteX145" fmla="*/ 447097 w 2175516"/>
                <a:gd name="connsiteY145" fmla="*/ 89685 h 126301"/>
                <a:gd name="connsiteX146" fmla="*/ 447097 w 2175516"/>
                <a:gd name="connsiteY146" fmla="*/ 94195 h 126301"/>
                <a:gd name="connsiteX147" fmla="*/ 479999 w 2175516"/>
                <a:gd name="connsiteY147" fmla="*/ 94195 h 126301"/>
                <a:gd name="connsiteX148" fmla="*/ 479999 w 2175516"/>
                <a:gd name="connsiteY148" fmla="*/ 89685 h 126301"/>
                <a:gd name="connsiteX149" fmla="*/ 472304 w 2175516"/>
                <a:gd name="connsiteY149" fmla="*/ 81459 h 126301"/>
                <a:gd name="connsiteX150" fmla="*/ 472304 w 2175516"/>
                <a:gd name="connsiteY150" fmla="*/ 59967 h 126301"/>
                <a:gd name="connsiteX151" fmla="*/ 472304 w 2175516"/>
                <a:gd name="connsiteY151" fmla="*/ 59967 h 126301"/>
                <a:gd name="connsiteX152" fmla="*/ 532536 w 2175516"/>
                <a:gd name="connsiteY152" fmla="*/ 12736 h 126301"/>
                <a:gd name="connsiteX153" fmla="*/ 534128 w 2175516"/>
                <a:gd name="connsiteY153" fmla="*/ 12736 h 126301"/>
                <a:gd name="connsiteX154" fmla="*/ 544476 w 2175516"/>
                <a:gd name="connsiteY154" fmla="*/ 23084 h 126301"/>
                <a:gd name="connsiteX155" fmla="*/ 544476 w 2175516"/>
                <a:gd name="connsiteY155" fmla="*/ 79071 h 126301"/>
                <a:gd name="connsiteX156" fmla="*/ 534128 w 2175516"/>
                <a:gd name="connsiteY156" fmla="*/ 88889 h 126301"/>
                <a:gd name="connsiteX157" fmla="*/ 532536 w 2175516"/>
                <a:gd name="connsiteY157" fmla="*/ 88889 h 126301"/>
                <a:gd name="connsiteX158" fmla="*/ 532536 w 2175516"/>
                <a:gd name="connsiteY158" fmla="*/ 94461 h 126301"/>
                <a:gd name="connsiteX159" fmla="*/ 576848 w 2175516"/>
                <a:gd name="connsiteY159" fmla="*/ 94461 h 126301"/>
                <a:gd name="connsiteX160" fmla="*/ 576848 w 2175516"/>
                <a:gd name="connsiteY160" fmla="*/ 89154 h 126301"/>
                <a:gd name="connsiteX161" fmla="*/ 574725 w 2175516"/>
                <a:gd name="connsiteY161" fmla="*/ 89154 h 126301"/>
                <a:gd name="connsiteX162" fmla="*/ 563846 w 2175516"/>
                <a:gd name="connsiteY162" fmla="*/ 78806 h 126301"/>
                <a:gd name="connsiteX163" fmla="*/ 563846 w 2175516"/>
                <a:gd name="connsiteY163" fmla="*/ 23350 h 126301"/>
                <a:gd name="connsiteX164" fmla="*/ 574725 w 2175516"/>
                <a:gd name="connsiteY164" fmla="*/ 13002 h 126301"/>
                <a:gd name="connsiteX165" fmla="*/ 576848 w 2175516"/>
                <a:gd name="connsiteY165" fmla="*/ 13002 h 126301"/>
                <a:gd name="connsiteX166" fmla="*/ 576848 w 2175516"/>
                <a:gd name="connsiteY166" fmla="*/ 7430 h 126301"/>
                <a:gd name="connsiteX167" fmla="*/ 532536 w 2175516"/>
                <a:gd name="connsiteY167" fmla="*/ 7430 h 126301"/>
                <a:gd name="connsiteX168" fmla="*/ 532536 w 2175516"/>
                <a:gd name="connsiteY168" fmla="*/ 12736 h 126301"/>
                <a:gd name="connsiteX169" fmla="*/ 532536 w 2175516"/>
                <a:gd name="connsiteY169" fmla="*/ 12736 h 126301"/>
                <a:gd name="connsiteX170" fmla="*/ 659368 w 2175516"/>
                <a:gd name="connsiteY170" fmla="*/ 59967 h 126301"/>
                <a:gd name="connsiteX171" fmla="*/ 644509 w 2175516"/>
                <a:gd name="connsiteY171" fmla="*/ 35821 h 126301"/>
                <a:gd name="connsiteX172" fmla="*/ 618241 w 2175516"/>
                <a:gd name="connsiteY172" fmla="*/ 46700 h 126301"/>
                <a:gd name="connsiteX173" fmla="*/ 618241 w 2175516"/>
                <a:gd name="connsiteY173" fmla="*/ 33963 h 126301"/>
                <a:gd name="connsiteX174" fmla="*/ 616118 w 2175516"/>
                <a:gd name="connsiteY174" fmla="*/ 33963 h 126301"/>
                <a:gd name="connsiteX175" fmla="*/ 591972 w 2175516"/>
                <a:gd name="connsiteY175" fmla="*/ 42189 h 126301"/>
                <a:gd name="connsiteX176" fmla="*/ 591972 w 2175516"/>
                <a:gd name="connsiteY176" fmla="*/ 45373 h 126301"/>
                <a:gd name="connsiteX177" fmla="*/ 594625 w 2175516"/>
                <a:gd name="connsiteY177" fmla="*/ 45904 h 126301"/>
                <a:gd name="connsiteX178" fmla="*/ 601259 w 2175516"/>
                <a:gd name="connsiteY178" fmla="*/ 52537 h 126301"/>
                <a:gd name="connsiteX179" fmla="*/ 601259 w 2175516"/>
                <a:gd name="connsiteY179" fmla="*/ 79867 h 126301"/>
                <a:gd name="connsiteX180" fmla="*/ 593564 w 2175516"/>
                <a:gd name="connsiteY180" fmla="*/ 89685 h 126301"/>
                <a:gd name="connsiteX181" fmla="*/ 592503 w 2175516"/>
                <a:gd name="connsiteY181" fmla="*/ 89685 h 126301"/>
                <a:gd name="connsiteX182" fmla="*/ 592503 w 2175516"/>
                <a:gd name="connsiteY182" fmla="*/ 94195 h 126301"/>
                <a:gd name="connsiteX183" fmla="*/ 628058 w 2175516"/>
                <a:gd name="connsiteY183" fmla="*/ 94195 h 126301"/>
                <a:gd name="connsiteX184" fmla="*/ 628058 w 2175516"/>
                <a:gd name="connsiteY184" fmla="*/ 89685 h 126301"/>
                <a:gd name="connsiteX185" fmla="*/ 626997 w 2175516"/>
                <a:gd name="connsiteY185" fmla="*/ 89685 h 126301"/>
                <a:gd name="connsiteX186" fmla="*/ 618241 w 2175516"/>
                <a:gd name="connsiteY186" fmla="*/ 80398 h 126301"/>
                <a:gd name="connsiteX187" fmla="*/ 618241 w 2175516"/>
                <a:gd name="connsiteY187" fmla="*/ 51741 h 126301"/>
                <a:gd name="connsiteX188" fmla="*/ 633630 w 2175516"/>
                <a:gd name="connsiteY188" fmla="*/ 45638 h 126301"/>
                <a:gd name="connsiteX189" fmla="*/ 641856 w 2175516"/>
                <a:gd name="connsiteY189" fmla="*/ 61559 h 126301"/>
                <a:gd name="connsiteX190" fmla="*/ 641856 w 2175516"/>
                <a:gd name="connsiteY190" fmla="*/ 73764 h 126301"/>
                <a:gd name="connsiteX191" fmla="*/ 634161 w 2175516"/>
                <a:gd name="connsiteY191" fmla="*/ 89685 h 126301"/>
                <a:gd name="connsiteX192" fmla="*/ 634161 w 2175516"/>
                <a:gd name="connsiteY192" fmla="*/ 94195 h 126301"/>
                <a:gd name="connsiteX193" fmla="*/ 667063 w 2175516"/>
                <a:gd name="connsiteY193" fmla="*/ 94195 h 126301"/>
                <a:gd name="connsiteX194" fmla="*/ 667063 w 2175516"/>
                <a:gd name="connsiteY194" fmla="*/ 89685 h 126301"/>
                <a:gd name="connsiteX195" fmla="*/ 659368 w 2175516"/>
                <a:gd name="connsiteY195" fmla="*/ 81459 h 126301"/>
                <a:gd name="connsiteX196" fmla="*/ 659368 w 2175516"/>
                <a:gd name="connsiteY196" fmla="*/ 59967 h 126301"/>
                <a:gd name="connsiteX197" fmla="*/ 659368 w 2175516"/>
                <a:gd name="connsiteY197" fmla="*/ 59967 h 126301"/>
                <a:gd name="connsiteX198" fmla="*/ 686698 w 2175516"/>
                <a:gd name="connsiteY198" fmla="*/ 94461 h 126301"/>
                <a:gd name="connsiteX199" fmla="*/ 690413 w 2175516"/>
                <a:gd name="connsiteY199" fmla="*/ 94461 h 126301"/>
                <a:gd name="connsiteX200" fmla="*/ 693066 w 2175516"/>
                <a:gd name="connsiteY200" fmla="*/ 93930 h 126301"/>
                <a:gd name="connsiteX201" fmla="*/ 695720 w 2175516"/>
                <a:gd name="connsiteY201" fmla="*/ 94461 h 126301"/>
                <a:gd name="connsiteX202" fmla="*/ 707660 w 2175516"/>
                <a:gd name="connsiteY202" fmla="*/ 94991 h 126301"/>
                <a:gd name="connsiteX203" fmla="*/ 726234 w 2175516"/>
                <a:gd name="connsiteY203" fmla="*/ 78010 h 126301"/>
                <a:gd name="connsiteX204" fmla="*/ 709783 w 2175516"/>
                <a:gd name="connsiteY204" fmla="*/ 58375 h 126301"/>
                <a:gd name="connsiteX205" fmla="*/ 698373 w 2175516"/>
                <a:gd name="connsiteY205" fmla="*/ 46965 h 126301"/>
                <a:gd name="connsiteX206" fmla="*/ 705006 w 2175516"/>
                <a:gd name="connsiteY206" fmla="*/ 41924 h 126301"/>
                <a:gd name="connsiteX207" fmla="*/ 718273 w 2175516"/>
                <a:gd name="connsiteY207" fmla="*/ 54129 h 126301"/>
                <a:gd name="connsiteX208" fmla="*/ 722784 w 2175516"/>
                <a:gd name="connsiteY208" fmla="*/ 54129 h 126301"/>
                <a:gd name="connsiteX209" fmla="*/ 722784 w 2175516"/>
                <a:gd name="connsiteY209" fmla="*/ 38739 h 126301"/>
                <a:gd name="connsiteX210" fmla="*/ 706864 w 2175516"/>
                <a:gd name="connsiteY210" fmla="*/ 36086 h 126301"/>
                <a:gd name="connsiteX211" fmla="*/ 684841 w 2175516"/>
                <a:gd name="connsiteY211" fmla="*/ 53599 h 126301"/>
                <a:gd name="connsiteX212" fmla="*/ 700761 w 2175516"/>
                <a:gd name="connsiteY212" fmla="*/ 72703 h 126301"/>
                <a:gd name="connsiteX213" fmla="*/ 711109 w 2175516"/>
                <a:gd name="connsiteY213" fmla="*/ 83582 h 126301"/>
                <a:gd name="connsiteX214" fmla="*/ 703945 w 2175516"/>
                <a:gd name="connsiteY214" fmla="*/ 90215 h 126301"/>
                <a:gd name="connsiteX215" fmla="*/ 689086 w 2175516"/>
                <a:gd name="connsiteY215" fmla="*/ 78275 h 126301"/>
                <a:gd name="connsiteX216" fmla="*/ 684841 w 2175516"/>
                <a:gd name="connsiteY216" fmla="*/ 78275 h 126301"/>
                <a:gd name="connsiteX217" fmla="*/ 686698 w 2175516"/>
                <a:gd name="connsiteY217" fmla="*/ 94461 h 126301"/>
                <a:gd name="connsiteX218" fmla="*/ 686698 w 2175516"/>
                <a:gd name="connsiteY218" fmla="*/ 94461 h 126301"/>
                <a:gd name="connsiteX219" fmla="*/ 769219 w 2175516"/>
                <a:gd name="connsiteY219" fmla="*/ 45108 h 126301"/>
                <a:gd name="connsiteX220" fmla="*/ 785670 w 2175516"/>
                <a:gd name="connsiteY220" fmla="*/ 45108 h 126301"/>
                <a:gd name="connsiteX221" fmla="*/ 787262 w 2175516"/>
                <a:gd name="connsiteY221" fmla="*/ 37413 h 126301"/>
                <a:gd name="connsiteX222" fmla="*/ 769219 w 2175516"/>
                <a:gd name="connsiteY222" fmla="*/ 37413 h 126301"/>
                <a:gd name="connsiteX223" fmla="*/ 769219 w 2175516"/>
                <a:gd name="connsiteY223" fmla="*/ 19900 h 126301"/>
                <a:gd name="connsiteX224" fmla="*/ 765504 w 2175516"/>
                <a:gd name="connsiteY224" fmla="*/ 19900 h 126301"/>
                <a:gd name="connsiteX225" fmla="*/ 744807 w 2175516"/>
                <a:gd name="connsiteY225" fmla="*/ 41393 h 126301"/>
                <a:gd name="connsiteX226" fmla="*/ 744807 w 2175516"/>
                <a:gd name="connsiteY226" fmla="*/ 45108 h 126301"/>
                <a:gd name="connsiteX227" fmla="*/ 752502 w 2175516"/>
                <a:gd name="connsiteY227" fmla="*/ 45108 h 126301"/>
                <a:gd name="connsiteX228" fmla="*/ 752502 w 2175516"/>
                <a:gd name="connsiteY228" fmla="*/ 78540 h 126301"/>
                <a:gd name="connsiteX229" fmla="*/ 768423 w 2175516"/>
                <a:gd name="connsiteY229" fmla="*/ 94991 h 126301"/>
                <a:gd name="connsiteX230" fmla="*/ 788854 w 2175516"/>
                <a:gd name="connsiteY230" fmla="*/ 83582 h 126301"/>
                <a:gd name="connsiteX231" fmla="*/ 786731 w 2175516"/>
                <a:gd name="connsiteY231" fmla="*/ 79336 h 126301"/>
                <a:gd name="connsiteX232" fmla="*/ 776383 w 2175516"/>
                <a:gd name="connsiteY232" fmla="*/ 86501 h 126301"/>
                <a:gd name="connsiteX233" fmla="*/ 769749 w 2175516"/>
                <a:gd name="connsiteY233" fmla="*/ 79336 h 126301"/>
                <a:gd name="connsiteX234" fmla="*/ 769749 w 2175516"/>
                <a:gd name="connsiteY234" fmla="*/ 45108 h 126301"/>
                <a:gd name="connsiteX235" fmla="*/ 769219 w 2175516"/>
                <a:gd name="connsiteY235" fmla="*/ 45108 h 126301"/>
                <a:gd name="connsiteX236" fmla="*/ 836084 w 2175516"/>
                <a:gd name="connsiteY236" fmla="*/ 90215 h 126301"/>
                <a:gd name="connsiteX237" fmla="*/ 827328 w 2175516"/>
                <a:gd name="connsiteY237" fmla="*/ 81459 h 126301"/>
                <a:gd name="connsiteX238" fmla="*/ 827328 w 2175516"/>
                <a:gd name="connsiteY238" fmla="*/ 34229 h 126301"/>
                <a:gd name="connsiteX239" fmla="*/ 825205 w 2175516"/>
                <a:gd name="connsiteY239" fmla="*/ 34229 h 126301"/>
                <a:gd name="connsiteX240" fmla="*/ 801059 w 2175516"/>
                <a:gd name="connsiteY240" fmla="*/ 42454 h 126301"/>
                <a:gd name="connsiteX241" fmla="*/ 801059 w 2175516"/>
                <a:gd name="connsiteY241" fmla="*/ 45638 h 126301"/>
                <a:gd name="connsiteX242" fmla="*/ 805305 w 2175516"/>
                <a:gd name="connsiteY242" fmla="*/ 47230 h 126301"/>
                <a:gd name="connsiteX243" fmla="*/ 810346 w 2175516"/>
                <a:gd name="connsiteY243" fmla="*/ 53333 h 126301"/>
                <a:gd name="connsiteX244" fmla="*/ 810346 w 2175516"/>
                <a:gd name="connsiteY244" fmla="*/ 80132 h 126301"/>
                <a:gd name="connsiteX245" fmla="*/ 802651 w 2175516"/>
                <a:gd name="connsiteY245" fmla="*/ 89950 h 126301"/>
                <a:gd name="connsiteX246" fmla="*/ 801059 w 2175516"/>
                <a:gd name="connsiteY246" fmla="*/ 89950 h 126301"/>
                <a:gd name="connsiteX247" fmla="*/ 801059 w 2175516"/>
                <a:gd name="connsiteY247" fmla="*/ 94461 h 126301"/>
                <a:gd name="connsiteX248" fmla="*/ 836084 w 2175516"/>
                <a:gd name="connsiteY248" fmla="*/ 94461 h 126301"/>
                <a:gd name="connsiteX249" fmla="*/ 836084 w 2175516"/>
                <a:gd name="connsiteY249" fmla="*/ 90215 h 126301"/>
                <a:gd name="connsiteX250" fmla="*/ 836084 w 2175516"/>
                <a:gd name="connsiteY250" fmla="*/ 90215 h 126301"/>
                <a:gd name="connsiteX251" fmla="*/ 818572 w 2175516"/>
                <a:gd name="connsiteY251" fmla="*/ 2388 h 126301"/>
                <a:gd name="connsiteX252" fmla="*/ 807162 w 2175516"/>
                <a:gd name="connsiteY252" fmla="*/ 11675 h 126301"/>
                <a:gd name="connsiteX253" fmla="*/ 818572 w 2175516"/>
                <a:gd name="connsiteY253" fmla="*/ 21492 h 126301"/>
                <a:gd name="connsiteX254" fmla="*/ 829451 w 2175516"/>
                <a:gd name="connsiteY254" fmla="*/ 11675 h 126301"/>
                <a:gd name="connsiteX255" fmla="*/ 818572 w 2175516"/>
                <a:gd name="connsiteY255" fmla="*/ 2388 h 126301"/>
                <a:gd name="connsiteX256" fmla="*/ 818572 w 2175516"/>
                <a:gd name="connsiteY256" fmla="*/ 2388 h 126301"/>
                <a:gd name="connsiteX257" fmla="*/ 876681 w 2175516"/>
                <a:gd name="connsiteY257" fmla="*/ 45108 h 126301"/>
                <a:gd name="connsiteX258" fmla="*/ 893132 w 2175516"/>
                <a:gd name="connsiteY258" fmla="*/ 45108 h 126301"/>
                <a:gd name="connsiteX259" fmla="*/ 894724 w 2175516"/>
                <a:gd name="connsiteY259" fmla="*/ 37413 h 126301"/>
                <a:gd name="connsiteX260" fmla="*/ 876681 w 2175516"/>
                <a:gd name="connsiteY260" fmla="*/ 37413 h 126301"/>
                <a:gd name="connsiteX261" fmla="*/ 876681 w 2175516"/>
                <a:gd name="connsiteY261" fmla="*/ 19900 h 126301"/>
                <a:gd name="connsiteX262" fmla="*/ 872966 w 2175516"/>
                <a:gd name="connsiteY262" fmla="*/ 19900 h 126301"/>
                <a:gd name="connsiteX263" fmla="*/ 852004 w 2175516"/>
                <a:gd name="connsiteY263" fmla="*/ 41393 h 126301"/>
                <a:gd name="connsiteX264" fmla="*/ 852004 w 2175516"/>
                <a:gd name="connsiteY264" fmla="*/ 45108 h 126301"/>
                <a:gd name="connsiteX265" fmla="*/ 859699 w 2175516"/>
                <a:gd name="connsiteY265" fmla="*/ 45108 h 126301"/>
                <a:gd name="connsiteX266" fmla="*/ 859699 w 2175516"/>
                <a:gd name="connsiteY266" fmla="*/ 78540 h 126301"/>
                <a:gd name="connsiteX267" fmla="*/ 875620 w 2175516"/>
                <a:gd name="connsiteY267" fmla="*/ 94991 h 126301"/>
                <a:gd name="connsiteX268" fmla="*/ 896051 w 2175516"/>
                <a:gd name="connsiteY268" fmla="*/ 83582 h 126301"/>
                <a:gd name="connsiteX269" fmla="*/ 893928 w 2175516"/>
                <a:gd name="connsiteY269" fmla="*/ 79336 h 126301"/>
                <a:gd name="connsiteX270" fmla="*/ 883580 w 2175516"/>
                <a:gd name="connsiteY270" fmla="*/ 86501 h 126301"/>
                <a:gd name="connsiteX271" fmla="*/ 876946 w 2175516"/>
                <a:gd name="connsiteY271" fmla="*/ 79336 h 126301"/>
                <a:gd name="connsiteX272" fmla="*/ 876946 w 2175516"/>
                <a:gd name="connsiteY272" fmla="*/ 45108 h 126301"/>
                <a:gd name="connsiteX273" fmla="*/ 876681 w 2175516"/>
                <a:gd name="connsiteY273" fmla="*/ 45108 h 126301"/>
                <a:gd name="connsiteX274" fmla="*/ 957344 w 2175516"/>
                <a:gd name="connsiteY274" fmla="*/ 94991 h 126301"/>
                <a:gd name="connsiteX275" fmla="*/ 959998 w 2175516"/>
                <a:gd name="connsiteY275" fmla="*/ 94991 h 126301"/>
                <a:gd name="connsiteX276" fmla="*/ 982551 w 2175516"/>
                <a:gd name="connsiteY276" fmla="*/ 90746 h 126301"/>
                <a:gd name="connsiteX277" fmla="*/ 982551 w 2175516"/>
                <a:gd name="connsiteY277" fmla="*/ 86235 h 126301"/>
                <a:gd name="connsiteX278" fmla="*/ 978837 w 2175516"/>
                <a:gd name="connsiteY278" fmla="*/ 86766 h 126301"/>
                <a:gd name="connsiteX279" fmla="*/ 974326 w 2175516"/>
                <a:gd name="connsiteY279" fmla="*/ 78540 h 126301"/>
                <a:gd name="connsiteX280" fmla="*/ 974326 w 2175516"/>
                <a:gd name="connsiteY280" fmla="*/ 35821 h 126301"/>
                <a:gd name="connsiteX281" fmla="*/ 971672 w 2175516"/>
                <a:gd name="connsiteY281" fmla="*/ 35821 h 126301"/>
                <a:gd name="connsiteX282" fmla="*/ 945935 w 2175516"/>
                <a:gd name="connsiteY282" fmla="*/ 40862 h 126301"/>
                <a:gd name="connsiteX283" fmla="*/ 945935 w 2175516"/>
                <a:gd name="connsiteY283" fmla="*/ 44046 h 126301"/>
                <a:gd name="connsiteX284" fmla="*/ 952568 w 2175516"/>
                <a:gd name="connsiteY284" fmla="*/ 46169 h 126301"/>
                <a:gd name="connsiteX285" fmla="*/ 957609 w 2175516"/>
                <a:gd name="connsiteY285" fmla="*/ 54395 h 126301"/>
                <a:gd name="connsiteX286" fmla="*/ 957609 w 2175516"/>
                <a:gd name="connsiteY286" fmla="*/ 79602 h 126301"/>
                <a:gd name="connsiteX287" fmla="*/ 943281 w 2175516"/>
                <a:gd name="connsiteY287" fmla="*/ 85174 h 126301"/>
                <a:gd name="connsiteX288" fmla="*/ 933994 w 2175516"/>
                <a:gd name="connsiteY288" fmla="*/ 71376 h 126301"/>
                <a:gd name="connsiteX289" fmla="*/ 933994 w 2175516"/>
                <a:gd name="connsiteY289" fmla="*/ 35821 h 126301"/>
                <a:gd name="connsiteX290" fmla="*/ 931341 w 2175516"/>
                <a:gd name="connsiteY290" fmla="*/ 35821 h 126301"/>
                <a:gd name="connsiteX291" fmla="*/ 911175 w 2175516"/>
                <a:gd name="connsiteY291" fmla="*/ 40862 h 126301"/>
                <a:gd name="connsiteX292" fmla="*/ 911175 w 2175516"/>
                <a:gd name="connsiteY292" fmla="*/ 44046 h 126301"/>
                <a:gd name="connsiteX293" fmla="*/ 914359 w 2175516"/>
                <a:gd name="connsiteY293" fmla="*/ 45638 h 126301"/>
                <a:gd name="connsiteX294" fmla="*/ 917013 w 2175516"/>
                <a:gd name="connsiteY294" fmla="*/ 53333 h 126301"/>
                <a:gd name="connsiteX295" fmla="*/ 917013 w 2175516"/>
                <a:gd name="connsiteY295" fmla="*/ 76948 h 126301"/>
                <a:gd name="connsiteX296" fmla="*/ 932402 w 2175516"/>
                <a:gd name="connsiteY296" fmla="*/ 94991 h 126301"/>
                <a:gd name="connsiteX297" fmla="*/ 957609 w 2175516"/>
                <a:gd name="connsiteY297" fmla="*/ 84643 h 126301"/>
                <a:gd name="connsiteX298" fmla="*/ 957609 w 2175516"/>
                <a:gd name="connsiteY298" fmla="*/ 94991 h 126301"/>
                <a:gd name="connsiteX299" fmla="*/ 957344 w 2175516"/>
                <a:gd name="connsiteY299" fmla="*/ 94991 h 126301"/>
                <a:gd name="connsiteX300" fmla="*/ 1023679 w 2175516"/>
                <a:gd name="connsiteY300" fmla="*/ 45108 h 126301"/>
                <a:gd name="connsiteX301" fmla="*/ 1040130 w 2175516"/>
                <a:gd name="connsiteY301" fmla="*/ 45108 h 126301"/>
                <a:gd name="connsiteX302" fmla="*/ 1041722 w 2175516"/>
                <a:gd name="connsiteY302" fmla="*/ 37413 h 126301"/>
                <a:gd name="connsiteX303" fmla="*/ 1023679 w 2175516"/>
                <a:gd name="connsiteY303" fmla="*/ 37413 h 126301"/>
                <a:gd name="connsiteX304" fmla="*/ 1023679 w 2175516"/>
                <a:gd name="connsiteY304" fmla="*/ 19900 h 126301"/>
                <a:gd name="connsiteX305" fmla="*/ 1019964 w 2175516"/>
                <a:gd name="connsiteY305" fmla="*/ 19900 h 126301"/>
                <a:gd name="connsiteX306" fmla="*/ 999002 w 2175516"/>
                <a:gd name="connsiteY306" fmla="*/ 41393 h 126301"/>
                <a:gd name="connsiteX307" fmla="*/ 999002 w 2175516"/>
                <a:gd name="connsiteY307" fmla="*/ 45108 h 126301"/>
                <a:gd name="connsiteX308" fmla="*/ 1006697 w 2175516"/>
                <a:gd name="connsiteY308" fmla="*/ 45108 h 126301"/>
                <a:gd name="connsiteX309" fmla="*/ 1006697 w 2175516"/>
                <a:gd name="connsiteY309" fmla="*/ 78540 h 126301"/>
                <a:gd name="connsiteX310" fmla="*/ 1022618 w 2175516"/>
                <a:gd name="connsiteY310" fmla="*/ 94991 h 126301"/>
                <a:gd name="connsiteX311" fmla="*/ 1043049 w 2175516"/>
                <a:gd name="connsiteY311" fmla="*/ 83582 h 126301"/>
                <a:gd name="connsiteX312" fmla="*/ 1040926 w 2175516"/>
                <a:gd name="connsiteY312" fmla="*/ 79336 h 126301"/>
                <a:gd name="connsiteX313" fmla="*/ 1030578 w 2175516"/>
                <a:gd name="connsiteY313" fmla="*/ 86501 h 126301"/>
                <a:gd name="connsiteX314" fmla="*/ 1023944 w 2175516"/>
                <a:gd name="connsiteY314" fmla="*/ 79336 h 126301"/>
                <a:gd name="connsiteX315" fmla="*/ 1023944 w 2175516"/>
                <a:gd name="connsiteY315" fmla="*/ 45108 h 126301"/>
                <a:gd name="connsiteX316" fmla="*/ 1023679 w 2175516"/>
                <a:gd name="connsiteY316" fmla="*/ 45108 h 126301"/>
                <a:gd name="connsiteX317" fmla="*/ 1111506 w 2175516"/>
                <a:gd name="connsiteY317" fmla="*/ 75356 h 126301"/>
                <a:gd name="connsiteX318" fmla="*/ 1094525 w 2175516"/>
                <a:gd name="connsiteY318" fmla="*/ 85705 h 126301"/>
                <a:gd name="connsiteX319" fmla="*/ 1077543 w 2175516"/>
                <a:gd name="connsiteY319" fmla="*/ 64743 h 126301"/>
                <a:gd name="connsiteX320" fmla="*/ 1116548 w 2175516"/>
                <a:gd name="connsiteY320" fmla="*/ 64743 h 126301"/>
                <a:gd name="connsiteX321" fmla="*/ 1116548 w 2175516"/>
                <a:gd name="connsiteY321" fmla="*/ 61028 h 126301"/>
                <a:gd name="connsiteX322" fmla="*/ 1113364 w 2175516"/>
                <a:gd name="connsiteY322" fmla="*/ 54925 h 126301"/>
                <a:gd name="connsiteX323" fmla="*/ 1107261 w 2175516"/>
                <a:gd name="connsiteY323" fmla="*/ 42189 h 126301"/>
                <a:gd name="connsiteX324" fmla="*/ 1089748 w 2175516"/>
                <a:gd name="connsiteY324" fmla="*/ 35555 h 126301"/>
                <a:gd name="connsiteX325" fmla="*/ 1059500 w 2175516"/>
                <a:gd name="connsiteY325" fmla="*/ 66865 h 126301"/>
                <a:gd name="connsiteX326" fmla="*/ 1085238 w 2175516"/>
                <a:gd name="connsiteY326" fmla="*/ 94726 h 126301"/>
                <a:gd name="connsiteX327" fmla="*/ 1114956 w 2175516"/>
                <a:gd name="connsiteY327" fmla="*/ 77744 h 126301"/>
                <a:gd name="connsiteX328" fmla="*/ 1111506 w 2175516"/>
                <a:gd name="connsiteY328" fmla="*/ 75356 h 126301"/>
                <a:gd name="connsiteX329" fmla="*/ 1111506 w 2175516"/>
                <a:gd name="connsiteY329" fmla="*/ 75356 h 126301"/>
                <a:gd name="connsiteX330" fmla="*/ 1076747 w 2175516"/>
                <a:gd name="connsiteY330" fmla="*/ 59967 h 126301"/>
                <a:gd name="connsiteX331" fmla="*/ 1086564 w 2175516"/>
                <a:gd name="connsiteY331" fmla="*/ 42454 h 126301"/>
                <a:gd name="connsiteX332" fmla="*/ 1096382 w 2175516"/>
                <a:gd name="connsiteY332" fmla="*/ 59967 h 126301"/>
                <a:gd name="connsiteX333" fmla="*/ 1076747 w 2175516"/>
                <a:gd name="connsiteY333" fmla="*/ 59967 h 126301"/>
                <a:gd name="connsiteX334" fmla="*/ 1076747 w 2175516"/>
                <a:gd name="connsiteY334" fmla="*/ 59967 h 126301"/>
                <a:gd name="connsiteX335" fmla="*/ 1172800 w 2175516"/>
                <a:gd name="connsiteY335" fmla="*/ 66600 h 126301"/>
                <a:gd name="connsiteX336" fmla="*/ 1205702 w 2175516"/>
                <a:gd name="connsiteY336" fmla="*/ 94991 h 126301"/>
                <a:gd name="connsiteX337" fmla="*/ 1241257 w 2175516"/>
                <a:gd name="connsiteY337" fmla="*/ 64743 h 126301"/>
                <a:gd name="connsiteX338" fmla="*/ 1207824 w 2175516"/>
                <a:gd name="connsiteY338" fmla="*/ 35555 h 126301"/>
                <a:gd name="connsiteX339" fmla="*/ 1172800 w 2175516"/>
                <a:gd name="connsiteY339" fmla="*/ 66600 h 126301"/>
                <a:gd name="connsiteX340" fmla="*/ 1172800 w 2175516"/>
                <a:gd name="connsiteY340" fmla="*/ 66600 h 126301"/>
                <a:gd name="connsiteX341" fmla="*/ 1191639 w 2175516"/>
                <a:gd name="connsiteY341" fmla="*/ 58375 h 126301"/>
                <a:gd name="connsiteX342" fmla="*/ 1204906 w 2175516"/>
                <a:gd name="connsiteY342" fmla="*/ 41924 h 126301"/>
                <a:gd name="connsiteX343" fmla="*/ 1222949 w 2175516"/>
                <a:gd name="connsiteY343" fmla="*/ 72703 h 126301"/>
                <a:gd name="connsiteX344" fmla="*/ 1210212 w 2175516"/>
                <a:gd name="connsiteY344" fmla="*/ 90215 h 126301"/>
                <a:gd name="connsiteX345" fmla="*/ 1191639 w 2175516"/>
                <a:gd name="connsiteY345" fmla="*/ 58375 h 126301"/>
                <a:gd name="connsiteX346" fmla="*/ 1191639 w 2175516"/>
                <a:gd name="connsiteY346" fmla="*/ 58375 h 126301"/>
                <a:gd name="connsiteX347" fmla="*/ 1284773 w 2175516"/>
                <a:gd name="connsiteY347" fmla="*/ 44577 h 126301"/>
                <a:gd name="connsiteX348" fmla="*/ 1298040 w 2175516"/>
                <a:gd name="connsiteY348" fmla="*/ 44577 h 126301"/>
                <a:gd name="connsiteX349" fmla="*/ 1299101 w 2175516"/>
                <a:gd name="connsiteY349" fmla="*/ 37413 h 126301"/>
                <a:gd name="connsiteX350" fmla="*/ 1284773 w 2175516"/>
                <a:gd name="connsiteY350" fmla="*/ 37413 h 126301"/>
                <a:gd name="connsiteX351" fmla="*/ 1284773 w 2175516"/>
                <a:gd name="connsiteY351" fmla="*/ 23084 h 126301"/>
                <a:gd name="connsiteX352" fmla="*/ 1296182 w 2175516"/>
                <a:gd name="connsiteY352" fmla="*/ 8226 h 126301"/>
                <a:gd name="connsiteX353" fmla="*/ 1308388 w 2175516"/>
                <a:gd name="connsiteY353" fmla="*/ 14859 h 126301"/>
                <a:gd name="connsiteX354" fmla="*/ 1314491 w 2175516"/>
                <a:gd name="connsiteY354" fmla="*/ 18574 h 126301"/>
                <a:gd name="connsiteX355" fmla="*/ 1317144 w 2175516"/>
                <a:gd name="connsiteY355" fmla="*/ 16451 h 126301"/>
                <a:gd name="connsiteX356" fmla="*/ 1321655 w 2175516"/>
                <a:gd name="connsiteY356" fmla="*/ 10879 h 126301"/>
                <a:gd name="connsiteX357" fmla="*/ 1322716 w 2175516"/>
                <a:gd name="connsiteY357" fmla="*/ 8756 h 126301"/>
                <a:gd name="connsiteX358" fmla="*/ 1304673 w 2175516"/>
                <a:gd name="connsiteY358" fmla="*/ 0 h 126301"/>
                <a:gd name="connsiteX359" fmla="*/ 1268587 w 2175516"/>
                <a:gd name="connsiteY359" fmla="*/ 37413 h 126301"/>
                <a:gd name="connsiteX360" fmla="*/ 1257708 w 2175516"/>
                <a:gd name="connsiteY360" fmla="*/ 41924 h 126301"/>
                <a:gd name="connsiteX361" fmla="*/ 1257708 w 2175516"/>
                <a:gd name="connsiteY361" fmla="*/ 44577 h 126301"/>
                <a:gd name="connsiteX362" fmla="*/ 1268056 w 2175516"/>
                <a:gd name="connsiteY362" fmla="*/ 44577 h 126301"/>
                <a:gd name="connsiteX363" fmla="*/ 1268056 w 2175516"/>
                <a:gd name="connsiteY363" fmla="*/ 80132 h 126301"/>
                <a:gd name="connsiteX364" fmla="*/ 1260362 w 2175516"/>
                <a:gd name="connsiteY364" fmla="*/ 89950 h 126301"/>
                <a:gd name="connsiteX365" fmla="*/ 1257708 w 2175516"/>
                <a:gd name="connsiteY365" fmla="*/ 89950 h 126301"/>
                <a:gd name="connsiteX366" fmla="*/ 1257708 w 2175516"/>
                <a:gd name="connsiteY366" fmla="*/ 94461 h 126301"/>
                <a:gd name="connsiteX367" fmla="*/ 1300162 w 2175516"/>
                <a:gd name="connsiteY367" fmla="*/ 94461 h 126301"/>
                <a:gd name="connsiteX368" fmla="*/ 1300162 w 2175516"/>
                <a:gd name="connsiteY368" fmla="*/ 89950 h 126301"/>
                <a:gd name="connsiteX369" fmla="*/ 1296978 w 2175516"/>
                <a:gd name="connsiteY369" fmla="*/ 89950 h 126301"/>
                <a:gd name="connsiteX370" fmla="*/ 1285038 w 2175516"/>
                <a:gd name="connsiteY370" fmla="*/ 79071 h 126301"/>
                <a:gd name="connsiteX371" fmla="*/ 1285038 w 2175516"/>
                <a:gd name="connsiteY371" fmla="*/ 44577 h 126301"/>
                <a:gd name="connsiteX372" fmla="*/ 1284773 w 2175516"/>
                <a:gd name="connsiteY372" fmla="*/ 44577 h 126301"/>
                <a:gd name="connsiteX373" fmla="*/ 1408686 w 2175516"/>
                <a:gd name="connsiteY373" fmla="*/ 14328 h 126301"/>
                <a:gd name="connsiteX374" fmla="*/ 1425137 w 2175516"/>
                <a:gd name="connsiteY374" fmla="*/ 14328 h 126301"/>
                <a:gd name="connsiteX375" fmla="*/ 1436016 w 2175516"/>
                <a:gd name="connsiteY375" fmla="*/ 16982 h 126301"/>
                <a:gd name="connsiteX376" fmla="*/ 1440527 w 2175516"/>
                <a:gd name="connsiteY376" fmla="*/ 30779 h 126301"/>
                <a:gd name="connsiteX377" fmla="*/ 1446099 w 2175516"/>
                <a:gd name="connsiteY377" fmla="*/ 30779 h 126301"/>
                <a:gd name="connsiteX378" fmla="*/ 1443976 w 2175516"/>
                <a:gd name="connsiteY378" fmla="*/ 4511 h 126301"/>
                <a:gd name="connsiteX379" fmla="*/ 1438935 w 2175516"/>
                <a:gd name="connsiteY379" fmla="*/ 4511 h 126301"/>
                <a:gd name="connsiteX380" fmla="*/ 1432301 w 2175516"/>
                <a:gd name="connsiteY380" fmla="*/ 7164 h 126301"/>
                <a:gd name="connsiteX381" fmla="*/ 1365436 w 2175516"/>
                <a:gd name="connsiteY381" fmla="*/ 7164 h 126301"/>
                <a:gd name="connsiteX382" fmla="*/ 1361721 w 2175516"/>
                <a:gd name="connsiteY382" fmla="*/ 6633 h 126301"/>
                <a:gd name="connsiteX383" fmla="*/ 1359068 w 2175516"/>
                <a:gd name="connsiteY383" fmla="*/ 4511 h 126301"/>
                <a:gd name="connsiteX384" fmla="*/ 1354557 w 2175516"/>
                <a:gd name="connsiteY384" fmla="*/ 4511 h 126301"/>
                <a:gd name="connsiteX385" fmla="*/ 1351904 w 2175516"/>
                <a:gd name="connsiteY385" fmla="*/ 30779 h 126301"/>
                <a:gd name="connsiteX386" fmla="*/ 1358006 w 2175516"/>
                <a:gd name="connsiteY386" fmla="*/ 30779 h 126301"/>
                <a:gd name="connsiteX387" fmla="*/ 1362517 w 2175516"/>
                <a:gd name="connsiteY387" fmla="*/ 16982 h 126301"/>
                <a:gd name="connsiteX388" fmla="*/ 1372865 w 2175516"/>
                <a:gd name="connsiteY388" fmla="*/ 14328 h 126301"/>
                <a:gd name="connsiteX389" fmla="*/ 1389847 w 2175516"/>
                <a:gd name="connsiteY389" fmla="*/ 14328 h 126301"/>
                <a:gd name="connsiteX390" fmla="*/ 1389847 w 2175516"/>
                <a:gd name="connsiteY390" fmla="*/ 78540 h 126301"/>
                <a:gd name="connsiteX391" fmla="*/ 1378968 w 2175516"/>
                <a:gd name="connsiteY391" fmla="*/ 88889 h 126301"/>
                <a:gd name="connsiteX392" fmla="*/ 1373927 w 2175516"/>
                <a:gd name="connsiteY392" fmla="*/ 88889 h 126301"/>
                <a:gd name="connsiteX393" fmla="*/ 1373927 w 2175516"/>
                <a:gd name="connsiteY393" fmla="*/ 94461 h 126301"/>
                <a:gd name="connsiteX394" fmla="*/ 1424341 w 2175516"/>
                <a:gd name="connsiteY394" fmla="*/ 94461 h 126301"/>
                <a:gd name="connsiteX395" fmla="*/ 1424341 w 2175516"/>
                <a:gd name="connsiteY395" fmla="*/ 89154 h 126301"/>
                <a:gd name="connsiteX396" fmla="*/ 1421157 w 2175516"/>
                <a:gd name="connsiteY396" fmla="*/ 89154 h 126301"/>
                <a:gd name="connsiteX397" fmla="*/ 1409217 w 2175516"/>
                <a:gd name="connsiteY397" fmla="*/ 78806 h 126301"/>
                <a:gd name="connsiteX398" fmla="*/ 1409217 w 2175516"/>
                <a:gd name="connsiteY398" fmla="*/ 14328 h 126301"/>
                <a:gd name="connsiteX399" fmla="*/ 1408686 w 2175516"/>
                <a:gd name="connsiteY399" fmla="*/ 14328 h 126301"/>
                <a:gd name="connsiteX400" fmla="*/ 1517475 w 2175516"/>
                <a:gd name="connsiteY400" fmla="*/ 75356 h 126301"/>
                <a:gd name="connsiteX401" fmla="*/ 1500494 w 2175516"/>
                <a:gd name="connsiteY401" fmla="*/ 85705 h 126301"/>
                <a:gd name="connsiteX402" fmla="*/ 1483512 w 2175516"/>
                <a:gd name="connsiteY402" fmla="*/ 64743 h 126301"/>
                <a:gd name="connsiteX403" fmla="*/ 1522517 w 2175516"/>
                <a:gd name="connsiteY403" fmla="*/ 64743 h 126301"/>
                <a:gd name="connsiteX404" fmla="*/ 1522517 w 2175516"/>
                <a:gd name="connsiteY404" fmla="*/ 61028 h 126301"/>
                <a:gd name="connsiteX405" fmla="*/ 1519333 w 2175516"/>
                <a:gd name="connsiteY405" fmla="*/ 54925 h 126301"/>
                <a:gd name="connsiteX406" fmla="*/ 1513230 w 2175516"/>
                <a:gd name="connsiteY406" fmla="*/ 42189 h 126301"/>
                <a:gd name="connsiteX407" fmla="*/ 1495717 w 2175516"/>
                <a:gd name="connsiteY407" fmla="*/ 35555 h 126301"/>
                <a:gd name="connsiteX408" fmla="*/ 1465469 w 2175516"/>
                <a:gd name="connsiteY408" fmla="*/ 66865 h 126301"/>
                <a:gd name="connsiteX409" fmla="*/ 1491207 w 2175516"/>
                <a:gd name="connsiteY409" fmla="*/ 94726 h 126301"/>
                <a:gd name="connsiteX410" fmla="*/ 1520925 w 2175516"/>
                <a:gd name="connsiteY410" fmla="*/ 77744 h 126301"/>
                <a:gd name="connsiteX411" fmla="*/ 1517475 w 2175516"/>
                <a:gd name="connsiteY411" fmla="*/ 75356 h 126301"/>
                <a:gd name="connsiteX412" fmla="*/ 1517475 w 2175516"/>
                <a:gd name="connsiteY412" fmla="*/ 75356 h 126301"/>
                <a:gd name="connsiteX413" fmla="*/ 1482716 w 2175516"/>
                <a:gd name="connsiteY413" fmla="*/ 59967 h 126301"/>
                <a:gd name="connsiteX414" fmla="*/ 1492533 w 2175516"/>
                <a:gd name="connsiteY414" fmla="*/ 42454 h 126301"/>
                <a:gd name="connsiteX415" fmla="*/ 1502351 w 2175516"/>
                <a:gd name="connsiteY415" fmla="*/ 59967 h 126301"/>
                <a:gd name="connsiteX416" fmla="*/ 1482716 w 2175516"/>
                <a:gd name="connsiteY416" fmla="*/ 59967 h 126301"/>
                <a:gd name="connsiteX417" fmla="*/ 1482716 w 2175516"/>
                <a:gd name="connsiteY417" fmla="*/ 59967 h 126301"/>
                <a:gd name="connsiteX418" fmla="*/ 1595750 w 2175516"/>
                <a:gd name="connsiteY418" fmla="*/ 78540 h 126301"/>
                <a:gd name="connsiteX419" fmla="*/ 1577707 w 2175516"/>
                <a:gd name="connsiteY419" fmla="*/ 88889 h 126301"/>
                <a:gd name="connsiteX420" fmla="*/ 1560195 w 2175516"/>
                <a:gd name="connsiteY420" fmla="*/ 63151 h 126301"/>
                <a:gd name="connsiteX421" fmla="*/ 1572135 w 2175516"/>
                <a:gd name="connsiteY421" fmla="*/ 42189 h 126301"/>
                <a:gd name="connsiteX422" fmla="*/ 1580891 w 2175516"/>
                <a:gd name="connsiteY422" fmla="*/ 47761 h 126301"/>
                <a:gd name="connsiteX423" fmla="*/ 1591770 w 2175516"/>
                <a:gd name="connsiteY423" fmla="*/ 54395 h 126301"/>
                <a:gd name="connsiteX424" fmla="*/ 1598934 w 2175516"/>
                <a:gd name="connsiteY424" fmla="*/ 47230 h 126301"/>
                <a:gd name="connsiteX425" fmla="*/ 1577973 w 2175516"/>
                <a:gd name="connsiteY425" fmla="*/ 35821 h 126301"/>
                <a:gd name="connsiteX426" fmla="*/ 1541356 w 2175516"/>
                <a:gd name="connsiteY426" fmla="*/ 68192 h 126301"/>
                <a:gd name="connsiteX427" fmla="*/ 1571074 w 2175516"/>
                <a:gd name="connsiteY427" fmla="*/ 94991 h 126301"/>
                <a:gd name="connsiteX428" fmla="*/ 1599731 w 2175516"/>
                <a:gd name="connsiteY428" fmla="*/ 80663 h 126301"/>
                <a:gd name="connsiteX429" fmla="*/ 1595750 w 2175516"/>
                <a:gd name="connsiteY429" fmla="*/ 78540 h 126301"/>
                <a:gd name="connsiteX430" fmla="*/ 1595750 w 2175516"/>
                <a:gd name="connsiteY430" fmla="*/ 78540 h 126301"/>
                <a:gd name="connsiteX431" fmla="*/ 1641389 w 2175516"/>
                <a:gd name="connsiteY431" fmla="*/ 51741 h 126301"/>
                <a:gd name="connsiteX432" fmla="*/ 1655717 w 2175516"/>
                <a:gd name="connsiteY432" fmla="*/ 46169 h 126301"/>
                <a:gd name="connsiteX433" fmla="*/ 1665004 w 2175516"/>
                <a:gd name="connsiteY433" fmla="*/ 58375 h 126301"/>
                <a:gd name="connsiteX434" fmla="*/ 1665004 w 2175516"/>
                <a:gd name="connsiteY434" fmla="*/ 79867 h 126301"/>
                <a:gd name="connsiteX435" fmla="*/ 1657840 w 2175516"/>
                <a:gd name="connsiteY435" fmla="*/ 90215 h 126301"/>
                <a:gd name="connsiteX436" fmla="*/ 1656778 w 2175516"/>
                <a:gd name="connsiteY436" fmla="*/ 90215 h 126301"/>
                <a:gd name="connsiteX437" fmla="*/ 1656778 w 2175516"/>
                <a:gd name="connsiteY437" fmla="*/ 94726 h 126301"/>
                <a:gd name="connsiteX438" fmla="*/ 1689681 w 2175516"/>
                <a:gd name="connsiteY438" fmla="*/ 94726 h 126301"/>
                <a:gd name="connsiteX439" fmla="*/ 1689681 w 2175516"/>
                <a:gd name="connsiteY439" fmla="*/ 90215 h 126301"/>
                <a:gd name="connsiteX440" fmla="*/ 1688619 w 2175516"/>
                <a:gd name="connsiteY440" fmla="*/ 90215 h 126301"/>
                <a:gd name="connsiteX441" fmla="*/ 1681986 w 2175516"/>
                <a:gd name="connsiteY441" fmla="*/ 79336 h 126301"/>
                <a:gd name="connsiteX442" fmla="*/ 1681986 w 2175516"/>
                <a:gd name="connsiteY442" fmla="*/ 60763 h 126301"/>
                <a:gd name="connsiteX443" fmla="*/ 1666596 w 2175516"/>
                <a:gd name="connsiteY443" fmla="*/ 36086 h 126301"/>
                <a:gd name="connsiteX444" fmla="*/ 1641389 w 2175516"/>
                <a:gd name="connsiteY444" fmla="*/ 46434 h 126301"/>
                <a:gd name="connsiteX445" fmla="*/ 1641389 w 2175516"/>
                <a:gd name="connsiteY445" fmla="*/ 796 h 126301"/>
                <a:gd name="connsiteX446" fmla="*/ 1638205 w 2175516"/>
                <a:gd name="connsiteY446" fmla="*/ 796 h 126301"/>
                <a:gd name="connsiteX447" fmla="*/ 1615651 w 2175516"/>
                <a:gd name="connsiteY447" fmla="*/ 7430 h 126301"/>
                <a:gd name="connsiteX448" fmla="*/ 1615651 w 2175516"/>
                <a:gd name="connsiteY448" fmla="*/ 10614 h 126301"/>
                <a:gd name="connsiteX449" fmla="*/ 1619896 w 2175516"/>
                <a:gd name="connsiteY449" fmla="*/ 12206 h 126301"/>
                <a:gd name="connsiteX450" fmla="*/ 1624407 w 2175516"/>
                <a:gd name="connsiteY450" fmla="*/ 18308 h 126301"/>
                <a:gd name="connsiteX451" fmla="*/ 1624407 w 2175516"/>
                <a:gd name="connsiteY451" fmla="*/ 79867 h 126301"/>
                <a:gd name="connsiteX452" fmla="*/ 1616712 w 2175516"/>
                <a:gd name="connsiteY452" fmla="*/ 90215 h 126301"/>
                <a:gd name="connsiteX453" fmla="*/ 1614589 w 2175516"/>
                <a:gd name="connsiteY453" fmla="*/ 90215 h 126301"/>
                <a:gd name="connsiteX454" fmla="*/ 1614589 w 2175516"/>
                <a:gd name="connsiteY454" fmla="*/ 94726 h 126301"/>
                <a:gd name="connsiteX455" fmla="*/ 1650145 w 2175516"/>
                <a:gd name="connsiteY455" fmla="*/ 94726 h 126301"/>
                <a:gd name="connsiteX456" fmla="*/ 1650145 w 2175516"/>
                <a:gd name="connsiteY456" fmla="*/ 90215 h 126301"/>
                <a:gd name="connsiteX457" fmla="*/ 1649084 w 2175516"/>
                <a:gd name="connsiteY457" fmla="*/ 90215 h 126301"/>
                <a:gd name="connsiteX458" fmla="*/ 1641389 w 2175516"/>
                <a:gd name="connsiteY458" fmla="*/ 80398 h 126301"/>
                <a:gd name="connsiteX459" fmla="*/ 1641389 w 2175516"/>
                <a:gd name="connsiteY459" fmla="*/ 51741 h 126301"/>
                <a:gd name="connsiteX460" fmla="*/ 1641389 w 2175516"/>
                <a:gd name="connsiteY460" fmla="*/ 51741 h 126301"/>
                <a:gd name="connsiteX461" fmla="*/ 1771405 w 2175516"/>
                <a:gd name="connsiteY461" fmla="*/ 59967 h 126301"/>
                <a:gd name="connsiteX462" fmla="*/ 1756546 w 2175516"/>
                <a:gd name="connsiteY462" fmla="*/ 35821 h 126301"/>
                <a:gd name="connsiteX463" fmla="*/ 1730277 w 2175516"/>
                <a:gd name="connsiteY463" fmla="*/ 46700 h 126301"/>
                <a:gd name="connsiteX464" fmla="*/ 1730277 w 2175516"/>
                <a:gd name="connsiteY464" fmla="*/ 33963 h 126301"/>
                <a:gd name="connsiteX465" fmla="*/ 1728155 w 2175516"/>
                <a:gd name="connsiteY465" fmla="*/ 33963 h 126301"/>
                <a:gd name="connsiteX466" fmla="*/ 1704009 w 2175516"/>
                <a:gd name="connsiteY466" fmla="*/ 42189 h 126301"/>
                <a:gd name="connsiteX467" fmla="*/ 1704009 w 2175516"/>
                <a:gd name="connsiteY467" fmla="*/ 45373 h 126301"/>
                <a:gd name="connsiteX468" fmla="*/ 1706662 w 2175516"/>
                <a:gd name="connsiteY468" fmla="*/ 45904 h 126301"/>
                <a:gd name="connsiteX469" fmla="*/ 1713296 w 2175516"/>
                <a:gd name="connsiteY469" fmla="*/ 52537 h 126301"/>
                <a:gd name="connsiteX470" fmla="*/ 1713296 w 2175516"/>
                <a:gd name="connsiteY470" fmla="*/ 79867 h 126301"/>
                <a:gd name="connsiteX471" fmla="*/ 1705601 w 2175516"/>
                <a:gd name="connsiteY471" fmla="*/ 89685 h 126301"/>
                <a:gd name="connsiteX472" fmla="*/ 1704539 w 2175516"/>
                <a:gd name="connsiteY472" fmla="*/ 89685 h 126301"/>
                <a:gd name="connsiteX473" fmla="*/ 1704539 w 2175516"/>
                <a:gd name="connsiteY473" fmla="*/ 94195 h 126301"/>
                <a:gd name="connsiteX474" fmla="*/ 1740095 w 2175516"/>
                <a:gd name="connsiteY474" fmla="*/ 94195 h 126301"/>
                <a:gd name="connsiteX475" fmla="*/ 1740095 w 2175516"/>
                <a:gd name="connsiteY475" fmla="*/ 89685 h 126301"/>
                <a:gd name="connsiteX476" fmla="*/ 1739034 w 2175516"/>
                <a:gd name="connsiteY476" fmla="*/ 89685 h 126301"/>
                <a:gd name="connsiteX477" fmla="*/ 1730277 w 2175516"/>
                <a:gd name="connsiteY477" fmla="*/ 80398 h 126301"/>
                <a:gd name="connsiteX478" fmla="*/ 1730277 w 2175516"/>
                <a:gd name="connsiteY478" fmla="*/ 51741 h 126301"/>
                <a:gd name="connsiteX479" fmla="*/ 1745667 w 2175516"/>
                <a:gd name="connsiteY479" fmla="*/ 45638 h 126301"/>
                <a:gd name="connsiteX480" fmla="*/ 1753893 w 2175516"/>
                <a:gd name="connsiteY480" fmla="*/ 61559 h 126301"/>
                <a:gd name="connsiteX481" fmla="*/ 1753893 w 2175516"/>
                <a:gd name="connsiteY481" fmla="*/ 73764 h 126301"/>
                <a:gd name="connsiteX482" fmla="*/ 1746198 w 2175516"/>
                <a:gd name="connsiteY482" fmla="*/ 89685 h 126301"/>
                <a:gd name="connsiteX483" fmla="*/ 1746198 w 2175516"/>
                <a:gd name="connsiteY483" fmla="*/ 94195 h 126301"/>
                <a:gd name="connsiteX484" fmla="*/ 1779100 w 2175516"/>
                <a:gd name="connsiteY484" fmla="*/ 94195 h 126301"/>
                <a:gd name="connsiteX485" fmla="*/ 1779100 w 2175516"/>
                <a:gd name="connsiteY485" fmla="*/ 89685 h 126301"/>
                <a:gd name="connsiteX486" fmla="*/ 1771405 w 2175516"/>
                <a:gd name="connsiteY486" fmla="*/ 81459 h 126301"/>
                <a:gd name="connsiteX487" fmla="*/ 1771405 w 2175516"/>
                <a:gd name="connsiteY487" fmla="*/ 59967 h 126301"/>
                <a:gd name="connsiteX488" fmla="*/ 1771405 w 2175516"/>
                <a:gd name="connsiteY488" fmla="*/ 59967 h 126301"/>
                <a:gd name="connsiteX489" fmla="*/ 1797143 w 2175516"/>
                <a:gd name="connsiteY489" fmla="*/ 66600 h 126301"/>
                <a:gd name="connsiteX490" fmla="*/ 1830045 w 2175516"/>
                <a:gd name="connsiteY490" fmla="*/ 94991 h 126301"/>
                <a:gd name="connsiteX491" fmla="*/ 1865600 w 2175516"/>
                <a:gd name="connsiteY491" fmla="*/ 64743 h 126301"/>
                <a:gd name="connsiteX492" fmla="*/ 1832168 w 2175516"/>
                <a:gd name="connsiteY492" fmla="*/ 35555 h 126301"/>
                <a:gd name="connsiteX493" fmla="*/ 1797143 w 2175516"/>
                <a:gd name="connsiteY493" fmla="*/ 66600 h 126301"/>
                <a:gd name="connsiteX494" fmla="*/ 1797143 w 2175516"/>
                <a:gd name="connsiteY494" fmla="*/ 66600 h 126301"/>
                <a:gd name="connsiteX495" fmla="*/ 1815717 w 2175516"/>
                <a:gd name="connsiteY495" fmla="*/ 58375 h 126301"/>
                <a:gd name="connsiteX496" fmla="*/ 1828984 w 2175516"/>
                <a:gd name="connsiteY496" fmla="*/ 41924 h 126301"/>
                <a:gd name="connsiteX497" fmla="*/ 1847027 w 2175516"/>
                <a:gd name="connsiteY497" fmla="*/ 72703 h 126301"/>
                <a:gd name="connsiteX498" fmla="*/ 1834290 w 2175516"/>
                <a:gd name="connsiteY498" fmla="*/ 90215 h 126301"/>
                <a:gd name="connsiteX499" fmla="*/ 1815717 w 2175516"/>
                <a:gd name="connsiteY499" fmla="*/ 58375 h 126301"/>
                <a:gd name="connsiteX500" fmla="*/ 1815717 w 2175516"/>
                <a:gd name="connsiteY500" fmla="*/ 58375 h 126301"/>
                <a:gd name="connsiteX501" fmla="*/ 1908055 w 2175516"/>
                <a:gd name="connsiteY501" fmla="*/ 796 h 126301"/>
                <a:gd name="connsiteX502" fmla="*/ 1905401 w 2175516"/>
                <a:gd name="connsiteY502" fmla="*/ 796 h 126301"/>
                <a:gd name="connsiteX503" fmla="*/ 1881256 w 2175516"/>
                <a:gd name="connsiteY503" fmla="*/ 7960 h 126301"/>
                <a:gd name="connsiteX504" fmla="*/ 1881256 w 2175516"/>
                <a:gd name="connsiteY504" fmla="*/ 11675 h 126301"/>
                <a:gd name="connsiteX505" fmla="*/ 1887358 w 2175516"/>
                <a:gd name="connsiteY505" fmla="*/ 13798 h 126301"/>
                <a:gd name="connsiteX506" fmla="*/ 1891073 w 2175516"/>
                <a:gd name="connsiteY506" fmla="*/ 22023 h 126301"/>
                <a:gd name="connsiteX507" fmla="*/ 1891073 w 2175516"/>
                <a:gd name="connsiteY507" fmla="*/ 80132 h 126301"/>
                <a:gd name="connsiteX508" fmla="*/ 1882847 w 2175516"/>
                <a:gd name="connsiteY508" fmla="*/ 89950 h 126301"/>
                <a:gd name="connsiteX509" fmla="*/ 1881786 w 2175516"/>
                <a:gd name="connsiteY509" fmla="*/ 89950 h 126301"/>
                <a:gd name="connsiteX510" fmla="*/ 1881786 w 2175516"/>
                <a:gd name="connsiteY510" fmla="*/ 94461 h 126301"/>
                <a:gd name="connsiteX511" fmla="*/ 1916280 w 2175516"/>
                <a:gd name="connsiteY511" fmla="*/ 94461 h 126301"/>
                <a:gd name="connsiteX512" fmla="*/ 1916280 w 2175516"/>
                <a:gd name="connsiteY512" fmla="*/ 89950 h 126301"/>
                <a:gd name="connsiteX513" fmla="*/ 1908055 w 2175516"/>
                <a:gd name="connsiteY513" fmla="*/ 80132 h 126301"/>
                <a:gd name="connsiteX514" fmla="*/ 1908055 w 2175516"/>
                <a:gd name="connsiteY514" fmla="*/ 796 h 126301"/>
                <a:gd name="connsiteX515" fmla="*/ 1908055 w 2175516"/>
                <a:gd name="connsiteY515" fmla="*/ 796 h 126301"/>
                <a:gd name="connsiteX516" fmla="*/ 1933793 w 2175516"/>
                <a:gd name="connsiteY516" fmla="*/ 66600 h 126301"/>
                <a:gd name="connsiteX517" fmla="*/ 1966695 w 2175516"/>
                <a:gd name="connsiteY517" fmla="*/ 94991 h 126301"/>
                <a:gd name="connsiteX518" fmla="*/ 2002250 w 2175516"/>
                <a:gd name="connsiteY518" fmla="*/ 64743 h 126301"/>
                <a:gd name="connsiteX519" fmla="*/ 1968817 w 2175516"/>
                <a:gd name="connsiteY519" fmla="*/ 35555 h 126301"/>
                <a:gd name="connsiteX520" fmla="*/ 1933793 w 2175516"/>
                <a:gd name="connsiteY520" fmla="*/ 66600 h 126301"/>
                <a:gd name="connsiteX521" fmla="*/ 1933793 w 2175516"/>
                <a:gd name="connsiteY521" fmla="*/ 66600 h 126301"/>
                <a:gd name="connsiteX522" fmla="*/ 1952366 w 2175516"/>
                <a:gd name="connsiteY522" fmla="*/ 58375 h 126301"/>
                <a:gd name="connsiteX523" fmla="*/ 1965633 w 2175516"/>
                <a:gd name="connsiteY523" fmla="*/ 41924 h 126301"/>
                <a:gd name="connsiteX524" fmla="*/ 1983676 w 2175516"/>
                <a:gd name="connsiteY524" fmla="*/ 72703 h 126301"/>
                <a:gd name="connsiteX525" fmla="*/ 1970940 w 2175516"/>
                <a:gd name="connsiteY525" fmla="*/ 90215 h 126301"/>
                <a:gd name="connsiteX526" fmla="*/ 1952366 w 2175516"/>
                <a:gd name="connsiteY526" fmla="*/ 58375 h 126301"/>
                <a:gd name="connsiteX527" fmla="*/ 1952366 w 2175516"/>
                <a:gd name="connsiteY527" fmla="*/ 58375 h 126301"/>
                <a:gd name="connsiteX528" fmla="*/ 2092731 w 2175516"/>
                <a:gd name="connsiteY528" fmla="*/ 36351 h 126301"/>
                <a:gd name="connsiteX529" fmla="*/ 2073096 w 2175516"/>
                <a:gd name="connsiteY529" fmla="*/ 41393 h 126301"/>
                <a:gd name="connsiteX530" fmla="*/ 2053991 w 2175516"/>
                <a:gd name="connsiteY530" fmla="*/ 35821 h 126301"/>
                <a:gd name="connsiteX531" fmla="*/ 2025600 w 2175516"/>
                <a:gd name="connsiteY531" fmla="*/ 57313 h 126301"/>
                <a:gd name="connsiteX532" fmla="*/ 2043643 w 2175516"/>
                <a:gd name="connsiteY532" fmla="*/ 74295 h 126301"/>
                <a:gd name="connsiteX533" fmla="*/ 2043643 w 2175516"/>
                <a:gd name="connsiteY533" fmla="*/ 74826 h 126301"/>
                <a:gd name="connsiteX534" fmla="*/ 2025069 w 2175516"/>
                <a:gd name="connsiteY534" fmla="*/ 86235 h 126301"/>
                <a:gd name="connsiteX535" fmla="*/ 2037275 w 2175516"/>
                <a:gd name="connsiteY535" fmla="*/ 98176 h 126301"/>
                <a:gd name="connsiteX536" fmla="*/ 2030641 w 2175516"/>
                <a:gd name="connsiteY536" fmla="*/ 102686 h 126301"/>
                <a:gd name="connsiteX537" fmla="*/ 2022947 w 2175516"/>
                <a:gd name="connsiteY537" fmla="*/ 111973 h 126301"/>
                <a:gd name="connsiteX538" fmla="*/ 2052134 w 2175516"/>
                <a:gd name="connsiteY538" fmla="*/ 125771 h 126301"/>
                <a:gd name="connsiteX539" fmla="*/ 2091670 w 2175516"/>
                <a:gd name="connsiteY539" fmla="*/ 102156 h 126301"/>
                <a:gd name="connsiteX540" fmla="*/ 2070177 w 2175516"/>
                <a:gd name="connsiteY540" fmla="*/ 87297 h 126301"/>
                <a:gd name="connsiteX541" fmla="*/ 2057971 w 2175516"/>
                <a:gd name="connsiteY541" fmla="*/ 87297 h 126301"/>
                <a:gd name="connsiteX542" fmla="*/ 2040459 w 2175516"/>
                <a:gd name="connsiteY542" fmla="*/ 82255 h 126301"/>
                <a:gd name="connsiteX543" fmla="*/ 2051869 w 2175516"/>
                <a:gd name="connsiteY543" fmla="*/ 75622 h 126301"/>
                <a:gd name="connsiteX544" fmla="*/ 2081587 w 2175516"/>
                <a:gd name="connsiteY544" fmla="*/ 56517 h 126301"/>
                <a:gd name="connsiteX545" fmla="*/ 2078933 w 2175516"/>
                <a:gd name="connsiteY545" fmla="*/ 47230 h 126301"/>
                <a:gd name="connsiteX546" fmla="*/ 2093262 w 2175516"/>
                <a:gd name="connsiteY546" fmla="*/ 50414 h 126301"/>
                <a:gd name="connsiteX547" fmla="*/ 2093262 w 2175516"/>
                <a:gd name="connsiteY547" fmla="*/ 36351 h 126301"/>
                <a:gd name="connsiteX548" fmla="*/ 2092731 w 2175516"/>
                <a:gd name="connsiteY548" fmla="*/ 36351 h 126301"/>
                <a:gd name="connsiteX549" fmla="*/ 2066993 w 2175516"/>
                <a:gd name="connsiteY549" fmla="*/ 101094 h 126301"/>
                <a:gd name="connsiteX550" fmla="*/ 2078403 w 2175516"/>
                <a:gd name="connsiteY550" fmla="*/ 108258 h 126301"/>
                <a:gd name="connsiteX551" fmla="*/ 2058767 w 2175516"/>
                <a:gd name="connsiteY551" fmla="*/ 119668 h 126301"/>
                <a:gd name="connsiteX552" fmla="*/ 2038071 w 2175516"/>
                <a:gd name="connsiteY552" fmla="*/ 107462 h 126301"/>
                <a:gd name="connsiteX553" fmla="*/ 2043643 w 2175516"/>
                <a:gd name="connsiteY553" fmla="*/ 99768 h 126301"/>
                <a:gd name="connsiteX554" fmla="*/ 2055849 w 2175516"/>
                <a:gd name="connsiteY554" fmla="*/ 100829 h 126301"/>
                <a:gd name="connsiteX555" fmla="*/ 2066993 w 2175516"/>
                <a:gd name="connsiteY555" fmla="*/ 100829 h 126301"/>
                <a:gd name="connsiteX556" fmla="*/ 2066993 w 2175516"/>
                <a:gd name="connsiteY556" fmla="*/ 101094 h 126301"/>
                <a:gd name="connsiteX557" fmla="*/ 2042316 w 2175516"/>
                <a:gd name="connsiteY557" fmla="*/ 54925 h 126301"/>
                <a:gd name="connsiteX558" fmla="*/ 2052665 w 2175516"/>
                <a:gd name="connsiteY558" fmla="*/ 41658 h 126301"/>
                <a:gd name="connsiteX559" fmla="*/ 2064074 w 2175516"/>
                <a:gd name="connsiteY559" fmla="*/ 58109 h 126301"/>
                <a:gd name="connsiteX560" fmla="*/ 2054257 w 2175516"/>
                <a:gd name="connsiteY560" fmla="*/ 70315 h 126301"/>
                <a:gd name="connsiteX561" fmla="*/ 2042316 w 2175516"/>
                <a:gd name="connsiteY561" fmla="*/ 54925 h 126301"/>
                <a:gd name="connsiteX562" fmla="*/ 2042316 w 2175516"/>
                <a:gd name="connsiteY562" fmla="*/ 54925 h 126301"/>
                <a:gd name="connsiteX563" fmla="*/ 2136247 w 2175516"/>
                <a:gd name="connsiteY563" fmla="*/ 92869 h 126301"/>
                <a:gd name="connsiteX564" fmla="*/ 2133593 w 2175516"/>
                <a:gd name="connsiteY564" fmla="*/ 98441 h 126301"/>
                <a:gd name="connsiteX565" fmla="*/ 2119796 w 2175516"/>
                <a:gd name="connsiteY565" fmla="*/ 109320 h 126301"/>
                <a:gd name="connsiteX566" fmla="*/ 2112101 w 2175516"/>
                <a:gd name="connsiteY566" fmla="*/ 111973 h 126301"/>
                <a:gd name="connsiteX567" fmla="*/ 2109978 w 2175516"/>
                <a:gd name="connsiteY567" fmla="*/ 118076 h 126301"/>
                <a:gd name="connsiteX568" fmla="*/ 2118734 w 2175516"/>
                <a:gd name="connsiteY568" fmla="*/ 126301 h 126301"/>
                <a:gd name="connsiteX569" fmla="*/ 2132001 w 2175516"/>
                <a:gd name="connsiteY569" fmla="*/ 115953 h 126301"/>
                <a:gd name="connsiteX570" fmla="*/ 2163311 w 2175516"/>
                <a:gd name="connsiteY570" fmla="*/ 52802 h 126301"/>
                <a:gd name="connsiteX571" fmla="*/ 2175517 w 2175516"/>
                <a:gd name="connsiteY571" fmla="*/ 41924 h 126301"/>
                <a:gd name="connsiteX572" fmla="*/ 2175517 w 2175516"/>
                <a:gd name="connsiteY572" fmla="*/ 37413 h 126301"/>
                <a:gd name="connsiteX573" fmla="*/ 2149248 w 2175516"/>
                <a:gd name="connsiteY573" fmla="*/ 37413 h 126301"/>
                <a:gd name="connsiteX574" fmla="*/ 2149248 w 2175516"/>
                <a:gd name="connsiteY574" fmla="*/ 41924 h 126301"/>
                <a:gd name="connsiteX575" fmla="*/ 2156943 w 2175516"/>
                <a:gd name="connsiteY575" fmla="*/ 52802 h 126301"/>
                <a:gd name="connsiteX576" fmla="*/ 2146064 w 2175516"/>
                <a:gd name="connsiteY576" fmla="*/ 74295 h 126301"/>
                <a:gd name="connsiteX577" fmla="*/ 2134654 w 2175516"/>
                <a:gd name="connsiteY577" fmla="*/ 50149 h 126301"/>
                <a:gd name="connsiteX578" fmla="*/ 2134124 w 2175516"/>
                <a:gd name="connsiteY578" fmla="*/ 44046 h 126301"/>
                <a:gd name="connsiteX579" fmla="*/ 2140757 w 2175516"/>
                <a:gd name="connsiteY579" fmla="*/ 41924 h 126301"/>
                <a:gd name="connsiteX580" fmla="*/ 2140757 w 2175516"/>
                <a:gd name="connsiteY580" fmla="*/ 37413 h 126301"/>
                <a:gd name="connsiteX581" fmla="*/ 2104671 w 2175516"/>
                <a:gd name="connsiteY581" fmla="*/ 37413 h 126301"/>
                <a:gd name="connsiteX582" fmla="*/ 2104671 w 2175516"/>
                <a:gd name="connsiteY582" fmla="*/ 41924 h 126301"/>
                <a:gd name="connsiteX583" fmla="*/ 2118469 w 2175516"/>
                <a:gd name="connsiteY583" fmla="*/ 54660 h 126301"/>
                <a:gd name="connsiteX584" fmla="*/ 2136247 w 2175516"/>
                <a:gd name="connsiteY584" fmla="*/ 92869 h 126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</a:cxnLst>
              <a:rect l="l" t="t" r="r" b="b"/>
              <a:pathLst>
                <a:path w="2175516" h="126301">
                  <a:moveTo>
                    <a:pt x="48292" y="95522"/>
                  </a:moveTo>
                  <a:lnTo>
                    <a:pt x="57579" y="95522"/>
                  </a:lnTo>
                  <a:lnTo>
                    <a:pt x="72438" y="65273"/>
                  </a:lnTo>
                  <a:lnTo>
                    <a:pt x="87297" y="95522"/>
                  </a:lnTo>
                  <a:lnTo>
                    <a:pt x="96584" y="95522"/>
                  </a:lnTo>
                  <a:lnTo>
                    <a:pt x="125240" y="25207"/>
                  </a:lnTo>
                  <a:cubicBezTo>
                    <a:pt x="127894" y="16716"/>
                    <a:pt x="132139" y="12471"/>
                    <a:pt x="138507" y="12471"/>
                  </a:cubicBezTo>
                  <a:lnTo>
                    <a:pt x="138507" y="6899"/>
                  </a:lnTo>
                  <a:lnTo>
                    <a:pt x="110381" y="6899"/>
                  </a:lnTo>
                  <a:lnTo>
                    <a:pt x="110381" y="12471"/>
                  </a:lnTo>
                  <a:cubicBezTo>
                    <a:pt x="118341" y="12471"/>
                    <a:pt x="120729" y="16186"/>
                    <a:pt x="117015" y="23881"/>
                  </a:cubicBezTo>
                  <a:lnTo>
                    <a:pt x="97910" y="73234"/>
                  </a:lnTo>
                  <a:lnTo>
                    <a:pt x="83051" y="42985"/>
                  </a:lnTo>
                  <a:lnTo>
                    <a:pt x="93399" y="22023"/>
                  </a:lnTo>
                  <a:cubicBezTo>
                    <a:pt x="96053" y="15920"/>
                    <a:pt x="99502" y="12471"/>
                    <a:pt x="103748" y="12206"/>
                  </a:cubicBezTo>
                  <a:lnTo>
                    <a:pt x="103748" y="6633"/>
                  </a:lnTo>
                  <a:lnTo>
                    <a:pt x="42189" y="6633"/>
                  </a:lnTo>
                  <a:lnTo>
                    <a:pt x="42189" y="12206"/>
                  </a:lnTo>
                  <a:cubicBezTo>
                    <a:pt x="45904" y="11940"/>
                    <a:pt x="48822" y="14859"/>
                    <a:pt x="51476" y="21492"/>
                  </a:cubicBezTo>
                  <a:lnTo>
                    <a:pt x="67927" y="56517"/>
                  </a:lnTo>
                  <a:lnTo>
                    <a:pt x="59171" y="74560"/>
                  </a:lnTo>
                  <a:lnTo>
                    <a:pt x="33433" y="20166"/>
                  </a:lnTo>
                  <a:cubicBezTo>
                    <a:pt x="31841" y="17247"/>
                    <a:pt x="31310" y="15124"/>
                    <a:pt x="31841" y="14063"/>
                  </a:cubicBezTo>
                  <a:cubicBezTo>
                    <a:pt x="32637" y="13002"/>
                    <a:pt x="34229" y="12206"/>
                    <a:pt x="36882" y="11940"/>
                  </a:cubicBezTo>
                  <a:lnTo>
                    <a:pt x="36882" y="6368"/>
                  </a:lnTo>
                  <a:lnTo>
                    <a:pt x="0" y="6368"/>
                  </a:lnTo>
                  <a:lnTo>
                    <a:pt x="0" y="11940"/>
                  </a:lnTo>
                  <a:lnTo>
                    <a:pt x="1061" y="11940"/>
                  </a:lnTo>
                  <a:cubicBezTo>
                    <a:pt x="4245" y="11940"/>
                    <a:pt x="6633" y="12736"/>
                    <a:pt x="8226" y="14063"/>
                  </a:cubicBezTo>
                  <a:cubicBezTo>
                    <a:pt x="9818" y="15124"/>
                    <a:pt x="11675" y="18308"/>
                    <a:pt x="14328" y="23350"/>
                  </a:cubicBezTo>
                  <a:lnTo>
                    <a:pt x="48292" y="95522"/>
                  </a:lnTo>
                  <a:lnTo>
                    <a:pt x="48292" y="95522"/>
                  </a:lnTo>
                  <a:close/>
                  <a:moveTo>
                    <a:pt x="78540" y="34759"/>
                  </a:moveTo>
                  <a:lnTo>
                    <a:pt x="70846" y="18839"/>
                  </a:lnTo>
                  <a:cubicBezTo>
                    <a:pt x="69784" y="16716"/>
                    <a:pt x="69519" y="15124"/>
                    <a:pt x="69784" y="13798"/>
                  </a:cubicBezTo>
                  <a:cubicBezTo>
                    <a:pt x="70580" y="13002"/>
                    <a:pt x="72172" y="12736"/>
                    <a:pt x="74826" y="12736"/>
                  </a:cubicBezTo>
                  <a:lnTo>
                    <a:pt x="82255" y="12736"/>
                  </a:lnTo>
                  <a:cubicBezTo>
                    <a:pt x="85174" y="12736"/>
                    <a:pt x="86766" y="13267"/>
                    <a:pt x="87297" y="14328"/>
                  </a:cubicBezTo>
                  <a:cubicBezTo>
                    <a:pt x="88093" y="15124"/>
                    <a:pt x="87827" y="16716"/>
                    <a:pt x="86766" y="19370"/>
                  </a:cubicBezTo>
                  <a:lnTo>
                    <a:pt x="78540" y="34759"/>
                  </a:lnTo>
                  <a:lnTo>
                    <a:pt x="78540" y="34759"/>
                  </a:lnTo>
                  <a:close/>
                  <a:moveTo>
                    <a:pt x="199800" y="94991"/>
                  </a:moveTo>
                  <a:lnTo>
                    <a:pt x="202454" y="94991"/>
                  </a:lnTo>
                  <a:lnTo>
                    <a:pt x="225008" y="90746"/>
                  </a:lnTo>
                  <a:lnTo>
                    <a:pt x="225008" y="86235"/>
                  </a:lnTo>
                  <a:cubicBezTo>
                    <a:pt x="223416" y="86501"/>
                    <a:pt x="222354" y="86766"/>
                    <a:pt x="221293" y="86766"/>
                  </a:cubicBezTo>
                  <a:cubicBezTo>
                    <a:pt x="218109" y="87562"/>
                    <a:pt x="216517" y="84643"/>
                    <a:pt x="216782" y="78540"/>
                  </a:cubicBezTo>
                  <a:lnTo>
                    <a:pt x="216782" y="35821"/>
                  </a:lnTo>
                  <a:lnTo>
                    <a:pt x="214129" y="35821"/>
                  </a:lnTo>
                  <a:lnTo>
                    <a:pt x="188391" y="40862"/>
                  </a:lnTo>
                  <a:lnTo>
                    <a:pt x="188391" y="44046"/>
                  </a:lnTo>
                  <a:lnTo>
                    <a:pt x="195024" y="46169"/>
                  </a:lnTo>
                  <a:cubicBezTo>
                    <a:pt x="198739" y="46965"/>
                    <a:pt x="200331" y="49618"/>
                    <a:pt x="200066" y="54395"/>
                  </a:cubicBezTo>
                  <a:lnTo>
                    <a:pt x="200066" y="79602"/>
                  </a:lnTo>
                  <a:cubicBezTo>
                    <a:pt x="193963" y="83316"/>
                    <a:pt x="189187" y="85174"/>
                    <a:pt x="185737" y="85174"/>
                  </a:cubicBezTo>
                  <a:cubicBezTo>
                    <a:pt x="179900" y="84909"/>
                    <a:pt x="176716" y="80132"/>
                    <a:pt x="176451" y="71376"/>
                  </a:cubicBezTo>
                  <a:lnTo>
                    <a:pt x="176451" y="35821"/>
                  </a:lnTo>
                  <a:lnTo>
                    <a:pt x="173797" y="35821"/>
                  </a:lnTo>
                  <a:lnTo>
                    <a:pt x="153631" y="40862"/>
                  </a:lnTo>
                  <a:lnTo>
                    <a:pt x="153631" y="44046"/>
                  </a:lnTo>
                  <a:lnTo>
                    <a:pt x="156816" y="45638"/>
                  </a:lnTo>
                  <a:cubicBezTo>
                    <a:pt x="158938" y="45904"/>
                    <a:pt x="160000" y="48557"/>
                    <a:pt x="159469" y="53333"/>
                  </a:cubicBezTo>
                  <a:lnTo>
                    <a:pt x="159469" y="76948"/>
                  </a:lnTo>
                  <a:cubicBezTo>
                    <a:pt x="159734" y="88623"/>
                    <a:pt x="165041" y="94726"/>
                    <a:pt x="174859" y="94991"/>
                  </a:cubicBezTo>
                  <a:cubicBezTo>
                    <a:pt x="180431" y="95257"/>
                    <a:pt x="188656" y="91807"/>
                    <a:pt x="200066" y="84643"/>
                  </a:cubicBezTo>
                  <a:lnTo>
                    <a:pt x="200066" y="94991"/>
                  </a:lnTo>
                  <a:lnTo>
                    <a:pt x="199800" y="94991"/>
                  </a:lnTo>
                  <a:close/>
                  <a:moveTo>
                    <a:pt x="266135" y="51741"/>
                  </a:moveTo>
                  <a:cubicBezTo>
                    <a:pt x="271707" y="48026"/>
                    <a:pt x="276484" y="46169"/>
                    <a:pt x="280464" y="46169"/>
                  </a:cubicBezTo>
                  <a:cubicBezTo>
                    <a:pt x="286301" y="46434"/>
                    <a:pt x="289485" y="50680"/>
                    <a:pt x="289750" y="58375"/>
                  </a:cubicBezTo>
                  <a:lnTo>
                    <a:pt x="289750" y="79867"/>
                  </a:lnTo>
                  <a:cubicBezTo>
                    <a:pt x="290547" y="87562"/>
                    <a:pt x="288158" y="91011"/>
                    <a:pt x="282586" y="90215"/>
                  </a:cubicBezTo>
                  <a:lnTo>
                    <a:pt x="281525" y="90215"/>
                  </a:lnTo>
                  <a:lnTo>
                    <a:pt x="281525" y="94726"/>
                  </a:lnTo>
                  <a:lnTo>
                    <a:pt x="314427" y="94726"/>
                  </a:lnTo>
                  <a:lnTo>
                    <a:pt x="314427" y="90215"/>
                  </a:lnTo>
                  <a:lnTo>
                    <a:pt x="313366" y="90215"/>
                  </a:lnTo>
                  <a:cubicBezTo>
                    <a:pt x="308590" y="91011"/>
                    <a:pt x="306467" y="87297"/>
                    <a:pt x="306732" y="79336"/>
                  </a:cubicBezTo>
                  <a:lnTo>
                    <a:pt x="306732" y="60763"/>
                  </a:lnTo>
                  <a:cubicBezTo>
                    <a:pt x="306732" y="44312"/>
                    <a:pt x="301691" y="36086"/>
                    <a:pt x="291343" y="36086"/>
                  </a:cubicBezTo>
                  <a:cubicBezTo>
                    <a:pt x="284709" y="36086"/>
                    <a:pt x="276484" y="39536"/>
                    <a:pt x="266135" y="46434"/>
                  </a:cubicBezTo>
                  <a:lnTo>
                    <a:pt x="266135" y="796"/>
                  </a:lnTo>
                  <a:lnTo>
                    <a:pt x="262686" y="796"/>
                  </a:lnTo>
                  <a:lnTo>
                    <a:pt x="240132" y="7430"/>
                  </a:lnTo>
                  <a:lnTo>
                    <a:pt x="240132" y="10614"/>
                  </a:lnTo>
                  <a:lnTo>
                    <a:pt x="244377" y="12206"/>
                  </a:lnTo>
                  <a:cubicBezTo>
                    <a:pt x="247562" y="13002"/>
                    <a:pt x="249154" y="14859"/>
                    <a:pt x="248888" y="18308"/>
                  </a:cubicBezTo>
                  <a:lnTo>
                    <a:pt x="248888" y="79867"/>
                  </a:lnTo>
                  <a:cubicBezTo>
                    <a:pt x="249684" y="87562"/>
                    <a:pt x="247031" y="91011"/>
                    <a:pt x="241193" y="90215"/>
                  </a:cubicBezTo>
                  <a:lnTo>
                    <a:pt x="239071" y="90215"/>
                  </a:lnTo>
                  <a:lnTo>
                    <a:pt x="239071" y="94726"/>
                  </a:lnTo>
                  <a:lnTo>
                    <a:pt x="274626" y="94726"/>
                  </a:lnTo>
                  <a:lnTo>
                    <a:pt x="274626" y="90215"/>
                  </a:lnTo>
                  <a:lnTo>
                    <a:pt x="273565" y="90215"/>
                  </a:lnTo>
                  <a:cubicBezTo>
                    <a:pt x="267993" y="91011"/>
                    <a:pt x="265605" y="87562"/>
                    <a:pt x="265870" y="80398"/>
                  </a:cubicBezTo>
                  <a:lnTo>
                    <a:pt x="265870" y="51741"/>
                  </a:lnTo>
                  <a:lnTo>
                    <a:pt x="266135" y="51741"/>
                  </a:lnTo>
                  <a:close/>
                  <a:moveTo>
                    <a:pt x="388987" y="84113"/>
                  </a:moveTo>
                  <a:cubicBezTo>
                    <a:pt x="387926" y="85174"/>
                    <a:pt x="386599" y="85705"/>
                    <a:pt x="385273" y="85705"/>
                  </a:cubicBezTo>
                  <a:cubicBezTo>
                    <a:pt x="383415" y="85970"/>
                    <a:pt x="382619" y="83847"/>
                    <a:pt x="382619" y="79071"/>
                  </a:cubicBezTo>
                  <a:lnTo>
                    <a:pt x="382619" y="52802"/>
                  </a:lnTo>
                  <a:cubicBezTo>
                    <a:pt x="381823" y="42985"/>
                    <a:pt x="374128" y="37147"/>
                    <a:pt x="359535" y="35821"/>
                  </a:cubicBezTo>
                  <a:cubicBezTo>
                    <a:pt x="349186" y="36617"/>
                    <a:pt x="341757" y="39270"/>
                    <a:pt x="336450" y="44046"/>
                  </a:cubicBezTo>
                  <a:cubicBezTo>
                    <a:pt x="332735" y="47230"/>
                    <a:pt x="331674" y="52006"/>
                    <a:pt x="333266" y="57844"/>
                  </a:cubicBezTo>
                  <a:lnTo>
                    <a:pt x="349186" y="52272"/>
                  </a:lnTo>
                  <a:cubicBezTo>
                    <a:pt x="348390" y="45373"/>
                    <a:pt x="350779" y="41658"/>
                    <a:pt x="356351" y="41393"/>
                  </a:cubicBezTo>
                  <a:cubicBezTo>
                    <a:pt x="361923" y="41658"/>
                    <a:pt x="364842" y="44842"/>
                    <a:pt x="365107" y="50680"/>
                  </a:cubicBezTo>
                  <a:lnTo>
                    <a:pt x="365107" y="56252"/>
                  </a:lnTo>
                  <a:cubicBezTo>
                    <a:pt x="361392" y="59171"/>
                    <a:pt x="356085" y="61824"/>
                    <a:pt x="348656" y="63947"/>
                  </a:cubicBezTo>
                  <a:cubicBezTo>
                    <a:pt x="342818" y="65804"/>
                    <a:pt x="338838" y="67927"/>
                    <a:pt x="336450" y="70050"/>
                  </a:cubicBezTo>
                  <a:cubicBezTo>
                    <a:pt x="333531" y="72968"/>
                    <a:pt x="331939" y="76683"/>
                    <a:pt x="331939" y="81459"/>
                  </a:cubicBezTo>
                  <a:cubicBezTo>
                    <a:pt x="332205" y="90215"/>
                    <a:pt x="337512" y="94726"/>
                    <a:pt x="347860" y="95257"/>
                  </a:cubicBezTo>
                  <a:cubicBezTo>
                    <a:pt x="354493" y="95522"/>
                    <a:pt x="360331" y="93134"/>
                    <a:pt x="365372" y="87562"/>
                  </a:cubicBezTo>
                  <a:cubicBezTo>
                    <a:pt x="366168" y="92338"/>
                    <a:pt x="369352" y="94991"/>
                    <a:pt x="375190" y="95257"/>
                  </a:cubicBezTo>
                  <a:cubicBezTo>
                    <a:pt x="381027" y="94991"/>
                    <a:pt x="386334" y="92338"/>
                    <a:pt x="391110" y="87562"/>
                  </a:cubicBezTo>
                  <a:lnTo>
                    <a:pt x="388987" y="84113"/>
                  </a:lnTo>
                  <a:lnTo>
                    <a:pt x="388987" y="84113"/>
                  </a:lnTo>
                  <a:close/>
                  <a:moveTo>
                    <a:pt x="364842" y="82521"/>
                  </a:moveTo>
                  <a:cubicBezTo>
                    <a:pt x="361127" y="86235"/>
                    <a:pt x="358208" y="88093"/>
                    <a:pt x="355555" y="88093"/>
                  </a:cubicBezTo>
                  <a:cubicBezTo>
                    <a:pt x="351309" y="87827"/>
                    <a:pt x="348656" y="84643"/>
                    <a:pt x="348390" y="78806"/>
                  </a:cubicBezTo>
                  <a:cubicBezTo>
                    <a:pt x="348125" y="73234"/>
                    <a:pt x="351044" y="69254"/>
                    <a:pt x="357677" y="66865"/>
                  </a:cubicBezTo>
                  <a:cubicBezTo>
                    <a:pt x="360861" y="65273"/>
                    <a:pt x="363249" y="63947"/>
                    <a:pt x="364842" y="62355"/>
                  </a:cubicBezTo>
                  <a:lnTo>
                    <a:pt x="364842" y="82521"/>
                  </a:lnTo>
                  <a:lnTo>
                    <a:pt x="364842" y="82521"/>
                  </a:lnTo>
                  <a:close/>
                  <a:moveTo>
                    <a:pt x="472304" y="59967"/>
                  </a:moveTo>
                  <a:cubicBezTo>
                    <a:pt x="472569" y="43516"/>
                    <a:pt x="467793" y="35555"/>
                    <a:pt x="457445" y="35821"/>
                  </a:cubicBezTo>
                  <a:cubicBezTo>
                    <a:pt x="450546" y="35821"/>
                    <a:pt x="441790" y="39536"/>
                    <a:pt x="431176" y="46700"/>
                  </a:cubicBezTo>
                  <a:lnTo>
                    <a:pt x="431176" y="33963"/>
                  </a:lnTo>
                  <a:lnTo>
                    <a:pt x="429054" y="33963"/>
                  </a:lnTo>
                  <a:lnTo>
                    <a:pt x="404908" y="42189"/>
                  </a:lnTo>
                  <a:lnTo>
                    <a:pt x="404908" y="45373"/>
                  </a:lnTo>
                  <a:lnTo>
                    <a:pt x="407561" y="45904"/>
                  </a:lnTo>
                  <a:cubicBezTo>
                    <a:pt x="412337" y="47496"/>
                    <a:pt x="414460" y="49618"/>
                    <a:pt x="414195" y="52537"/>
                  </a:cubicBezTo>
                  <a:lnTo>
                    <a:pt x="414195" y="79867"/>
                  </a:lnTo>
                  <a:cubicBezTo>
                    <a:pt x="414460" y="86766"/>
                    <a:pt x="412072" y="90215"/>
                    <a:pt x="406500" y="89685"/>
                  </a:cubicBezTo>
                  <a:lnTo>
                    <a:pt x="405438" y="89685"/>
                  </a:lnTo>
                  <a:lnTo>
                    <a:pt x="405438" y="94195"/>
                  </a:lnTo>
                  <a:lnTo>
                    <a:pt x="440994" y="94195"/>
                  </a:lnTo>
                  <a:lnTo>
                    <a:pt x="440994" y="89685"/>
                  </a:lnTo>
                  <a:lnTo>
                    <a:pt x="439933" y="89685"/>
                  </a:lnTo>
                  <a:cubicBezTo>
                    <a:pt x="434095" y="89685"/>
                    <a:pt x="431176" y="86501"/>
                    <a:pt x="431176" y="80398"/>
                  </a:cubicBezTo>
                  <a:lnTo>
                    <a:pt x="431176" y="51741"/>
                  </a:lnTo>
                  <a:cubicBezTo>
                    <a:pt x="437014" y="47761"/>
                    <a:pt x="442055" y="45638"/>
                    <a:pt x="446566" y="45638"/>
                  </a:cubicBezTo>
                  <a:cubicBezTo>
                    <a:pt x="452138" y="45373"/>
                    <a:pt x="454792" y="50680"/>
                    <a:pt x="454792" y="61559"/>
                  </a:cubicBezTo>
                  <a:lnTo>
                    <a:pt x="454792" y="73764"/>
                  </a:lnTo>
                  <a:cubicBezTo>
                    <a:pt x="455057" y="84378"/>
                    <a:pt x="452669" y="89685"/>
                    <a:pt x="447097" y="89685"/>
                  </a:cubicBezTo>
                  <a:lnTo>
                    <a:pt x="447097" y="94195"/>
                  </a:lnTo>
                  <a:lnTo>
                    <a:pt x="479999" y="94195"/>
                  </a:lnTo>
                  <a:lnTo>
                    <a:pt x="479999" y="89685"/>
                  </a:lnTo>
                  <a:cubicBezTo>
                    <a:pt x="474427" y="89950"/>
                    <a:pt x="472039" y="87297"/>
                    <a:pt x="472304" y="81459"/>
                  </a:cubicBezTo>
                  <a:lnTo>
                    <a:pt x="472304" y="59967"/>
                  </a:lnTo>
                  <a:lnTo>
                    <a:pt x="472304" y="59967"/>
                  </a:lnTo>
                  <a:close/>
                  <a:moveTo>
                    <a:pt x="532536" y="12736"/>
                  </a:moveTo>
                  <a:lnTo>
                    <a:pt x="534128" y="12736"/>
                  </a:lnTo>
                  <a:cubicBezTo>
                    <a:pt x="541557" y="12471"/>
                    <a:pt x="545007" y="15920"/>
                    <a:pt x="544476" y="23084"/>
                  </a:cubicBezTo>
                  <a:lnTo>
                    <a:pt x="544476" y="79071"/>
                  </a:lnTo>
                  <a:cubicBezTo>
                    <a:pt x="544742" y="85705"/>
                    <a:pt x="541292" y="88889"/>
                    <a:pt x="534128" y="88889"/>
                  </a:cubicBezTo>
                  <a:lnTo>
                    <a:pt x="532536" y="88889"/>
                  </a:lnTo>
                  <a:lnTo>
                    <a:pt x="532536" y="94461"/>
                  </a:lnTo>
                  <a:lnTo>
                    <a:pt x="576848" y="94461"/>
                  </a:lnTo>
                  <a:lnTo>
                    <a:pt x="576848" y="89154"/>
                  </a:lnTo>
                  <a:lnTo>
                    <a:pt x="574725" y="89154"/>
                  </a:lnTo>
                  <a:cubicBezTo>
                    <a:pt x="567030" y="89419"/>
                    <a:pt x="563315" y="85970"/>
                    <a:pt x="563846" y="78806"/>
                  </a:cubicBezTo>
                  <a:lnTo>
                    <a:pt x="563846" y="23350"/>
                  </a:lnTo>
                  <a:cubicBezTo>
                    <a:pt x="563846" y="16451"/>
                    <a:pt x="567561" y="13002"/>
                    <a:pt x="574725" y="13002"/>
                  </a:cubicBezTo>
                  <a:lnTo>
                    <a:pt x="576848" y="13002"/>
                  </a:lnTo>
                  <a:lnTo>
                    <a:pt x="576848" y="7430"/>
                  </a:lnTo>
                  <a:lnTo>
                    <a:pt x="532536" y="7430"/>
                  </a:lnTo>
                  <a:lnTo>
                    <a:pt x="532536" y="12736"/>
                  </a:lnTo>
                  <a:lnTo>
                    <a:pt x="532536" y="12736"/>
                  </a:lnTo>
                  <a:close/>
                  <a:moveTo>
                    <a:pt x="659368" y="59967"/>
                  </a:moveTo>
                  <a:cubicBezTo>
                    <a:pt x="659633" y="43516"/>
                    <a:pt x="654857" y="35555"/>
                    <a:pt x="644509" y="35821"/>
                  </a:cubicBezTo>
                  <a:cubicBezTo>
                    <a:pt x="637610" y="35821"/>
                    <a:pt x="628854" y="39536"/>
                    <a:pt x="618241" y="46700"/>
                  </a:cubicBezTo>
                  <a:lnTo>
                    <a:pt x="618241" y="33963"/>
                  </a:lnTo>
                  <a:lnTo>
                    <a:pt x="616118" y="33963"/>
                  </a:lnTo>
                  <a:lnTo>
                    <a:pt x="591972" y="42189"/>
                  </a:lnTo>
                  <a:lnTo>
                    <a:pt x="591972" y="45373"/>
                  </a:lnTo>
                  <a:lnTo>
                    <a:pt x="594625" y="45904"/>
                  </a:lnTo>
                  <a:cubicBezTo>
                    <a:pt x="599401" y="47496"/>
                    <a:pt x="601524" y="49618"/>
                    <a:pt x="601259" y="52537"/>
                  </a:cubicBezTo>
                  <a:lnTo>
                    <a:pt x="601259" y="79867"/>
                  </a:lnTo>
                  <a:cubicBezTo>
                    <a:pt x="601524" y="86766"/>
                    <a:pt x="599136" y="90215"/>
                    <a:pt x="593564" y="89685"/>
                  </a:cubicBezTo>
                  <a:lnTo>
                    <a:pt x="592503" y="89685"/>
                  </a:lnTo>
                  <a:lnTo>
                    <a:pt x="592503" y="94195"/>
                  </a:lnTo>
                  <a:lnTo>
                    <a:pt x="628058" y="94195"/>
                  </a:lnTo>
                  <a:lnTo>
                    <a:pt x="628058" y="89685"/>
                  </a:lnTo>
                  <a:lnTo>
                    <a:pt x="626997" y="89685"/>
                  </a:lnTo>
                  <a:cubicBezTo>
                    <a:pt x="621159" y="89685"/>
                    <a:pt x="618241" y="86501"/>
                    <a:pt x="618241" y="80398"/>
                  </a:cubicBezTo>
                  <a:lnTo>
                    <a:pt x="618241" y="51741"/>
                  </a:lnTo>
                  <a:cubicBezTo>
                    <a:pt x="624078" y="47761"/>
                    <a:pt x="629119" y="45638"/>
                    <a:pt x="633630" y="45638"/>
                  </a:cubicBezTo>
                  <a:cubicBezTo>
                    <a:pt x="639202" y="45373"/>
                    <a:pt x="641856" y="50680"/>
                    <a:pt x="641856" y="61559"/>
                  </a:cubicBezTo>
                  <a:lnTo>
                    <a:pt x="641856" y="73764"/>
                  </a:lnTo>
                  <a:cubicBezTo>
                    <a:pt x="642121" y="84378"/>
                    <a:pt x="639733" y="89685"/>
                    <a:pt x="634161" y="89685"/>
                  </a:cubicBezTo>
                  <a:lnTo>
                    <a:pt x="634161" y="94195"/>
                  </a:lnTo>
                  <a:lnTo>
                    <a:pt x="667063" y="94195"/>
                  </a:lnTo>
                  <a:lnTo>
                    <a:pt x="667063" y="89685"/>
                  </a:lnTo>
                  <a:cubicBezTo>
                    <a:pt x="661491" y="89950"/>
                    <a:pt x="659103" y="87297"/>
                    <a:pt x="659368" y="81459"/>
                  </a:cubicBezTo>
                  <a:lnTo>
                    <a:pt x="659368" y="59967"/>
                  </a:lnTo>
                  <a:lnTo>
                    <a:pt x="659368" y="59967"/>
                  </a:lnTo>
                  <a:close/>
                  <a:moveTo>
                    <a:pt x="686698" y="94461"/>
                  </a:moveTo>
                  <a:lnTo>
                    <a:pt x="690413" y="94461"/>
                  </a:lnTo>
                  <a:cubicBezTo>
                    <a:pt x="691474" y="94195"/>
                    <a:pt x="692536" y="93930"/>
                    <a:pt x="693066" y="93930"/>
                  </a:cubicBezTo>
                  <a:cubicBezTo>
                    <a:pt x="693332" y="93930"/>
                    <a:pt x="694393" y="94195"/>
                    <a:pt x="695720" y="94461"/>
                  </a:cubicBezTo>
                  <a:cubicBezTo>
                    <a:pt x="699700" y="94726"/>
                    <a:pt x="703680" y="94991"/>
                    <a:pt x="707660" y="94991"/>
                  </a:cubicBezTo>
                  <a:cubicBezTo>
                    <a:pt x="719335" y="94726"/>
                    <a:pt x="725703" y="88889"/>
                    <a:pt x="726234" y="78010"/>
                  </a:cubicBezTo>
                  <a:cubicBezTo>
                    <a:pt x="726234" y="70580"/>
                    <a:pt x="720661" y="64212"/>
                    <a:pt x="709783" y="58375"/>
                  </a:cubicBezTo>
                  <a:cubicBezTo>
                    <a:pt x="702088" y="54129"/>
                    <a:pt x="698373" y="50149"/>
                    <a:pt x="698373" y="46965"/>
                  </a:cubicBezTo>
                  <a:cubicBezTo>
                    <a:pt x="698638" y="44046"/>
                    <a:pt x="701026" y="42454"/>
                    <a:pt x="705006" y="41924"/>
                  </a:cubicBezTo>
                  <a:cubicBezTo>
                    <a:pt x="711109" y="41924"/>
                    <a:pt x="715620" y="45904"/>
                    <a:pt x="718273" y="54129"/>
                  </a:cubicBezTo>
                  <a:lnTo>
                    <a:pt x="722784" y="54129"/>
                  </a:lnTo>
                  <a:lnTo>
                    <a:pt x="722784" y="38739"/>
                  </a:lnTo>
                  <a:cubicBezTo>
                    <a:pt x="717743" y="36882"/>
                    <a:pt x="712436" y="36086"/>
                    <a:pt x="706864" y="36086"/>
                  </a:cubicBezTo>
                  <a:cubicBezTo>
                    <a:pt x="693066" y="36882"/>
                    <a:pt x="685637" y="42720"/>
                    <a:pt x="684841" y="53599"/>
                  </a:cubicBezTo>
                  <a:cubicBezTo>
                    <a:pt x="684841" y="60232"/>
                    <a:pt x="690147" y="66600"/>
                    <a:pt x="700761" y="72703"/>
                  </a:cubicBezTo>
                  <a:cubicBezTo>
                    <a:pt x="707660" y="77214"/>
                    <a:pt x="711109" y="80663"/>
                    <a:pt x="711109" y="83582"/>
                  </a:cubicBezTo>
                  <a:cubicBezTo>
                    <a:pt x="710313" y="87562"/>
                    <a:pt x="707925" y="89685"/>
                    <a:pt x="703945" y="90215"/>
                  </a:cubicBezTo>
                  <a:cubicBezTo>
                    <a:pt x="696516" y="89419"/>
                    <a:pt x="691739" y="85439"/>
                    <a:pt x="689086" y="78275"/>
                  </a:cubicBezTo>
                  <a:lnTo>
                    <a:pt x="684841" y="78275"/>
                  </a:lnTo>
                  <a:lnTo>
                    <a:pt x="686698" y="94461"/>
                  </a:lnTo>
                  <a:lnTo>
                    <a:pt x="686698" y="94461"/>
                  </a:lnTo>
                  <a:close/>
                  <a:moveTo>
                    <a:pt x="769219" y="45108"/>
                  </a:moveTo>
                  <a:lnTo>
                    <a:pt x="785670" y="45108"/>
                  </a:lnTo>
                  <a:lnTo>
                    <a:pt x="787262" y="37413"/>
                  </a:lnTo>
                  <a:lnTo>
                    <a:pt x="769219" y="37413"/>
                  </a:lnTo>
                  <a:lnTo>
                    <a:pt x="769219" y="19900"/>
                  </a:lnTo>
                  <a:lnTo>
                    <a:pt x="765504" y="19900"/>
                  </a:lnTo>
                  <a:cubicBezTo>
                    <a:pt x="760993" y="29718"/>
                    <a:pt x="754094" y="36882"/>
                    <a:pt x="744807" y="41393"/>
                  </a:cubicBezTo>
                  <a:lnTo>
                    <a:pt x="744807" y="45108"/>
                  </a:lnTo>
                  <a:lnTo>
                    <a:pt x="752502" y="45108"/>
                  </a:lnTo>
                  <a:lnTo>
                    <a:pt x="752502" y="78540"/>
                  </a:lnTo>
                  <a:cubicBezTo>
                    <a:pt x="752502" y="89419"/>
                    <a:pt x="757809" y="94991"/>
                    <a:pt x="768423" y="94991"/>
                  </a:cubicBezTo>
                  <a:cubicBezTo>
                    <a:pt x="776913" y="94726"/>
                    <a:pt x="783547" y="90746"/>
                    <a:pt x="788854" y="83582"/>
                  </a:cubicBezTo>
                  <a:lnTo>
                    <a:pt x="786731" y="79336"/>
                  </a:lnTo>
                  <a:cubicBezTo>
                    <a:pt x="783016" y="84113"/>
                    <a:pt x="779567" y="86501"/>
                    <a:pt x="776383" y="86501"/>
                  </a:cubicBezTo>
                  <a:cubicBezTo>
                    <a:pt x="771872" y="86501"/>
                    <a:pt x="769749" y="84113"/>
                    <a:pt x="769749" y="79336"/>
                  </a:cubicBezTo>
                  <a:lnTo>
                    <a:pt x="769749" y="45108"/>
                  </a:lnTo>
                  <a:lnTo>
                    <a:pt x="769219" y="45108"/>
                  </a:lnTo>
                  <a:close/>
                  <a:moveTo>
                    <a:pt x="836084" y="90215"/>
                  </a:moveTo>
                  <a:cubicBezTo>
                    <a:pt x="830247" y="89950"/>
                    <a:pt x="827328" y="87031"/>
                    <a:pt x="827328" y="81459"/>
                  </a:cubicBezTo>
                  <a:lnTo>
                    <a:pt x="827328" y="34229"/>
                  </a:lnTo>
                  <a:lnTo>
                    <a:pt x="825205" y="34229"/>
                  </a:lnTo>
                  <a:lnTo>
                    <a:pt x="801059" y="42454"/>
                  </a:lnTo>
                  <a:lnTo>
                    <a:pt x="801059" y="45638"/>
                  </a:lnTo>
                  <a:lnTo>
                    <a:pt x="805305" y="47230"/>
                  </a:lnTo>
                  <a:cubicBezTo>
                    <a:pt x="809019" y="48026"/>
                    <a:pt x="810611" y="49884"/>
                    <a:pt x="810346" y="53333"/>
                  </a:cubicBezTo>
                  <a:lnTo>
                    <a:pt x="810346" y="80132"/>
                  </a:lnTo>
                  <a:cubicBezTo>
                    <a:pt x="810611" y="87031"/>
                    <a:pt x="808223" y="90481"/>
                    <a:pt x="802651" y="89950"/>
                  </a:cubicBezTo>
                  <a:lnTo>
                    <a:pt x="801059" y="89950"/>
                  </a:lnTo>
                  <a:lnTo>
                    <a:pt x="801059" y="94461"/>
                  </a:lnTo>
                  <a:lnTo>
                    <a:pt x="836084" y="94461"/>
                  </a:lnTo>
                  <a:lnTo>
                    <a:pt x="836084" y="90215"/>
                  </a:lnTo>
                  <a:lnTo>
                    <a:pt x="836084" y="90215"/>
                  </a:lnTo>
                  <a:close/>
                  <a:moveTo>
                    <a:pt x="818572" y="2388"/>
                  </a:moveTo>
                  <a:cubicBezTo>
                    <a:pt x="811673" y="3184"/>
                    <a:pt x="807693" y="6368"/>
                    <a:pt x="807162" y="11675"/>
                  </a:cubicBezTo>
                  <a:cubicBezTo>
                    <a:pt x="807958" y="17778"/>
                    <a:pt x="811673" y="21227"/>
                    <a:pt x="818572" y="21492"/>
                  </a:cubicBezTo>
                  <a:cubicBezTo>
                    <a:pt x="825205" y="20696"/>
                    <a:pt x="828920" y="17512"/>
                    <a:pt x="829451" y="11675"/>
                  </a:cubicBezTo>
                  <a:cubicBezTo>
                    <a:pt x="829185" y="5837"/>
                    <a:pt x="825471" y="2653"/>
                    <a:pt x="818572" y="2388"/>
                  </a:cubicBezTo>
                  <a:lnTo>
                    <a:pt x="818572" y="2388"/>
                  </a:lnTo>
                  <a:close/>
                  <a:moveTo>
                    <a:pt x="876681" y="45108"/>
                  </a:moveTo>
                  <a:lnTo>
                    <a:pt x="893132" y="45108"/>
                  </a:lnTo>
                  <a:lnTo>
                    <a:pt x="894724" y="37413"/>
                  </a:lnTo>
                  <a:lnTo>
                    <a:pt x="876681" y="37413"/>
                  </a:lnTo>
                  <a:lnTo>
                    <a:pt x="876681" y="19900"/>
                  </a:lnTo>
                  <a:lnTo>
                    <a:pt x="872966" y="19900"/>
                  </a:lnTo>
                  <a:cubicBezTo>
                    <a:pt x="868455" y="29718"/>
                    <a:pt x="861557" y="36882"/>
                    <a:pt x="852004" y="41393"/>
                  </a:cubicBezTo>
                  <a:lnTo>
                    <a:pt x="852004" y="45108"/>
                  </a:lnTo>
                  <a:lnTo>
                    <a:pt x="859699" y="45108"/>
                  </a:lnTo>
                  <a:lnTo>
                    <a:pt x="859699" y="78540"/>
                  </a:lnTo>
                  <a:cubicBezTo>
                    <a:pt x="859699" y="89419"/>
                    <a:pt x="865006" y="94991"/>
                    <a:pt x="875620" y="94991"/>
                  </a:cubicBezTo>
                  <a:cubicBezTo>
                    <a:pt x="884110" y="94726"/>
                    <a:pt x="890744" y="90746"/>
                    <a:pt x="896051" y="83582"/>
                  </a:cubicBezTo>
                  <a:lnTo>
                    <a:pt x="893928" y="79336"/>
                  </a:lnTo>
                  <a:cubicBezTo>
                    <a:pt x="890213" y="84113"/>
                    <a:pt x="886764" y="86501"/>
                    <a:pt x="883580" y="86501"/>
                  </a:cubicBezTo>
                  <a:cubicBezTo>
                    <a:pt x="879069" y="86501"/>
                    <a:pt x="876946" y="84113"/>
                    <a:pt x="876946" y="79336"/>
                  </a:cubicBezTo>
                  <a:lnTo>
                    <a:pt x="876946" y="45108"/>
                  </a:lnTo>
                  <a:lnTo>
                    <a:pt x="876681" y="45108"/>
                  </a:lnTo>
                  <a:close/>
                  <a:moveTo>
                    <a:pt x="957344" y="94991"/>
                  </a:moveTo>
                  <a:lnTo>
                    <a:pt x="959998" y="94991"/>
                  </a:lnTo>
                  <a:lnTo>
                    <a:pt x="982551" y="90746"/>
                  </a:lnTo>
                  <a:lnTo>
                    <a:pt x="982551" y="86235"/>
                  </a:lnTo>
                  <a:cubicBezTo>
                    <a:pt x="980959" y="86501"/>
                    <a:pt x="979898" y="86766"/>
                    <a:pt x="978837" y="86766"/>
                  </a:cubicBezTo>
                  <a:cubicBezTo>
                    <a:pt x="975653" y="87562"/>
                    <a:pt x="974060" y="84643"/>
                    <a:pt x="974326" y="78540"/>
                  </a:cubicBezTo>
                  <a:lnTo>
                    <a:pt x="974326" y="35821"/>
                  </a:lnTo>
                  <a:lnTo>
                    <a:pt x="971672" y="35821"/>
                  </a:lnTo>
                  <a:lnTo>
                    <a:pt x="945935" y="40862"/>
                  </a:lnTo>
                  <a:lnTo>
                    <a:pt x="945935" y="44046"/>
                  </a:lnTo>
                  <a:lnTo>
                    <a:pt x="952568" y="46169"/>
                  </a:lnTo>
                  <a:cubicBezTo>
                    <a:pt x="956283" y="46965"/>
                    <a:pt x="957875" y="49618"/>
                    <a:pt x="957609" y="54395"/>
                  </a:cubicBezTo>
                  <a:lnTo>
                    <a:pt x="957609" y="79602"/>
                  </a:lnTo>
                  <a:cubicBezTo>
                    <a:pt x="951507" y="83316"/>
                    <a:pt x="946731" y="85174"/>
                    <a:pt x="943281" y="85174"/>
                  </a:cubicBezTo>
                  <a:cubicBezTo>
                    <a:pt x="937444" y="84909"/>
                    <a:pt x="934260" y="80132"/>
                    <a:pt x="933994" y="71376"/>
                  </a:cubicBezTo>
                  <a:lnTo>
                    <a:pt x="933994" y="35821"/>
                  </a:lnTo>
                  <a:lnTo>
                    <a:pt x="931341" y="35821"/>
                  </a:lnTo>
                  <a:lnTo>
                    <a:pt x="911175" y="40862"/>
                  </a:lnTo>
                  <a:lnTo>
                    <a:pt x="911175" y="44046"/>
                  </a:lnTo>
                  <a:lnTo>
                    <a:pt x="914359" y="45638"/>
                  </a:lnTo>
                  <a:cubicBezTo>
                    <a:pt x="916482" y="45904"/>
                    <a:pt x="917543" y="48557"/>
                    <a:pt x="917013" y="53333"/>
                  </a:cubicBezTo>
                  <a:lnTo>
                    <a:pt x="917013" y="76948"/>
                  </a:lnTo>
                  <a:cubicBezTo>
                    <a:pt x="917278" y="88623"/>
                    <a:pt x="922585" y="94726"/>
                    <a:pt x="932402" y="94991"/>
                  </a:cubicBezTo>
                  <a:cubicBezTo>
                    <a:pt x="937974" y="95257"/>
                    <a:pt x="946200" y="91807"/>
                    <a:pt x="957609" y="84643"/>
                  </a:cubicBezTo>
                  <a:lnTo>
                    <a:pt x="957609" y="94991"/>
                  </a:lnTo>
                  <a:lnTo>
                    <a:pt x="957344" y="94991"/>
                  </a:lnTo>
                  <a:close/>
                  <a:moveTo>
                    <a:pt x="1023679" y="45108"/>
                  </a:moveTo>
                  <a:lnTo>
                    <a:pt x="1040130" y="45108"/>
                  </a:lnTo>
                  <a:lnTo>
                    <a:pt x="1041722" y="37413"/>
                  </a:lnTo>
                  <a:lnTo>
                    <a:pt x="1023679" y="37413"/>
                  </a:lnTo>
                  <a:lnTo>
                    <a:pt x="1023679" y="19900"/>
                  </a:lnTo>
                  <a:lnTo>
                    <a:pt x="1019964" y="19900"/>
                  </a:lnTo>
                  <a:cubicBezTo>
                    <a:pt x="1015453" y="29718"/>
                    <a:pt x="1008555" y="36882"/>
                    <a:pt x="999002" y="41393"/>
                  </a:cubicBezTo>
                  <a:lnTo>
                    <a:pt x="999002" y="45108"/>
                  </a:lnTo>
                  <a:lnTo>
                    <a:pt x="1006697" y="45108"/>
                  </a:lnTo>
                  <a:lnTo>
                    <a:pt x="1006697" y="78540"/>
                  </a:lnTo>
                  <a:cubicBezTo>
                    <a:pt x="1006697" y="89419"/>
                    <a:pt x="1012004" y="94991"/>
                    <a:pt x="1022618" y="94991"/>
                  </a:cubicBezTo>
                  <a:cubicBezTo>
                    <a:pt x="1031108" y="94726"/>
                    <a:pt x="1037742" y="90746"/>
                    <a:pt x="1043049" y="83582"/>
                  </a:cubicBezTo>
                  <a:lnTo>
                    <a:pt x="1040926" y="79336"/>
                  </a:lnTo>
                  <a:cubicBezTo>
                    <a:pt x="1037211" y="84113"/>
                    <a:pt x="1033762" y="86501"/>
                    <a:pt x="1030578" y="86501"/>
                  </a:cubicBezTo>
                  <a:cubicBezTo>
                    <a:pt x="1026067" y="86501"/>
                    <a:pt x="1023944" y="84113"/>
                    <a:pt x="1023944" y="79336"/>
                  </a:cubicBezTo>
                  <a:lnTo>
                    <a:pt x="1023944" y="45108"/>
                  </a:lnTo>
                  <a:lnTo>
                    <a:pt x="1023679" y="45108"/>
                  </a:lnTo>
                  <a:close/>
                  <a:moveTo>
                    <a:pt x="1111506" y="75356"/>
                  </a:moveTo>
                  <a:cubicBezTo>
                    <a:pt x="1104873" y="82786"/>
                    <a:pt x="1099301" y="86235"/>
                    <a:pt x="1094525" y="85705"/>
                  </a:cubicBezTo>
                  <a:cubicBezTo>
                    <a:pt x="1084972" y="84643"/>
                    <a:pt x="1079400" y="77744"/>
                    <a:pt x="1077543" y="64743"/>
                  </a:cubicBezTo>
                  <a:lnTo>
                    <a:pt x="1116548" y="64743"/>
                  </a:lnTo>
                  <a:lnTo>
                    <a:pt x="1116548" y="61028"/>
                  </a:lnTo>
                  <a:cubicBezTo>
                    <a:pt x="1115221" y="60232"/>
                    <a:pt x="1113894" y="58375"/>
                    <a:pt x="1113364" y="54925"/>
                  </a:cubicBezTo>
                  <a:cubicBezTo>
                    <a:pt x="1112302" y="49353"/>
                    <a:pt x="1110180" y="45108"/>
                    <a:pt x="1107261" y="42189"/>
                  </a:cubicBezTo>
                  <a:cubicBezTo>
                    <a:pt x="1102750" y="37944"/>
                    <a:pt x="1096913" y="35555"/>
                    <a:pt x="1089748" y="35555"/>
                  </a:cubicBezTo>
                  <a:cubicBezTo>
                    <a:pt x="1071175" y="37147"/>
                    <a:pt x="1061092" y="47496"/>
                    <a:pt x="1059500" y="66865"/>
                  </a:cubicBezTo>
                  <a:cubicBezTo>
                    <a:pt x="1060296" y="84909"/>
                    <a:pt x="1068787" y="94195"/>
                    <a:pt x="1085238" y="94726"/>
                  </a:cubicBezTo>
                  <a:cubicBezTo>
                    <a:pt x="1096913" y="94461"/>
                    <a:pt x="1106730" y="88623"/>
                    <a:pt x="1114956" y="77744"/>
                  </a:cubicBezTo>
                  <a:lnTo>
                    <a:pt x="1111506" y="75356"/>
                  </a:lnTo>
                  <a:lnTo>
                    <a:pt x="1111506" y="75356"/>
                  </a:lnTo>
                  <a:close/>
                  <a:moveTo>
                    <a:pt x="1076747" y="59967"/>
                  </a:moveTo>
                  <a:cubicBezTo>
                    <a:pt x="1076481" y="49618"/>
                    <a:pt x="1079666" y="43781"/>
                    <a:pt x="1086564" y="42454"/>
                  </a:cubicBezTo>
                  <a:cubicBezTo>
                    <a:pt x="1092667" y="42720"/>
                    <a:pt x="1096117" y="48557"/>
                    <a:pt x="1096382" y="59967"/>
                  </a:cubicBezTo>
                  <a:lnTo>
                    <a:pt x="1076747" y="59967"/>
                  </a:lnTo>
                  <a:lnTo>
                    <a:pt x="1076747" y="59967"/>
                  </a:lnTo>
                  <a:close/>
                  <a:moveTo>
                    <a:pt x="1172800" y="66600"/>
                  </a:moveTo>
                  <a:cubicBezTo>
                    <a:pt x="1173861" y="84909"/>
                    <a:pt x="1184740" y="94461"/>
                    <a:pt x="1205702" y="94991"/>
                  </a:cubicBezTo>
                  <a:cubicBezTo>
                    <a:pt x="1227725" y="93930"/>
                    <a:pt x="1239400" y="83847"/>
                    <a:pt x="1241257" y="64743"/>
                  </a:cubicBezTo>
                  <a:cubicBezTo>
                    <a:pt x="1239665" y="46965"/>
                    <a:pt x="1228521" y="37147"/>
                    <a:pt x="1207824" y="35555"/>
                  </a:cubicBezTo>
                  <a:cubicBezTo>
                    <a:pt x="1186332" y="37147"/>
                    <a:pt x="1174657" y="47496"/>
                    <a:pt x="1172800" y="66600"/>
                  </a:cubicBezTo>
                  <a:lnTo>
                    <a:pt x="1172800" y="66600"/>
                  </a:lnTo>
                  <a:close/>
                  <a:moveTo>
                    <a:pt x="1191639" y="58375"/>
                  </a:moveTo>
                  <a:cubicBezTo>
                    <a:pt x="1191904" y="47761"/>
                    <a:pt x="1196415" y="42189"/>
                    <a:pt x="1204906" y="41924"/>
                  </a:cubicBezTo>
                  <a:cubicBezTo>
                    <a:pt x="1216315" y="43250"/>
                    <a:pt x="1222153" y="53599"/>
                    <a:pt x="1222949" y="72703"/>
                  </a:cubicBezTo>
                  <a:cubicBezTo>
                    <a:pt x="1222683" y="84113"/>
                    <a:pt x="1218438" y="89950"/>
                    <a:pt x="1210212" y="90215"/>
                  </a:cubicBezTo>
                  <a:cubicBezTo>
                    <a:pt x="1198803" y="89419"/>
                    <a:pt x="1192700" y="78806"/>
                    <a:pt x="1191639" y="58375"/>
                  </a:cubicBezTo>
                  <a:lnTo>
                    <a:pt x="1191639" y="58375"/>
                  </a:lnTo>
                  <a:close/>
                  <a:moveTo>
                    <a:pt x="1284773" y="44577"/>
                  </a:moveTo>
                  <a:lnTo>
                    <a:pt x="1298040" y="44577"/>
                  </a:lnTo>
                  <a:lnTo>
                    <a:pt x="1299101" y="37413"/>
                  </a:lnTo>
                  <a:lnTo>
                    <a:pt x="1284773" y="37413"/>
                  </a:lnTo>
                  <a:lnTo>
                    <a:pt x="1284773" y="23084"/>
                  </a:lnTo>
                  <a:cubicBezTo>
                    <a:pt x="1284773" y="13267"/>
                    <a:pt x="1288488" y="8226"/>
                    <a:pt x="1296182" y="8226"/>
                  </a:cubicBezTo>
                  <a:cubicBezTo>
                    <a:pt x="1299366" y="8226"/>
                    <a:pt x="1303612" y="10348"/>
                    <a:pt x="1308388" y="14859"/>
                  </a:cubicBezTo>
                  <a:cubicBezTo>
                    <a:pt x="1311307" y="17512"/>
                    <a:pt x="1313429" y="18574"/>
                    <a:pt x="1314491" y="18574"/>
                  </a:cubicBezTo>
                  <a:cubicBezTo>
                    <a:pt x="1315552" y="18574"/>
                    <a:pt x="1316613" y="17778"/>
                    <a:pt x="1317144" y="16451"/>
                  </a:cubicBezTo>
                  <a:lnTo>
                    <a:pt x="1321655" y="10879"/>
                  </a:lnTo>
                  <a:cubicBezTo>
                    <a:pt x="1322716" y="9818"/>
                    <a:pt x="1323247" y="9022"/>
                    <a:pt x="1322716" y="8756"/>
                  </a:cubicBezTo>
                  <a:cubicBezTo>
                    <a:pt x="1320859" y="3715"/>
                    <a:pt x="1314756" y="796"/>
                    <a:pt x="1304673" y="0"/>
                  </a:cubicBezTo>
                  <a:cubicBezTo>
                    <a:pt x="1282119" y="3184"/>
                    <a:pt x="1269914" y="15655"/>
                    <a:pt x="1268587" y="37413"/>
                  </a:cubicBezTo>
                  <a:lnTo>
                    <a:pt x="1257708" y="41924"/>
                  </a:lnTo>
                  <a:lnTo>
                    <a:pt x="1257708" y="44577"/>
                  </a:lnTo>
                  <a:lnTo>
                    <a:pt x="1268056" y="44577"/>
                  </a:lnTo>
                  <a:lnTo>
                    <a:pt x="1268056" y="80132"/>
                  </a:lnTo>
                  <a:cubicBezTo>
                    <a:pt x="1268322" y="87031"/>
                    <a:pt x="1265934" y="90481"/>
                    <a:pt x="1260362" y="89950"/>
                  </a:cubicBezTo>
                  <a:lnTo>
                    <a:pt x="1257708" y="89950"/>
                  </a:lnTo>
                  <a:lnTo>
                    <a:pt x="1257708" y="94461"/>
                  </a:lnTo>
                  <a:lnTo>
                    <a:pt x="1300162" y="94461"/>
                  </a:lnTo>
                  <a:lnTo>
                    <a:pt x="1300162" y="89950"/>
                  </a:lnTo>
                  <a:lnTo>
                    <a:pt x="1296978" y="89950"/>
                  </a:lnTo>
                  <a:cubicBezTo>
                    <a:pt x="1288488" y="90215"/>
                    <a:pt x="1284507" y="86766"/>
                    <a:pt x="1285038" y="79071"/>
                  </a:cubicBezTo>
                  <a:lnTo>
                    <a:pt x="1285038" y="44577"/>
                  </a:lnTo>
                  <a:lnTo>
                    <a:pt x="1284773" y="44577"/>
                  </a:lnTo>
                  <a:close/>
                  <a:moveTo>
                    <a:pt x="1408686" y="14328"/>
                  </a:moveTo>
                  <a:lnTo>
                    <a:pt x="1425137" y="14328"/>
                  </a:lnTo>
                  <a:cubicBezTo>
                    <a:pt x="1430975" y="14328"/>
                    <a:pt x="1434689" y="15124"/>
                    <a:pt x="1436016" y="16982"/>
                  </a:cubicBezTo>
                  <a:cubicBezTo>
                    <a:pt x="1437608" y="18574"/>
                    <a:pt x="1438935" y="23084"/>
                    <a:pt x="1440527" y="30779"/>
                  </a:cubicBezTo>
                  <a:lnTo>
                    <a:pt x="1446099" y="30779"/>
                  </a:lnTo>
                  <a:lnTo>
                    <a:pt x="1443976" y="4511"/>
                  </a:lnTo>
                  <a:lnTo>
                    <a:pt x="1438935" y="4511"/>
                  </a:lnTo>
                  <a:cubicBezTo>
                    <a:pt x="1437343" y="6633"/>
                    <a:pt x="1435220" y="7695"/>
                    <a:pt x="1432301" y="7164"/>
                  </a:cubicBezTo>
                  <a:lnTo>
                    <a:pt x="1365436" y="7164"/>
                  </a:lnTo>
                  <a:cubicBezTo>
                    <a:pt x="1364109" y="7164"/>
                    <a:pt x="1362783" y="6899"/>
                    <a:pt x="1361721" y="6633"/>
                  </a:cubicBezTo>
                  <a:cubicBezTo>
                    <a:pt x="1360925" y="6368"/>
                    <a:pt x="1360129" y="5572"/>
                    <a:pt x="1359068" y="4511"/>
                  </a:cubicBezTo>
                  <a:lnTo>
                    <a:pt x="1354557" y="4511"/>
                  </a:lnTo>
                  <a:lnTo>
                    <a:pt x="1351904" y="30779"/>
                  </a:lnTo>
                  <a:lnTo>
                    <a:pt x="1358006" y="30779"/>
                  </a:lnTo>
                  <a:cubicBezTo>
                    <a:pt x="1359333" y="23084"/>
                    <a:pt x="1360925" y="18574"/>
                    <a:pt x="1362517" y="16982"/>
                  </a:cubicBezTo>
                  <a:cubicBezTo>
                    <a:pt x="1364109" y="15124"/>
                    <a:pt x="1367559" y="14328"/>
                    <a:pt x="1372865" y="14328"/>
                  </a:cubicBezTo>
                  <a:lnTo>
                    <a:pt x="1389847" y="14328"/>
                  </a:lnTo>
                  <a:lnTo>
                    <a:pt x="1389847" y="78540"/>
                  </a:lnTo>
                  <a:cubicBezTo>
                    <a:pt x="1390112" y="85439"/>
                    <a:pt x="1386663" y="88889"/>
                    <a:pt x="1378968" y="88889"/>
                  </a:cubicBezTo>
                  <a:lnTo>
                    <a:pt x="1373927" y="88889"/>
                  </a:lnTo>
                  <a:lnTo>
                    <a:pt x="1373927" y="94461"/>
                  </a:lnTo>
                  <a:lnTo>
                    <a:pt x="1424341" y="94461"/>
                  </a:lnTo>
                  <a:lnTo>
                    <a:pt x="1424341" y="89154"/>
                  </a:lnTo>
                  <a:lnTo>
                    <a:pt x="1421157" y="89154"/>
                  </a:lnTo>
                  <a:cubicBezTo>
                    <a:pt x="1412401" y="89419"/>
                    <a:pt x="1408421" y="85970"/>
                    <a:pt x="1409217" y="78806"/>
                  </a:cubicBezTo>
                  <a:lnTo>
                    <a:pt x="1409217" y="14328"/>
                  </a:lnTo>
                  <a:lnTo>
                    <a:pt x="1408686" y="14328"/>
                  </a:lnTo>
                  <a:close/>
                  <a:moveTo>
                    <a:pt x="1517475" y="75356"/>
                  </a:moveTo>
                  <a:cubicBezTo>
                    <a:pt x="1510842" y="82786"/>
                    <a:pt x="1505270" y="86235"/>
                    <a:pt x="1500494" y="85705"/>
                  </a:cubicBezTo>
                  <a:cubicBezTo>
                    <a:pt x="1490941" y="84643"/>
                    <a:pt x="1485369" y="77744"/>
                    <a:pt x="1483512" y="64743"/>
                  </a:cubicBezTo>
                  <a:lnTo>
                    <a:pt x="1522517" y="64743"/>
                  </a:lnTo>
                  <a:lnTo>
                    <a:pt x="1522517" y="61028"/>
                  </a:lnTo>
                  <a:cubicBezTo>
                    <a:pt x="1521190" y="60232"/>
                    <a:pt x="1519863" y="58375"/>
                    <a:pt x="1519333" y="54925"/>
                  </a:cubicBezTo>
                  <a:cubicBezTo>
                    <a:pt x="1518271" y="49353"/>
                    <a:pt x="1516149" y="45108"/>
                    <a:pt x="1513230" y="42189"/>
                  </a:cubicBezTo>
                  <a:cubicBezTo>
                    <a:pt x="1508719" y="37944"/>
                    <a:pt x="1502882" y="35555"/>
                    <a:pt x="1495717" y="35555"/>
                  </a:cubicBezTo>
                  <a:cubicBezTo>
                    <a:pt x="1477144" y="37147"/>
                    <a:pt x="1467061" y="47496"/>
                    <a:pt x="1465469" y="66865"/>
                  </a:cubicBezTo>
                  <a:cubicBezTo>
                    <a:pt x="1466265" y="84909"/>
                    <a:pt x="1474756" y="94195"/>
                    <a:pt x="1491207" y="94726"/>
                  </a:cubicBezTo>
                  <a:cubicBezTo>
                    <a:pt x="1502882" y="94461"/>
                    <a:pt x="1512699" y="88623"/>
                    <a:pt x="1520925" y="77744"/>
                  </a:cubicBezTo>
                  <a:lnTo>
                    <a:pt x="1517475" y="75356"/>
                  </a:lnTo>
                  <a:lnTo>
                    <a:pt x="1517475" y="75356"/>
                  </a:lnTo>
                  <a:close/>
                  <a:moveTo>
                    <a:pt x="1482716" y="59967"/>
                  </a:moveTo>
                  <a:cubicBezTo>
                    <a:pt x="1482451" y="49618"/>
                    <a:pt x="1485635" y="43781"/>
                    <a:pt x="1492533" y="42454"/>
                  </a:cubicBezTo>
                  <a:cubicBezTo>
                    <a:pt x="1498636" y="42720"/>
                    <a:pt x="1502086" y="48557"/>
                    <a:pt x="1502351" y="59967"/>
                  </a:cubicBezTo>
                  <a:lnTo>
                    <a:pt x="1482716" y="59967"/>
                  </a:lnTo>
                  <a:lnTo>
                    <a:pt x="1482716" y="59967"/>
                  </a:lnTo>
                  <a:close/>
                  <a:moveTo>
                    <a:pt x="1595750" y="78540"/>
                  </a:moveTo>
                  <a:cubicBezTo>
                    <a:pt x="1589913" y="85439"/>
                    <a:pt x="1583810" y="88889"/>
                    <a:pt x="1577707" y="88889"/>
                  </a:cubicBezTo>
                  <a:cubicBezTo>
                    <a:pt x="1566828" y="87827"/>
                    <a:pt x="1560991" y="79071"/>
                    <a:pt x="1560195" y="63151"/>
                  </a:cubicBezTo>
                  <a:cubicBezTo>
                    <a:pt x="1560460" y="49884"/>
                    <a:pt x="1564706" y="42985"/>
                    <a:pt x="1572135" y="42189"/>
                  </a:cubicBezTo>
                  <a:cubicBezTo>
                    <a:pt x="1574789" y="42189"/>
                    <a:pt x="1577707" y="44046"/>
                    <a:pt x="1580891" y="47761"/>
                  </a:cubicBezTo>
                  <a:cubicBezTo>
                    <a:pt x="1584606" y="52006"/>
                    <a:pt x="1588321" y="54395"/>
                    <a:pt x="1591770" y="54395"/>
                  </a:cubicBezTo>
                  <a:cubicBezTo>
                    <a:pt x="1596546" y="54129"/>
                    <a:pt x="1598934" y="51741"/>
                    <a:pt x="1598934" y="47230"/>
                  </a:cubicBezTo>
                  <a:cubicBezTo>
                    <a:pt x="1597873" y="39801"/>
                    <a:pt x="1590974" y="36086"/>
                    <a:pt x="1577973" y="35821"/>
                  </a:cubicBezTo>
                  <a:cubicBezTo>
                    <a:pt x="1555419" y="37678"/>
                    <a:pt x="1542948" y="48557"/>
                    <a:pt x="1541356" y="68192"/>
                  </a:cubicBezTo>
                  <a:cubicBezTo>
                    <a:pt x="1542417" y="85439"/>
                    <a:pt x="1552235" y="94461"/>
                    <a:pt x="1571074" y="94991"/>
                  </a:cubicBezTo>
                  <a:cubicBezTo>
                    <a:pt x="1583545" y="94991"/>
                    <a:pt x="1593097" y="90215"/>
                    <a:pt x="1599731" y="80663"/>
                  </a:cubicBezTo>
                  <a:lnTo>
                    <a:pt x="1595750" y="78540"/>
                  </a:lnTo>
                  <a:lnTo>
                    <a:pt x="1595750" y="78540"/>
                  </a:lnTo>
                  <a:close/>
                  <a:moveTo>
                    <a:pt x="1641389" y="51741"/>
                  </a:moveTo>
                  <a:cubicBezTo>
                    <a:pt x="1646961" y="48026"/>
                    <a:pt x="1651737" y="46169"/>
                    <a:pt x="1655717" y="46169"/>
                  </a:cubicBezTo>
                  <a:cubicBezTo>
                    <a:pt x="1661555" y="46434"/>
                    <a:pt x="1664739" y="50680"/>
                    <a:pt x="1665004" y="58375"/>
                  </a:cubicBezTo>
                  <a:lnTo>
                    <a:pt x="1665004" y="79867"/>
                  </a:lnTo>
                  <a:cubicBezTo>
                    <a:pt x="1665800" y="87562"/>
                    <a:pt x="1663412" y="91011"/>
                    <a:pt x="1657840" y="90215"/>
                  </a:cubicBezTo>
                  <a:lnTo>
                    <a:pt x="1656778" y="90215"/>
                  </a:lnTo>
                  <a:lnTo>
                    <a:pt x="1656778" y="94726"/>
                  </a:lnTo>
                  <a:lnTo>
                    <a:pt x="1689681" y="94726"/>
                  </a:lnTo>
                  <a:lnTo>
                    <a:pt x="1689681" y="90215"/>
                  </a:lnTo>
                  <a:lnTo>
                    <a:pt x="1688619" y="90215"/>
                  </a:lnTo>
                  <a:cubicBezTo>
                    <a:pt x="1683843" y="91011"/>
                    <a:pt x="1681720" y="87297"/>
                    <a:pt x="1681986" y="79336"/>
                  </a:cubicBezTo>
                  <a:lnTo>
                    <a:pt x="1681986" y="60763"/>
                  </a:lnTo>
                  <a:cubicBezTo>
                    <a:pt x="1681986" y="44312"/>
                    <a:pt x="1676944" y="36086"/>
                    <a:pt x="1666596" y="36086"/>
                  </a:cubicBezTo>
                  <a:cubicBezTo>
                    <a:pt x="1659963" y="36086"/>
                    <a:pt x="1651737" y="39536"/>
                    <a:pt x="1641389" y="46434"/>
                  </a:cubicBezTo>
                  <a:lnTo>
                    <a:pt x="1641389" y="796"/>
                  </a:lnTo>
                  <a:lnTo>
                    <a:pt x="1638205" y="796"/>
                  </a:lnTo>
                  <a:lnTo>
                    <a:pt x="1615651" y="7430"/>
                  </a:lnTo>
                  <a:lnTo>
                    <a:pt x="1615651" y="10614"/>
                  </a:lnTo>
                  <a:lnTo>
                    <a:pt x="1619896" y="12206"/>
                  </a:lnTo>
                  <a:cubicBezTo>
                    <a:pt x="1623080" y="13002"/>
                    <a:pt x="1624672" y="14859"/>
                    <a:pt x="1624407" y="18308"/>
                  </a:cubicBezTo>
                  <a:lnTo>
                    <a:pt x="1624407" y="79867"/>
                  </a:lnTo>
                  <a:cubicBezTo>
                    <a:pt x="1625203" y="87562"/>
                    <a:pt x="1622550" y="91011"/>
                    <a:pt x="1616712" y="90215"/>
                  </a:cubicBezTo>
                  <a:lnTo>
                    <a:pt x="1614589" y="90215"/>
                  </a:lnTo>
                  <a:lnTo>
                    <a:pt x="1614589" y="94726"/>
                  </a:lnTo>
                  <a:lnTo>
                    <a:pt x="1650145" y="94726"/>
                  </a:lnTo>
                  <a:lnTo>
                    <a:pt x="1650145" y="90215"/>
                  </a:lnTo>
                  <a:lnTo>
                    <a:pt x="1649084" y="90215"/>
                  </a:lnTo>
                  <a:cubicBezTo>
                    <a:pt x="1643511" y="91011"/>
                    <a:pt x="1641123" y="87562"/>
                    <a:pt x="1641389" y="80398"/>
                  </a:cubicBezTo>
                  <a:lnTo>
                    <a:pt x="1641389" y="51741"/>
                  </a:lnTo>
                  <a:lnTo>
                    <a:pt x="1641389" y="51741"/>
                  </a:lnTo>
                  <a:close/>
                  <a:moveTo>
                    <a:pt x="1771405" y="59967"/>
                  </a:moveTo>
                  <a:cubicBezTo>
                    <a:pt x="1771670" y="43516"/>
                    <a:pt x="1766894" y="35555"/>
                    <a:pt x="1756546" y="35821"/>
                  </a:cubicBezTo>
                  <a:cubicBezTo>
                    <a:pt x="1749647" y="35821"/>
                    <a:pt x="1740891" y="39536"/>
                    <a:pt x="1730277" y="46700"/>
                  </a:cubicBezTo>
                  <a:lnTo>
                    <a:pt x="1730277" y="33963"/>
                  </a:lnTo>
                  <a:lnTo>
                    <a:pt x="1728155" y="33963"/>
                  </a:lnTo>
                  <a:lnTo>
                    <a:pt x="1704009" y="42189"/>
                  </a:lnTo>
                  <a:lnTo>
                    <a:pt x="1704009" y="45373"/>
                  </a:lnTo>
                  <a:lnTo>
                    <a:pt x="1706662" y="45904"/>
                  </a:lnTo>
                  <a:cubicBezTo>
                    <a:pt x="1711438" y="47496"/>
                    <a:pt x="1713561" y="49618"/>
                    <a:pt x="1713296" y="52537"/>
                  </a:cubicBezTo>
                  <a:lnTo>
                    <a:pt x="1713296" y="79867"/>
                  </a:lnTo>
                  <a:cubicBezTo>
                    <a:pt x="1713561" y="86766"/>
                    <a:pt x="1711173" y="90215"/>
                    <a:pt x="1705601" y="89685"/>
                  </a:cubicBezTo>
                  <a:lnTo>
                    <a:pt x="1704539" y="89685"/>
                  </a:lnTo>
                  <a:lnTo>
                    <a:pt x="1704539" y="94195"/>
                  </a:lnTo>
                  <a:lnTo>
                    <a:pt x="1740095" y="94195"/>
                  </a:lnTo>
                  <a:lnTo>
                    <a:pt x="1740095" y="89685"/>
                  </a:lnTo>
                  <a:lnTo>
                    <a:pt x="1739034" y="89685"/>
                  </a:lnTo>
                  <a:cubicBezTo>
                    <a:pt x="1733196" y="89685"/>
                    <a:pt x="1730277" y="86501"/>
                    <a:pt x="1730277" y="80398"/>
                  </a:cubicBezTo>
                  <a:lnTo>
                    <a:pt x="1730277" y="51741"/>
                  </a:lnTo>
                  <a:cubicBezTo>
                    <a:pt x="1736115" y="47761"/>
                    <a:pt x="1741156" y="45638"/>
                    <a:pt x="1745667" y="45638"/>
                  </a:cubicBezTo>
                  <a:cubicBezTo>
                    <a:pt x="1751239" y="45373"/>
                    <a:pt x="1753893" y="50680"/>
                    <a:pt x="1753893" y="61559"/>
                  </a:cubicBezTo>
                  <a:lnTo>
                    <a:pt x="1753893" y="73764"/>
                  </a:lnTo>
                  <a:cubicBezTo>
                    <a:pt x="1754158" y="84378"/>
                    <a:pt x="1751770" y="89685"/>
                    <a:pt x="1746198" y="89685"/>
                  </a:cubicBezTo>
                  <a:lnTo>
                    <a:pt x="1746198" y="94195"/>
                  </a:lnTo>
                  <a:lnTo>
                    <a:pt x="1779100" y="94195"/>
                  </a:lnTo>
                  <a:lnTo>
                    <a:pt x="1779100" y="89685"/>
                  </a:lnTo>
                  <a:cubicBezTo>
                    <a:pt x="1773528" y="89950"/>
                    <a:pt x="1771140" y="87297"/>
                    <a:pt x="1771405" y="81459"/>
                  </a:cubicBezTo>
                  <a:lnTo>
                    <a:pt x="1771405" y="59967"/>
                  </a:lnTo>
                  <a:lnTo>
                    <a:pt x="1771405" y="59967"/>
                  </a:lnTo>
                  <a:close/>
                  <a:moveTo>
                    <a:pt x="1797143" y="66600"/>
                  </a:moveTo>
                  <a:cubicBezTo>
                    <a:pt x="1798204" y="84909"/>
                    <a:pt x="1809083" y="94461"/>
                    <a:pt x="1830045" y="94991"/>
                  </a:cubicBezTo>
                  <a:cubicBezTo>
                    <a:pt x="1852068" y="93930"/>
                    <a:pt x="1863743" y="83847"/>
                    <a:pt x="1865600" y="64743"/>
                  </a:cubicBezTo>
                  <a:cubicBezTo>
                    <a:pt x="1864008" y="46965"/>
                    <a:pt x="1852864" y="37147"/>
                    <a:pt x="1832168" y="35555"/>
                  </a:cubicBezTo>
                  <a:cubicBezTo>
                    <a:pt x="1810675" y="37147"/>
                    <a:pt x="1799000" y="47496"/>
                    <a:pt x="1797143" y="66600"/>
                  </a:cubicBezTo>
                  <a:lnTo>
                    <a:pt x="1797143" y="66600"/>
                  </a:lnTo>
                  <a:close/>
                  <a:moveTo>
                    <a:pt x="1815717" y="58375"/>
                  </a:moveTo>
                  <a:cubicBezTo>
                    <a:pt x="1815982" y="47761"/>
                    <a:pt x="1820493" y="42189"/>
                    <a:pt x="1828984" y="41924"/>
                  </a:cubicBezTo>
                  <a:cubicBezTo>
                    <a:pt x="1840393" y="43250"/>
                    <a:pt x="1846231" y="53599"/>
                    <a:pt x="1847027" y="72703"/>
                  </a:cubicBezTo>
                  <a:cubicBezTo>
                    <a:pt x="1846761" y="84113"/>
                    <a:pt x="1842516" y="89950"/>
                    <a:pt x="1834290" y="90215"/>
                  </a:cubicBezTo>
                  <a:cubicBezTo>
                    <a:pt x="1823146" y="89419"/>
                    <a:pt x="1816778" y="78806"/>
                    <a:pt x="1815717" y="58375"/>
                  </a:cubicBezTo>
                  <a:lnTo>
                    <a:pt x="1815717" y="58375"/>
                  </a:lnTo>
                  <a:close/>
                  <a:moveTo>
                    <a:pt x="1908055" y="796"/>
                  </a:moveTo>
                  <a:lnTo>
                    <a:pt x="1905401" y="796"/>
                  </a:lnTo>
                  <a:lnTo>
                    <a:pt x="1881256" y="7960"/>
                  </a:lnTo>
                  <a:lnTo>
                    <a:pt x="1881256" y="11675"/>
                  </a:lnTo>
                  <a:lnTo>
                    <a:pt x="1887358" y="13798"/>
                  </a:lnTo>
                  <a:cubicBezTo>
                    <a:pt x="1890277" y="14063"/>
                    <a:pt x="1891604" y="16982"/>
                    <a:pt x="1891073" y="22023"/>
                  </a:cubicBezTo>
                  <a:lnTo>
                    <a:pt x="1891073" y="80132"/>
                  </a:lnTo>
                  <a:cubicBezTo>
                    <a:pt x="1891338" y="87031"/>
                    <a:pt x="1888685" y="90481"/>
                    <a:pt x="1882847" y="89950"/>
                  </a:cubicBezTo>
                  <a:lnTo>
                    <a:pt x="1881786" y="89950"/>
                  </a:lnTo>
                  <a:lnTo>
                    <a:pt x="1881786" y="94461"/>
                  </a:lnTo>
                  <a:lnTo>
                    <a:pt x="1916280" y="94461"/>
                  </a:lnTo>
                  <a:lnTo>
                    <a:pt x="1916280" y="89950"/>
                  </a:lnTo>
                  <a:cubicBezTo>
                    <a:pt x="1910708" y="89950"/>
                    <a:pt x="1908055" y="86766"/>
                    <a:pt x="1908055" y="80132"/>
                  </a:cubicBezTo>
                  <a:lnTo>
                    <a:pt x="1908055" y="796"/>
                  </a:lnTo>
                  <a:lnTo>
                    <a:pt x="1908055" y="796"/>
                  </a:lnTo>
                  <a:close/>
                  <a:moveTo>
                    <a:pt x="1933793" y="66600"/>
                  </a:moveTo>
                  <a:cubicBezTo>
                    <a:pt x="1934854" y="84909"/>
                    <a:pt x="1945733" y="94461"/>
                    <a:pt x="1966695" y="94991"/>
                  </a:cubicBezTo>
                  <a:cubicBezTo>
                    <a:pt x="1988718" y="93930"/>
                    <a:pt x="2000393" y="83847"/>
                    <a:pt x="2002250" y="64743"/>
                  </a:cubicBezTo>
                  <a:cubicBezTo>
                    <a:pt x="2000658" y="46965"/>
                    <a:pt x="1989514" y="37147"/>
                    <a:pt x="1968817" y="35555"/>
                  </a:cubicBezTo>
                  <a:cubicBezTo>
                    <a:pt x="1947325" y="37147"/>
                    <a:pt x="1935650" y="47496"/>
                    <a:pt x="1933793" y="66600"/>
                  </a:cubicBezTo>
                  <a:lnTo>
                    <a:pt x="1933793" y="66600"/>
                  </a:lnTo>
                  <a:close/>
                  <a:moveTo>
                    <a:pt x="1952366" y="58375"/>
                  </a:moveTo>
                  <a:cubicBezTo>
                    <a:pt x="1952632" y="47761"/>
                    <a:pt x="1957143" y="42189"/>
                    <a:pt x="1965633" y="41924"/>
                  </a:cubicBezTo>
                  <a:cubicBezTo>
                    <a:pt x="1977043" y="43250"/>
                    <a:pt x="1982881" y="53599"/>
                    <a:pt x="1983676" y="72703"/>
                  </a:cubicBezTo>
                  <a:cubicBezTo>
                    <a:pt x="1983411" y="84113"/>
                    <a:pt x="1979166" y="89950"/>
                    <a:pt x="1970940" y="90215"/>
                  </a:cubicBezTo>
                  <a:cubicBezTo>
                    <a:pt x="1959796" y="89419"/>
                    <a:pt x="1953428" y="78806"/>
                    <a:pt x="1952366" y="58375"/>
                  </a:cubicBezTo>
                  <a:lnTo>
                    <a:pt x="1952366" y="58375"/>
                  </a:lnTo>
                  <a:close/>
                  <a:moveTo>
                    <a:pt x="2092731" y="36351"/>
                  </a:moveTo>
                  <a:lnTo>
                    <a:pt x="2073096" y="41393"/>
                  </a:lnTo>
                  <a:cubicBezTo>
                    <a:pt x="2068054" y="37678"/>
                    <a:pt x="2061686" y="35821"/>
                    <a:pt x="2053991" y="35821"/>
                  </a:cubicBezTo>
                  <a:cubicBezTo>
                    <a:pt x="2036479" y="36882"/>
                    <a:pt x="2026927" y="44046"/>
                    <a:pt x="2025600" y="57313"/>
                  </a:cubicBezTo>
                  <a:cubicBezTo>
                    <a:pt x="2026661" y="66865"/>
                    <a:pt x="2032764" y="72438"/>
                    <a:pt x="2043643" y="74295"/>
                  </a:cubicBezTo>
                  <a:lnTo>
                    <a:pt x="2043643" y="74826"/>
                  </a:lnTo>
                  <a:cubicBezTo>
                    <a:pt x="2030111" y="77744"/>
                    <a:pt x="2024008" y="81724"/>
                    <a:pt x="2025069" y="86235"/>
                  </a:cubicBezTo>
                  <a:cubicBezTo>
                    <a:pt x="2025335" y="92073"/>
                    <a:pt x="2029580" y="96053"/>
                    <a:pt x="2037275" y="98176"/>
                  </a:cubicBezTo>
                  <a:cubicBezTo>
                    <a:pt x="2036479" y="99768"/>
                    <a:pt x="2034356" y="101094"/>
                    <a:pt x="2030641" y="102686"/>
                  </a:cubicBezTo>
                  <a:cubicBezTo>
                    <a:pt x="2025600" y="105340"/>
                    <a:pt x="2022947" y="108258"/>
                    <a:pt x="2022947" y="111973"/>
                  </a:cubicBezTo>
                  <a:cubicBezTo>
                    <a:pt x="2024539" y="120464"/>
                    <a:pt x="2034091" y="124975"/>
                    <a:pt x="2052134" y="125771"/>
                  </a:cubicBezTo>
                  <a:cubicBezTo>
                    <a:pt x="2076545" y="124709"/>
                    <a:pt x="2089812" y="116749"/>
                    <a:pt x="2091670" y="102156"/>
                  </a:cubicBezTo>
                  <a:cubicBezTo>
                    <a:pt x="2090874" y="92603"/>
                    <a:pt x="2083709" y="87827"/>
                    <a:pt x="2070177" y="87297"/>
                  </a:cubicBezTo>
                  <a:lnTo>
                    <a:pt x="2057971" y="87297"/>
                  </a:lnTo>
                  <a:cubicBezTo>
                    <a:pt x="2046297" y="87297"/>
                    <a:pt x="2040459" y="85705"/>
                    <a:pt x="2040459" y="82255"/>
                  </a:cubicBezTo>
                  <a:cubicBezTo>
                    <a:pt x="2040194" y="80928"/>
                    <a:pt x="2043908" y="78540"/>
                    <a:pt x="2051869" y="75622"/>
                  </a:cubicBezTo>
                  <a:cubicBezTo>
                    <a:pt x="2070442" y="75356"/>
                    <a:pt x="2080260" y="68723"/>
                    <a:pt x="2081587" y="56517"/>
                  </a:cubicBezTo>
                  <a:cubicBezTo>
                    <a:pt x="2081852" y="52802"/>
                    <a:pt x="2081056" y="49884"/>
                    <a:pt x="2078933" y="47230"/>
                  </a:cubicBezTo>
                  <a:lnTo>
                    <a:pt x="2093262" y="50414"/>
                  </a:lnTo>
                  <a:lnTo>
                    <a:pt x="2093262" y="36351"/>
                  </a:lnTo>
                  <a:lnTo>
                    <a:pt x="2092731" y="36351"/>
                  </a:lnTo>
                  <a:close/>
                  <a:moveTo>
                    <a:pt x="2066993" y="101094"/>
                  </a:moveTo>
                  <a:cubicBezTo>
                    <a:pt x="2074688" y="101094"/>
                    <a:pt x="2078403" y="103482"/>
                    <a:pt x="2078403" y="108258"/>
                  </a:cubicBezTo>
                  <a:cubicBezTo>
                    <a:pt x="2077607" y="115423"/>
                    <a:pt x="2071238" y="119403"/>
                    <a:pt x="2058767" y="119668"/>
                  </a:cubicBezTo>
                  <a:cubicBezTo>
                    <a:pt x="2046031" y="118872"/>
                    <a:pt x="2039132" y="114892"/>
                    <a:pt x="2038071" y="107462"/>
                  </a:cubicBezTo>
                  <a:cubicBezTo>
                    <a:pt x="2038336" y="104544"/>
                    <a:pt x="2040194" y="101890"/>
                    <a:pt x="2043643" y="99768"/>
                  </a:cubicBezTo>
                  <a:cubicBezTo>
                    <a:pt x="2047358" y="100564"/>
                    <a:pt x="2051338" y="100829"/>
                    <a:pt x="2055849" y="100829"/>
                  </a:cubicBezTo>
                  <a:lnTo>
                    <a:pt x="2066993" y="100829"/>
                  </a:lnTo>
                  <a:lnTo>
                    <a:pt x="2066993" y="101094"/>
                  </a:lnTo>
                  <a:close/>
                  <a:moveTo>
                    <a:pt x="2042316" y="54925"/>
                  </a:moveTo>
                  <a:cubicBezTo>
                    <a:pt x="2042582" y="46434"/>
                    <a:pt x="2046031" y="42189"/>
                    <a:pt x="2052665" y="41658"/>
                  </a:cubicBezTo>
                  <a:cubicBezTo>
                    <a:pt x="2060094" y="41924"/>
                    <a:pt x="2063809" y="47496"/>
                    <a:pt x="2064074" y="58109"/>
                  </a:cubicBezTo>
                  <a:cubicBezTo>
                    <a:pt x="2063809" y="65804"/>
                    <a:pt x="2060360" y="69784"/>
                    <a:pt x="2054257" y="70315"/>
                  </a:cubicBezTo>
                  <a:cubicBezTo>
                    <a:pt x="2046827" y="70050"/>
                    <a:pt x="2042582" y="64743"/>
                    <a:pt x="2042316" y="54925"/>
                  </a:cubicBezTo>
                  <a:lnTo>
                    <a:pt x="2042316" y="54925"/>
                  </a:lnTo>
                  <a:close/>
                  <a:moveTo>
                    <a:pt x="2136247" y="92869"/>
                  </a:moveTo>
                  <a:lnTo>
                    <a:pt x="2133593" y="98441"/>
                  </a:lnTo>
                  <a:cubicBezTo>
                    <a:pt x="2130409" y="105074"/>
                    <a:pt x="2125633" y="108789"/>
                    <a:pt x="2119796" y="109320"/>
                  </a:cubicBezTo>
                  <a:cubicBezTo>
                    <a:pt x="2116081" y="109585"/>
                    <a:pt x="2113693" y="110646"/>
                    <a:pt x="2112101" y="111973"/>
                  </a:cubicBezTo>
                  <a:cubicBezTo>
                    <a:pt x="2111039" y="113830"/>
                    <a:pt x="2110243" y="115688"/>
                    <a:pt x="2109978" y="118076"/>
                  </a:cubicBezTo>
                  <a:cubicBezTo>
                    <a:pt x="2110243" y="123117"/>
                    <a:pt x="2113162" y="126036"/>
                    <a:pt x="2118734" y="126301"/>
                  </a:cubicBezTo>
                  <a:cubicBezTo>
                    <a:pt x="2123776" y="126301"/>
                    <a:pt x="2128286" y="122852"/>
                    <a:pt x="2132001" y="115953"/>
                  </a:cubicBezTo>
                  <a:lnTo>
                    <a:pt x="2163311" y="52802"/>
                  </a:lnTo>
                  <a:cubicBezTo>
                    <a:pt x="2166230" y="45904"/>
                    <a:pt x="2170210" y="42189"/>
                    <a:pt x="2175517" y="41924"/>
                  </a:cubicBezTo>
                  <a:lnTo>
                    <a:pt x="2175517" y="37413"/>
                  </a:lnTo>
                  <a:lnTo>
                    <a:pt x="2149248" y="37413"/>
                  </a:lnTo>
                  <a:lnTo>
                    <a:pt x="2149248" y="41924"/>
                  </a:lnTo>
                  <a:cubicBezTo>
                    <a:pt x="2157208" y="42189"/>
                    <a:pt x="2159862" y="45904"/>
                    <a:pt x="2156943" y="52802"/>
                  </a:cubicBezTo>
                  <a:lnTo>
                    <a:pt x="2146064" y="74295"/>
                  </a:lnTo>
                  <a:lnTo>
                    <a:pt x="2134654" y="50149"/>
                  </a:lnTo>
                  <a:cubicBezTo>
                    <a:pt x="2133328" y="47230"/>
                    <a:pt x="2133062" y="45108"/>
                    <a:pt x="2134124" y="44046"/>
                  </a:cubicBezTo>
                  <a:cubicBezTo>
                    <a:pt x="2134920" y="42454"/>
                    <a:pt x="2137043" y="41924"/>
                    <a:pt x="2140757" y="41924"/>
                  </a:cubicBezTo>
                  <a:lnTo>
                    <a:pt x="2140757" y="37413"/>
                  </a:lnTo>
                  <a:lnTo>
                    <a:pt x="2104671" y="37413"/>
                  </a:lnTo>
                  <a:lnTo>
                    <a:pt x="2104671" y="41924"/>
                  </a:lnTo>
                  <a:cubicBezTo>
                    <a:pt x="2109713" y="41128"/>
                    <a:pt x="2114489" y="45373"/>
                    <a:pt x="2118469" y="54660"/>
                  </a:cubicBezTo>
                  <a:lnTo>
                    <a:pt x="2136247" y="92869"/>
                  </a:lnTo>
                  <a:close/>
                </a:path>
              </a:pathLst>
            </a:custGeom>
            <a:solidFill>
              <a:srgbClr val="0049A0"/>
            </a:solidFill>
            <a:ln w="264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4929446" y="2777703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4930562" y="3673053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2">
            <a:extLst>
              <a:ext uri="{FF2B5EF4-FFF2-40B4-BE49-F238E27FC236}">
                <a16:creationId xmlns:a16="http://schemas.microsoft.com/office/drawing/2014/main" id="{45E9B101-D695-4953-999D-8FFAB633D2B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duotone>
              <a:schemeClr val="accent4">
                <a:shade val="45000"/>
                <a:satMod val="135000"/>
              </a:schemeClr>
              <a:prstClr val="white"/>
            </a:duotone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63" t="-6975" r="14962" b="1890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ïṣlïďé">
            <a:extLst>
              <a:ext uri="{FF2B5EF4-FFF2-40B4-BE49-F238E27FC236}">
                <a16:creationId xmlns:a16="http://schemas.microsoft.com/office/drawing/2014/main" id="{5FAF31E0-1E42-457D-8F03-7BA8A9AF2D3E}"/>
              </a:ext>
            </a:extLst>
          </p:cNvPr>
          <p:cNvSpPr/>
          <p:nvPr userDrawn="1"/>
        </p:nvSpPr>
        <p:spPr>
          <a:xfrm>
            <a:off x="-2" y="0"/>
            <a:ext cx="12192002" cy="6857999"/>
          </a:xfrm>
          <a:prstGeom prst="rect">
            <a:avLst/>
          </a:prstGeom>
          <a:gradFill>
            <a:gsLst>
              <a:gs pos="0">
                <a:schemeClr val="accent3">
                  <a:alpha val="80000"/>
                </a:schemeClr>
              </a:gs>
              <a:gs pos="100000">
                <a:schemeClr val="accent3">
                  <a:lumMod val="50000"/>
                  <a:alpha val="90000"/>
                </a:schemeClr>
              </a:gs>
            </a:gsLst>
            <a:lin ang="5400000" scaled="1"/>
          </a:gradFill>
          <a:ln>
            <a:noFill/>
          </a:ln>
          <a:effectLst>
            <a:outerShdw blurRad="304800" dist="38100" dir="5400000" algn="t" rotWithShape="0">
              <a:schemeClr val="accent1">
                <a:lumMod val="60000"/>
                <a:lumOff val="4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2265363"/>
            <a:ext cx="10845798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4903329"/>
            <a:ext cx="10845798" cy="314334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4503928"/>
            <a:ext cx="10845798" cy="299572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700DF731-6A54-4049-9519-641D4FB12C00}"/>
              </a:ext>
            </a:extLst>
          </p:cNvPr>
          <p:cNvGrpSpPr/>
          <p:nvPr userDrawn="1"/>
        </p:nvGrpSpPr>
        <p:grpSpPr>
          <a:xfrm>
            <a:off x="9600065" y="514350"/>
            <a:ext cx="1920422" cy="442835"/>
            <a:chOff x="1030611" y="1440402"/>
            <a:chExt cx="2939653" cy="677862"/>
          </a:xfrm>
        </p:grpSpPr>
        <p:sp>
          <p:nvSpPr>
            <p:cNvPr id="12" name="îṧḷíḑè">
              <a:extLst>
                <a:ext uri="{FF2B5EF4-FFF2-40B4-BE49-F238E27FC236}">
                  <a16:creationId xmlns:a16="http://schemas.microsoft.com/office/drawing/2014/main" id="{69CE28B9-18F9-4450-8705-8A8F32657EEB}"/>
                </a:ext>
              </a:extLst>
            </p:cNvPr>
            <p:cNvSpPr/>
            <p:nvPr/>
          </p:nvSpPr>
          <p:spPr>
            <a:xfrm>
              <a:off x="1043310" y="1468287"/>
              <a:ext cx="649977" cy="649977"/>
            </a:xfrm>
            <a:prstGeom prst="ellipse">
              <a:avLst/>
            </a:prstGeom>
            <a:solidFill>
              <a:srgbClr val="B9E1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13" name="图形 12">
              <a:extLst>
                <a:ext uri="{FF2B5EF4-FFF2-40B4-BE49-F238E27FC236}">
                  <a16:creationId xmlns:a16="http://schemas.microsoft.com/office/drawing/2014/main" id="{330C142C-D23C-4A8C-B7A9-F5A01B7E90A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r="74611"/>
            <a:stretch/>
          </p:blipFill>
          <p:spPr>
            <a:xfrm>
              <a:off x="1030611" y="1440402"/>
              <a:ext cx="764138" cy="677862"/>
            </a:xfrm>
            <a:prstGeom prst="rect">
              <a:avLst/>
            </a:prstGeom>
          </p:spPr>
        </p:pic>
        <p:grpSp>
          <p:nvGrpSpPr>
            <p:cNvPr id="14" name="图形 255">
              <a:extLst>
                <a:ext uri="{FF2B5EF4-FFF2-40B4-BE49-F238E27FC236}">
                  <a16:creationId xmlns:a16="http://schemas.microsoft.com/office/drawing/2014/main" id="{AC563270-193F-4D8D-B7CC-29008B17C494}"/>
                </a:ext>
              </a:extLst>
            </p:cNvPr>
            <p:cNvGrpSpPr/>
            <p:nvPr/>
          </p:nvGrpSpPr>
          <p:grpSpPr>
            <a:xfrm>
              <a:off x="1794775" y="1455281"/>
              <a:ext cx="2156121" cy="426727"/>
              <a:chOff x="1794775" y="1455281"/>
              <a:chExt cx="2156121" cy="426727"/>
            </a:xfrm>
            <a:solidFill>
              <a:srgbClr val="0049A0"/>
            </a:solidFill>
          </p:grpSpPr>
          <p:sp>
            <p:nvSpPr>
              <p:cNvPr id="16" name="ïṩļïdê">
                <a:extLst>
                  <a:ext uri="{FF2B5EF4-FFF2-40B4-BE49-F238E27FC236}">
                    <a16:creationId xmlns:a16="http://schemas.microsoft.com/office/drawing/2014/main" id="{AA9410A9-5340-427E-A5DF-FE04D8172992}"/>
                  </a:ext>
                </a:extLst>
              </p:cNvPr>
              <p:cNvSpPr/>
              <p:nvPr/>
            </p:nvSpPr>
            <p:spPr>
              <a:xfrm>
                <a:off x="3688614" y="1455281"/>
                <a:ext cx="262281" cy="187348"/>
              </a:xfrm>
              <a:custGeom>
                <a:avLst/>
                <a:gdLst>
                  <a:gd name="connsiteX0" fmla="*/ 40457 w 262281"/>
                  <a:gd name="connsiteY0" fmla="*/ 87238 h 187348"/>
                  <a:gd name="connsiteX1" fmla="*/ 55316 w 262281"/>
                  <a:gd name="connsiteY1" fmla="*/ 87238 h 187348"/>
                  <a:gd name="connsiteX2" fmla="*/ 102016 w 262281"/>
                  <a:gd name="connsiteY2" fmla="*/ 126508 h 187348"/>
                  <a:gd name="connsiteX3" fmla="*/ 121651 w 262281"/>
                  <a:gd name="connsiteY3" fmla="*/ 94667 h 187348"/>
                  <a:gd name="connsiteX4" fmla="*/ 84768 w 262281"/>
                  <a:gd name="connsiteY4" fmla="*/ 97056 h 187348"/>
                  <a:gd name="connsiteX5" fmla="*/ 79727 w 262281"/>
                  <a:gd name="connsiteY5" fmla="*/ 72379 h 187348"/>
                  <a:gd name="connsiteX6" fmla="*/ 180556 w 262281"/>
                  <a:gd name="connsiteY6" fmla="*/ 1003 h 187348"/>
                  <a:gd name="connsiteX7" fmla="*/ 205233 w 262281"/>
                  <a:gd name="connsiteY7" fmla="*/ 25679 h 187348"/>
                  <a:gd name="connsiteX8" fmla="*/ 163309 w 262281"/>
                  <a:gd name="connsiteY8" fmla="*/ 67338 h 187348"/>
                  <a:gd name="connsiteX9" fmla="*/ 165697 w 262281"/>
                  <a:gd name="connsiteY9" fmla="*/ 77155 h 187348"/>
                  <a:gd name="connsiteX10" fmla="*/ 173127 w 262281"/>
                  <a:gd name="connsiteY10" fmla="*/ 79543 h 187348"/>
                  <a:gd name="connsiteX11" fmla="*/ 251667 w 262281"/>
                  <a:gd name="connsiteY11" fmla="*/ 54867 h 187348"/>
                  <a:gd name="connsiteX12" fmla="*/ 261485 w 262281"/>
                  <a:gd name="connsiteY12" fmla="*/ 67072 h 187348"/>
                  <a:gd name="connsiteX13" fmla="*/ 202579 w 262281"/>
                  <a:gd name="connsiteY13" fmla="*/ 145613 h 187348"/>
                  <a:gd name="connsiteX14" fmla="*/ 163309 w 262281"/>
                  <a:gd name="connsiteY14" fmla="*/ 143225 h 187348"/>
                  <a:gd name="connsiteX15" fmla="*/ 215050 w 262281"/>
                  <a:gd name="connsiteY15" fmla="*/ 79808 h 187348"/>
                  <a:gd name="connsiteX16" fmla="*/ 212662 w 262281"/>
                  <a:gd name="connsiteY16" fmla="*/ 79808 h 187348"/>
                  <a:gd name="connsiteX17" fmla="*/ 155349 w 262281"/>
                  <a:gd name="connsiteY17" fmla="*/ 150389 h 187348"/>
                  <a:gd name="connsiteX18" fmla="*/ 155879 w 262281"/>
                  <a:gd name="connsiteY18" fmla="*/ 162594 h 187348"/>
                  <a:gd name="connsiteX19" fmla="*/ 114221 w 262281"/>
                  <a:gd name="connsiteY19" fmla="*/ 148531 h 187348"/>
                  <a:gd name="connsiteX20" fmla="*/ 77339 w 262281"/>
                  <a:gd name="connsiteY20" fmla="*/ 180372 h 187348"/>
                  <a:gd name="connsiteX21" fmla="*/ 69910 w 262281"/>
                  <a:gd name="connsiteY21" fmla="*/ 175331 h 187348"/>
                  <a:gd name="connsiteX22" fmla="*/ 87157 w 262281"/>
                  <a:gd name="connsiteY22" fmla="*/ 153307 h 187348"/>
                  <a:gd name="connsiteX23" fmla="*/ 74951 w 262281"/>
                  <a:gd name="connsiteY23" fmla="*/ 148266 h 187348"/>
                  <a:gd name="connsiteX24" fmla="*/ 35681 w 262281"/>
                  <a:gd name="connsiteY24" fmla="*/ 185148 h 187348"/>
                  <a:gd name="connsiteX25" fmla="*/ 8616 w 262281"/>
                  <a:gd name="connsiteY25" fmla="*/ 183025 h 187348"/>
                  <a:gd name="connsiteX26" fmla="*/ 3575 w 262281"/>
                  <a:gd name="connsiteY26" fmla="*/ 126508 h 187348"/>
                  <a:gd name="connsiteX27" fmla="*/ 5963 w 262281"/>
                  <a:gd name="connsiteY27" fmla="*/ 126508 h 187348"/>
                  <a:gd name="connsiteX28" fmla="*/ 55050 w 262281"/>
                  <a:gd name="connsiteY28" fmla="*/ 143755 h 187348"/>
                  <a:gd name="connsiteX29" fmla="*/ 40457 w 262281"/>
                  <a:gd name="connsiteY29" fmla="*/ 87238 h 187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262281" h="187348">
                    <a:moveTo>
                      <a:pt x="40457" y="87238"/>
                    </a:moveTo>
                    <a:cubicBezTo>
                      <a:pt x="43376" y="84054"/>
                      <a:pt x="50009" y="84319"/>
                      <a:pt x="55316" y="87238"/>
                    </a:cubicBezTo>
                    <a:cubicBezTo>
                      <a:pt x="61684" y="103424"/>
                      <a:pt x="86360" y="134999"/>
                      <a:pt x="102016" y="126508"/>
                    </a:cubicBezTo>
                    <a:cubicBezTo>
                      <a:pt x="113160" y="121467"/>
                      <a:pt x="128019" y="107404"/>
                      <a:pt x="121651" y="94667"/>
                    </a:cubicBezTo>
                    <a:cubicBezTo>
                      <a:pt x="101750" y="107934"/>
                      <a:pt x="103077" y="112445"/>
                      <a:pt x="84768" y="97056"/>
                    </a:cubicBezTo>
                    <a:cubicBezTo>
                      <a:pt x="78135" y="85911"/>
                      <a:pt x="77339" y="85115"/>
                      <a:pt x="79727" y="72379"/>
                    </a:cubicBezTo>
                    <a:cubicBezTo>
                      <a:pt x="158002" y="79808"/>
                      <a:pt x="144735" y="47437"/>
                      <a:pt x="180556" y="1003"/>
                    </a:cubicBezTo>
                    <a:cubicBezTo>
                      <a:pt x="202579" y="-4039"/>
                      <a:pt x="208417" y="10820"/>
                      <a:pt x="205233" y="25679"/>
                    </a:cubicBezTo>
                    <a:cubicBezTo>
                      <a:pt x="191170" y="39742"/>
                      <a:pt x="177372" y="53540"/>
                      <a:pt x="163309" y="67338"/>
                    </a:cubicBezTo>
                    <a:cubicBezTo>
                      <a:pt x="164105" y="70522"/>
                      <a:pt x="164901" y="73971"/>
                      <a:pt x="165697" y="77155"/>
                    </a:cubicBezTo>
                    <a:cubicBezTo>
                      <a:pt x="168085" y="77951"/>
                      <a:pt x="170738" y="78747"/>
                      <a:pt x="173127" y="79543"/>
                    </a:cubicBezTo>
                    <a:cubicBezTo>
                      <a:pt x="203641" y="73175"/>
                      <a:pt x="212397" y="55663"/>
                      <a:pt x="251667" y="54867"/>
                    </a:cubicBezTo>
                    <a:cubicBezTo>
                      <a:pt x="255116" y="53805"/>
                      <a:pt x="262546" y="56459"/>
                      <a:pt x="261485" y="67072"/>
                    </a:cubicBezTo>
                    <a:cubicBezTo>
                      <a:pt x="268118" y="94402"/>
                      <a:pt x="232032" y="96259"/>
                      <a:pt x="202579" y="145613"/>
                    </a:cubicBezTo>
                    <a:cubicBezTo>
                      <a:pt x="192496" y="150654"/>
                      <a:pt x="170208" y="149062"/>
                      <a:pt x="163309" y="143225"/>
                    </a:cubicBezTo>
                    <a:cubicBezTo>
                      <a:pt x="161982" y="123855"/>
                      <a:pt x="230440" y="105016"/>
                      <a:pt x="215050" y="79808"/>
                    </a:cubicBezTo>
                    <a:cubicBezTo>
                      <a:pt x="214254" y="79808"/>
                      <a:pt x="213458" y="79808"/>
                      <a:pt x="212662" y="79808"/>
                    </a:cubicBezTo>
                    <a:cubicBezTo>
                      <a:pt x="176310" y="87503"/>
                      <a:pt x="104669" y="116691"/>
                      <a:pt x="155349" y="150389"/>
                    </a:cubicBezTo>
                    <a:cubicBezTo>
                      <a:pt x="159594" y="153042"/>
                      <a:pt x="160656" y="162064"/>
                      <a:pt x="155879" y="162594"/>
                    </a:cubicBezTo>
                    <a:cubicBezTo>
                      <a:pt x="133326" y="163390"/>
                      <a:pt x="123508" y="160206"/>
                      <a:pt x="114221" y="148531"/>
                    </a:cubicBezTo>
                    <a:cubicBezTo>
                      <a:pt x="97505" y="156757"/>
                      <a:pt x="113691" y="177188"/>
                      <a:pt x="77339" y="180372"/>
                    </a:cubicBezTo>
                    <a:cubicBezTo>
                      <a:pt x="73093" y="180372"/>
                      <a:pt x="71236" y="180107"/>
                      <a:pt x="69910" y="175331"/>
                    </a:cubicBezTo>
                    <a:cubicBezTo>
                      <a:pt x="81850" y="166309"/>
                      <a:pt x="84503" y="160737"/>
                      <a:pt x="87157" y="153307"/>
                    </a:cubicBezTo>
                    <a:cubicBezTo>
                      <a:pt x="79462" y="144286"/>
                      <a:pt x="78135" y="146939"/>
                      <a:pt x="74951" y="148266"/>
                    </a:cubicBezTo>
                    <a:cubicBezTo>
                      <a:pt x="61949" y="160472"/>
                      <a:pt x="48682" y="172943"/>
                      <a:pt x="35681" y="185148"/>
                    </a:cubicBezTo>
                    <a:cubicBezTo>
                      <a:pt x="25333" y="188598"/>
                      <a:pt x="19230" y="188067"/>
                      <a:pt x="8616" y="183025"/>
                    </a:cubicBezTo>
                    <a:cubicBezTo>
                      <a:pt x="-1201" y="166574"/>
                      <a:pt x="-2263" y="146939"/>
                      <a:pt x="3575" y="126508"/>
                    </a:cubicBezTo>
                    <a:cubicBezTo>
                      <a:pt x="4371" y="126508"/>
                      <a:pt x="5167" y="126508"/>
                      <a:pt x="5963" y="126508"/>
                    </a:cubicBezTo>
                    <a:cubicBezTo>
                      <a:pt x="29843" y="135795"/>
                      <a:pt x="30905" y="163125"/>
                      <a:pt x="55050" y="143755"/>
                    </a:cubicBezTo>
                    <a:cubicBezTo>
                      <a:pt x="61684" y="114568"/>
                      <a:pt x="44172" y="110853"/>
                      <a:pt x="40457" y="87238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" name="íŝlîḑê">
                <a:extLst>
                  <a:ext uri="{FF2B5EF4-FFF2-40B4-BE49-F238E27FC236}">
                    <a16:creationId xmlns:a16="http://schemas.microsoft.com/office/drawing/2014/main" id="{B17B75F4-9F6E-4D60-920C-B5D5EE55D508}"/>
                  </a:ext>
                </a:extLst>
              </p:cNvPr>
              <p:cNvSpPr/>
              <p:nvPr/>
            </p:nvSpPr>
            <p:spPr>
              <a:xfrm>
                <a:off x="1794775" y="1489986"/>
                <a:ext cx="294159" cy="392022"/>
              </a:xfrm>
              <a:custGeom>
                <a:avLst/>
                <a:gdLst>
                  <a:gd name="connsiteX0" fmla="*/ 171382 w 294159"/>
                  <a:gd name="connsiteY0" fmla="*/ 261 h 392022"/>
                  <a:gd name="connsiteX1" fmla="*/ 223654 w 294159"/>
                  <a:gd name="connsiteY1" fmla="*/ 20427 h 392022"/>
                  <a:gd name="connsiteX2" fmla="*/ 226042 w 294159"/>
                  <a:gd name="connsiteY2" fmla="*/ 138503 h 392022"/>
                  <a:gd name="connsiteX3" fmla="*/ 260536 w 294159"/>
                  <a:gd name="connsiteY3" fmla="*/ 138503 h 392022"/>
                  <a:gd name="connsiteX4" fmla="*/ 260536 w 294159"/>
                  <a:gd name="connsiteY4" fmla="*/ 140891 h 392022"/>
                  <a:gd name="connsiteX5" fmla="*/ 231083 w 294159"/>
                  <a:gd name="connsiteY5" fmla="*/ 170609 h 392022"/>
                  <a:gd name="connsiteX6" fmla="*/ 270353 w 294159"/>
                  <a:gd name="connsiteY6" fmla="*/ 273825 h 392022"/>
                  <a:gd name="connsiteX7" fmla="*/ 272741 w 294159"/>
                  <a:gd name="connsiteY7" fmla="*/ 214920 h 392022"/>
                  <a:gd name="connsiteX8" fmla="*/ 285743 w 294159"/>
                  <a:gd name="connsiteY8" fmla="*/ 212532 h 392022"/>
                  <a:gd name="connsiteX9" fmla="*/ 275395 w 294159"/>
                  <a:gd name="connsiteY9" fmla="*/ 367490 h 392022"/>
                  <a:gd name="connsiteX10" fmla="*/ 273007 w 294159"/>
                  <a:gd name="connsiteY10" fmla="*/ 367490 h 392022"/>
                  <a:gd name="connsiteX11" fmla="*/ 214101 w 294159"/>
                  <a:gd name="connsiteY11" fmla="*/ 274091 h 392022"/>
                  <a:gd name="connsiteX12" fmla="*/ 63919 w 294159"/>
                  <a:gd name="connsiteY12" fmla="*/ 389248 h 392022"/>
                  <a:gd name="connsiteX13" fmla="*/ 2361 w 294159"/>
                  <a:gd name="connsiteY13" fmla="*/ 372001 h 392022"/>
                  <a:gd name="connsiteX14" fmla="*/ 2361 w 294159"/>
                  <a:gd name="connsiteY14" fmla="*/ 362183 h 392022"/>
                  <a:gd name="connsiteX15" fmla="*/ 9790 w 294159"/>
                  <a:gd name="connsiteY15" fmla="*/ 357142 h 392022"/>
                  <a:gd name="connsiteX16" fmla="*/ 68696 w 294159"/>
                  <a:gd name="connsiteY16" fmla="*/ 342283 h 392022"/>
                  <a:gd name="connsiteX17" fmla="*/ 171913 w 294159"/>
                  <a:gd name="connsiteY17" fmla="*/ 248884 h 392022"/>
                  <a:gd name="connsiteX18" fmla="*/ 149889 w 294159"/>
                  <a:gd name="connsiteY18" fmla="*/ 253925 h 392022"/>
                  <a:gd name="connsiteX19" fmla="*/ 115395 w 294159"/>
                  <a:gd name="connsiteY19" fmla="*/ 280990 h 392022"/>
                  <a:gd name="connsiteX20" fmla="*/ 110354 w 294159"/>
                  <a:gd name="connsiteY20" fmla="*/ 273560 h 392022"/>
                  <a:gd name="connsiteX21" fmla="*/ 113007 w 294159"/>
                  <a:gd name="connsiteY21" fmla="*/ 219696 h 392022"/>
                  <a:gd name="connsiteX22" fmla="*/ 98148 w 294159"/>
                  <a:gd name="connsiteY22" fmla="*/ 219696 h 392022"/>
                  <a:gd name="connsiteX23" fmla="*/ 44019 w 294159"/>
                  <a:gd name="connsiteY23" fmla="*/ 258966 h 392022"/>
                  <a:gd name="connsiteX24" fmla="*/ 2361 w 294159"/>
                  <a:gd name="connsiteY24" fmla="*/ 236943 h 392022"/>
                  <a:gd name="connsiteX25" fmla="*/ 7402 w 294159"/>
                  <a:gd name="connsiteY25" fmla="*/ 212267 h 392022"/>
                  <a:gd name="connsiteX26" fmla="*/ 194201 w 294159"/>
                  <a:gd name="connsiteY26" fmla="*/ 150708 h 392022"/>
                  <a:gd name="connsiteX27" fmla="*/ 171382 w 294159"/>
                  <a:gd name="connsiteY27" fmla="*/ 261 h 392022"/>
                  <a:gd name="connsiteX28" fmla="*/ 171382 w 294159"/>
                  <a:gd name="connsiteY28" fmla="*/ 261 h 392022"/>
                  <a:gd name="connsiteX29" fmla="*/ 186772 w 294159"/>
                  <a:gd name="connsiteY29" fmla="*/ 182814 h 392022"/>
                  <a:gd name="connsiteX30" fmla="*/ 181730 w 294159"/>
                  <a:gd name="connsiteY30" fmla="*/ 214920 h 392022"/>
                  <a:gd name="connsiteX31" fmla="*/ 196589 w 294159"/>
                  <a:gd name="connsiteY31" fmla="*/ 236943 h 392022"/>
                  <a:gd name="connsiteX32" fmla="*/ 206407 w 294159"/>
                  <a:gd name="connsiteY32" fmla="*/ 236943 h 392022"/>
                  <a:gd name="connsiteX33" fmla="*/ 208795 w 294159"/>
                  <a:gd name="connsiteY33" fmla="*/ 234555 h 392022"/>
                  <a:gd name="connsiteX34" fmla="*/ 194201 w 294159"/>
                  <a:gd name="connsiteY34" fmla="*/ 182814 h 392022"/>
                  <a:gd name="connsiteX35" fmla="*/ 186772 w 294159"/>
                  <a:gd name="connsiteY35" fmla="*/ 182814 h 392022"/>
                  <a:gd name="connsiteX36" fmla="*/ 186772 w 294159"/>
                  <a:gd name="connsiteY36" fmla="*/ 182814 h 392022"/>
                  <a:gd name="connsiteX37" fmla="*/ 140072 w 294159"/>
                  <a:gd name="connsiteY37" fmla="*/ 197673 h 392022"/>
                  <a:gd name="connsiteX38" fmla="*/ 129724 w 294159"/>
                  <a:gd name="connsiteY38" fmla="*/ 219696 h 392022"/>
                  <a:gd name="connsiteX39" fmla="*/ 161299 w 294159"/>
                  <a:gd name="connsiteY39" fmla="*/ 225534 h 392022"/>
                  <a:gd name="connsiteX40" fmla="*/ 159176 w 294159"/>
                  <a:gd name="connsiteY40" fmla="*/ 197673 h 392022"/>
                  <a:gd name="connsiteX41" fmla="*/ 140072 w 294159"/>
                  <a:gd name="connsiteY41" fmla="*/ 197673 h 392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294159" h="392022">
                    <a:moveTo>
                      <a:pt x="171382" y="261"/>
                    </a:moveTo>
                    <a:cubicBezTo>
                      <a:pt x="196854" y="-1331"/>
                      <a:pt x="215428" y="4241"/>
                      <a:pt x="223654" y="20427"/>
                    </a:cubicBezTo>
                    <a:cubicBezTo>
                      <a:pt x="223123" y="60227"/>
                      <a:pt x="219674" y="97110"/>
                      <a:pt x="226042" y="138503"/>
                    </a:cubicBezTo>
                    <a:cubicBezTo>
                      <a:pt x="237451" y="138503"/>
                      <a:pt x="248861" y="138503"/>
                      <a:pt x="260536" y="138503"/>
                    </a:cubicBezTo>
                    <a:cubicBezTo>
                      <a:pt x="260536" y="139299"/>
                      <a:pt x="260536" y="140095"/>
                      <a:pt x="260536" y="140891"/>
                    </a:cubicBezTo>
                    <a:cubicBezTo>
                      <a:pt x="257086" y="160791"/>
                      <a:pt x="245942" y="163179"/>
                      <a:pt x="231083" y="170609"/>
                    </a:cubicBezTo>
                    <a:cubicBezTo>
                      <a:pt x="231083" y="209083"/>
                      <a:pt x="240105" y="264804"/>
                      <a:pt x="270353" y="273825"/>
                    </a:cubicBezTo>
                    <a:cubicBezTo>
                      <a:pt x="271149" y="254190"/>
                      <a:pt x="271945" y="234555"/>
                      <a:pt x="272741" y="214920"/>
                    </a:cubicBezTo>
                    <a:cubicBezTo>
                      <a:pt x="274864" y="201388"/>
                      <a:pt x="281232" y="204307"/>
                      <a:pt x="285743" y="212532"/>
                    </a:cubicBezTo>
                    <a:cubicBezTo>
                      <a:pt x="297153" y="250210"/>
                      <a:pt x="299806" y="353427"/>
                      <a:pt x="275395" y="367490"/>
                    </a:cubicBezTo>
                    <a:cubicBezTo>
                      <a:pt x="274599" y="367490"/>
                      <a:pt x="273803" y="367490"/>
                      <a:pt x="273007" y="367490"/>
                    </a:cubicBezTo>
                    <a:cubicBezTo>
                      <a:pt x="237982" y="352366"/>
                      <a:pt x="247004" y="285766"/>
                      <a:pt x="214101" y="274091"/>
                    </a:cubicBezTo>
                    <a:cubicBezTo>
                      <a:pt x="159176" y="306462"/>
                      <a:pt x="89657" y="373858"/>
                      <a:pt x="63919" y="389248"/>
                    </a:cubicBezTo>
                    <a:cubicBezTo>
                      <a:pt x="37386" y="399596"/>
                      <a:pt x="16954" y="378104"/>
                      <a:pt x="2361" y="372001"/>
                    </a:cubicBezTo>
                    <a:cubicBezTo>
                      <a:pt x="2361" y="368817"/>
                      <a:pt x="2361" y="365367"/>
                      <a:pt x="2361" y="362183"/>
                    </a:cubicBezTo>
                    <a:cubicBezTo>
                      <a:pt x="4749" y="360591"/>
                      <a:pt x="7402" y="358999"/>
                      <a:pt x="9790" y="357142"/>
                    </a:cubicBezTo>
                    <a:cubicBezTo>
                      <a:pt x="25180" y="343610"/>
                      <a:pt x="46672" y="350774"/>
                      <a:pt x="68696" y="342283"/>
                    </a:cubicBezTo>
                    <a:cubicBezTo>
                      <a:pt x="95760" y="331935"/>
                      <a:pt x="185710" y="279928"/>
                      <a:pt x="171913" y="248884"/>
                    </a:cubicBezTo>
                    <a:cubicBezTo>
                      <a:pt x="164218" y="246761"/>
                      <a:pt x="158115" y="247026"/>
                      <a:pt x="149889" y="253925"/>
                    </a:cubicBezTo>
                    <a:cubicBezTo>
                      <a:pt x="145909" y="273295"/>
                      <a:pt x="138745" y="280724"/>
                      <a:pt x="115395" y="280990"/>
                    </a:cubicBezTo>
                    <a:cubicBezTo>
                      <a:pt x="113803" y="278602"/>
                      <a:pt x="112211" y="275948"/>
                      <a:pt x="110354" y="273560"/>
                    </a:cubicBezTo>
                    <a:cubicBezTo>
                      <a:pt x="100802" y="250210"/>
                      <a:pt x="126540" y="225534"/>
                      <a:pt x="113007" y="219696"/>
                    </a:cubicBezTo>
                    <a:cubicBezTo>
                      <a:pt x="108496" y="217308"/>
                      <a:pt x="104782" y="217574"/>
                      <a:pt x="98148" y="219696"/>
                    </a:cubicBezTo>
                    <a:cubicBezTo>
                      <a:pt x="80105" y="232698"/>
                      <a:pt x="49856" y="260559"/>
                      <a:pt x="44019" y="258966"/>
                    </a:cubicBezTo>
                    <a:cubicBezTo>
                      <a:pt x="24649" y="257374"/>
                      <a:pt x="12709" y="254456"/>
                      <a:pt x="2361" y="236943"/>
                    </a:cubicBezTo>
                    <a:cubicBezTo>
                      <a:pt x="-823" y="228718"/>
                      <a:pt x="-2150" y="221288"/>
                      <a:pt x="7402" y="212267"/>
                    </a:cubicBezTo>
                    <a:cubicBezTo>
                      <a:pt x="71084" y="213328"/>
                      <a:pt x="150951" y="178569"/>
                      <a:pt x="194201" y="150708"/>
                    </a:cubicBezTo>
                    <a:cubicBezTo>
                      <a:pt x="194201" y="36082"/>
                      <a:pt x="168728" y="53329"/>
                      <a:pt x="171382" y="261"/>
                    </a:cubicBezTo>
                    <a:lnTo>
                      <a:pt x="171382" y="261"/>
                    </a:lnTo>
                    <a:close/>
                    <a:moveTo>
                      <a:pt x="186772" y="182814"/>
                    </a:moveTo>
                    <a:cubicBezTo>
                      <a:pt x="181995" y="192366"/>
                      <a:pt x="180669" y="203776"/>
                      <a:pt x="181730" y="214920"/>
                    </a:cubicBezTo>
                    <a:cubicBezTo>
                      <a:pt x="185710" y="224207"/>
                      <a:pt x="189956" y="230841"/>
                      <a:pt x="196589" y="236943"/>
                    </a:cubicBezTo>
                    <a:cubicBezTo>
                      <a:pt x="199773" y="236943"/>
                      <a:pt x="203223" y="236943"/>
                      <a:pt x="206407" y="236943"/>
                    </a:cubicBezTo>
                    <a:cubicBezTo>
                      <a:pt x="207203" y="236147"/>
                      <a:pt x="207999" y="235351"/>
                      <a:pt x="208795" y="234555"/>
                    </a:cubicBezTo>
                    <a:cubicBezTo>
                      <a:pt x="203223" y="214920"/>
                      <a:pt x="200835" y="198204"/>
                      <a:pt x="194201" y="182814"/>
                    </a:cubicBezTo>
                    <a:cubicBezTo>
                      <a:pt x="191548" y="182814"/>
                      <a:pt x="189160" y="182814"/>
                      <a:pt x="186772" y="182814"/>
                    </a:cubicBezTo>
                    <a:lnTo>
                      <a:pt x="186772" y="182814"/>
                    </a:lnTo>
                    <a:close/>
                    <a:moveTo>
                      <a:pt x="140072" y="197673"/>
                    </a:moveTo>
                    <a:cubicBezTo>
                      <a:pt x="129724" y="203245"/>
                      <a:pt x="130254" y="210940"/>
                      <a:pt x="129724" y="219696"/>
                    </a:cubicBezTo>
                    <a:cubicBezTo>
                      <a:pt x="140603" y="234290"/>
                      <a:pt x="152277" y="227656"/>
                      <a:pt x="161299" y="225534"/>
                    </a:cubicBezTo>
                    <a:cubicBezTo>
                      <a:pt x="164218" y="216512"/>
                      <a:pt x="164483" y="203776"/>
                      <a:pt x="159176" y="197673"/>
                    </a:cubicBezTo>
                    <a:cubicBezTo>
                      <a:pt x="148032" y="197673"/>
                      <a:pt x="147501" y="197673"/>
                      <a:pt x="140072" y="197673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" name="ísľídè">
                <a:extLst>
                  <a:ext uri="{FF2B5EF4-FFF2-40B4-BE49-F238E27FC236}">
                    <a16:creationId xmlns:a16="http://schemas.microsoft.com/office/drawing/2014/main" id="{8E98A934-74B8-4C91-BA90-0CAB2A75969B}"/>
                  </a:ext>
                </a:extLst>
              </p:cNvPr>
              <p:cNvSpPr/>
              <p:nvPr/>
            </p:nvSpPr>
            <p:spPr>
              <a:xfrm>
                <a:off x="2316265" y="1493719"/>
                <a:ext cx="165529" cy="318248"/>
              </a:xfrm>
              <a:custGeom>
                <a:avLst/>
                <a:gdLst>
                  <a:gd name="connsiteX0" fmla="*/ 132279 w 165529"/>
                  <a:gd name="connsiteY0" fmla="*/ 2100 h 318248"/>
                  <a:gd name="connsiteX1" fmla="*/ 151914 w 165529"/>
                  <a:gd name="connsiteY1" fmla="*/ 2100 h 318248"/>
                  <a:gd name="connsiteX2" fmla="*/ 161731 w 165529"/>
                  <a:gd name="connsiteY2" fmla="*/ 43758 h 318248"/>
                  <a:gd name="connsiteX3" fmla="*/ 109990 w 165529"/>
                  <a:gd name="connsiteY3" fmla="*/ 107705 h 318248"/>
                  <a:gd name="connsiteX4" fmla="*/ 115032 w 165529"/>
                  <a:gd name="connsiteY4" fmla="*/ 107705 h 318248"/>
                  <a:gd name="connsiteX5" fmla="*/ 146872 w 165529"/>
                  <a:gd name="connsiteY5" fmla="*/ 117523 h 318248"/>
                  <a:gd name="connsiteX6" fmla="*/ 146872 w 165529"/>
                  <a:gd name="connsiteY6" fmla="*/ 139546 h 318248"/>
                  <a:gd name="connsiteX7" fmla="*/ 122196 w 165529"/>
                  <a:gd name="connsiteY7" fmla="*/ 154405 h 318248"/>
                  <a:gd name="connsiteX8" fmla="*/ 132013 w 165529"/>
                  <a:gd name="connsiteY8" fmla="*/ 186245 h 318248"/>
                  <a:gd name="connsiteX9" fmla="*/ 102561 w 165529"/>
                  <a:gd name="connsiteY9" fmla="*/ 223128 h 318248"/>
                  <a:gd name="connsiteX10" fmla="*/ 104949 w 165529"/>
                  <a:gd name="connsiteY10" fmla="*/ 232945 h 318248"/>
                  <a:gd name="connsiteX11" fmla="*/ 136789 w 165529"/>
                  <a:gd name="connsiteY11" fmla="*/ 215698 h 318248"/>
                  <a:gd name="connsiteX12" fmla="*/ 163854 w 165529"/>
                  <a:gd name="connsiteY12" fmla="*/ 220740 h 318248"/>
                  <a:gd name="connsiteX13" fmla="*/ 154036 w 165529"/>
                  <a:gd name="connsiteY13" fmla="*/ 245416 h 318248"/>
                  <a:gd name="connsiteX14" fmla="*/ 97519 w 165529"/>
                  <a:gd name="connsiteY14" fmla="*/ 262663 h 318248"/>
                  <a:gd name="connsiteX15" fmla="*/ 95131 w 165529"/>
                  <a:gd name="connsiteY15" fmla="*/ 270093 h 318248"/>
                  <a:gd name="connsiteX16" fmla="*/ 29858 w 165529"/>
                  <a:gd name="connsiteY16" fmla="*/ 317058 h 318248"/>
                  <a:gd name="connsiteX17" fmla="*/ 55861 w 165529"/>
                  <a:gd name="connsiteY17" fmla="*/ 289728 h 318248"/>
                  <a:gd name="connsiteX18" fmla="*/ 53207 w 165529"/>
                  <a:gd name="connsiteY18" fmla="*/ 278849 h 318248"/>
                  <a:gd name="connsiteX19" fmla="*/ 27735 w 165529"/>
                  <a:gd name="connsiteY19" fmla="*/ 275134 h 318248"/>
                  <a:gd name="connsiteX20" fmla="*/ 33838 w 165529"/>
                  <a:gd name="connsiteY20" fmla="*/ 255234 h 318248"/>
                  <a:gd name="connsiteX21" fmla="*/ 70720 w 165529"/>
                  <a:gd name="connsiteY21" fmla="*/ 235599 h 318248"/>
                  <a:gd name="connsiteX22" fmla="*/ 65678 w 165529"/>
                  <a:gd name="connsiteY22" fmla="*/ 230557 h 318248"/>
                  <a:gd name="connsiteX23" fmla="*/ 18979 w 165529"/>
                  <a:gd name="connsiteY23" fmla="*/ 237987 h 318248"/>
                  <a:gd name="connsiteX24" fmla="*/ 11549 w 165529"/>
                  <a:gd name="connsiteY24" fmla="*/ 223128 h 318248"/>
                  <a:gd name="connsiteX25" fmla="*/ 33572 w 165529"/>
                  <a:gd name="connsiteY25" fmla="*/ 146975 h 318248"/>
                  <a:gd name="connsiteX26" fmla="*/ 1732 w 165529"/>
                  <a:gd name="connsiteY26" fmla="*/ 129728 h 318248"/>
                  <a:gd name="connsiteX27" fmla="*/ 5977 w 165529"/>
                  <a:gd name="connsiteY27" fmla="*/ 113012 h 318248"/>
                  <a:gd name="connsiteX28" fmla="*/ 53473 w 165529"/>
                  <a:gd name="connsiteY28" fmla="*/ 95499 h 318248"/>
                  <a:gd name="connsiteX29" fmla="*/ 61964 w 165529"/>
                  <a:gd name="connsiteY29" fmla="*/ 56229 h 318248"/>
                  <a:gd name="connsiteX30" fmla="*/ 75496 w 165529"/>
                  <a:gd name="connsiteY30" fmla="*/ 56229 h 318248"/>
                  <a:gd name="connsiteX31" fmla="*/ 84783 w 165529"/>
                  <a:gd name="connsiteY31" fmla="*/ 69762 h 318248"/>
                  <a:gd name="connsiteX32" fmla="*/ 99907 w 165529"/>
                  <a:gd name="connsiteY32" fmla="*/ 33941 h 318248"/>
                  <a:gd name="connsiteX33" fmla="*/ 109725 w 165529"/>
                  <a:gd name="connsiteY33" fmla="*/ 55964 h 318248"/>
                  <a:gd name="connsiteX34" fmla="*/ 124584 w 165529"/>
                  <a:gd name="connsiteY34" fmla="*/ 50923 h 318248"/>
                  <a:gd name="connsiteX35" fmla="*/ 132279 w 165529"/>
                  <a:gd name="connsiteY35" fmla="*/ 2100 h 318248"/>
                  <a:gd name="connsiteX36" fmla="*/ 132279 w 165529"/>
                  <a:gd name="connsiteY36" fmla="*/ 2100 h 318248"/>
                  <a:gd name="connsiteX37" fmla="*/ 63556 w 165529"/>
                  <a:gd name="connsiteY37" fmla="*/ 193940 h 318248"/>
                  <a:gd name="connsiteX38" fmla="*/ 51350 w 165529"/>
                  <a:gd name="connsiteY38" fmla="*/ 215963 h 318248"/>
                  <a:gd name="connsiteX39" fmla="*/ 61168 w 165529"/>
                  <a:gd name="connsiteY39" fmla="*/ 215963 h 318248"/>
                  <a:gd name="connsiteX40" fmla="*/ 70985 w 165529"/>
                  <a:gd name="connsiteY40" fmla="*/ 196328 h 318248"/>
                  <a:gd name="connsiteX41" fmla="*/ 63556 w 165529"/>
                  <a:gd name="connsiteY41" fmla="*/ 193940 h 318248"/>
                  <a:gd name="connsiteX42" fmla="*/ 63556 w 165529"/>
                  <a:gd name="connsiteY42" fmla="*/ 193940 h 318248"/>
                  <a:gd name="connsiteX43" fmla="*/ 63556 w 165529"/>
                  <a:gd name="connsiteY43" fmla="*/ 164488 h 318248"/>
                  <a:gd name="connsiteX44" fmla="*/ 65944 w 165529"/>
                  <a:gd name="connsiteY44" fmla="*/ 179347 h 318248"/>
                  <a:gd name="connsiteX45" fmla="*/ 68332 w 165529"/>
                  <a:gd name="connsiteY45" fmla="*/ 179347 h 318248"/>
                  <a:gd name="connsiteX46" fmla="*/ 75761 w 165529"/>
                  <a:gd name="connsiteY46" fmla="*/ 164488 h 318248"/>
                  <a:gd name="connsiteX47" fmla="*/ 63556 w 165529"/>
                  <a:gd name="connsiteY47" fmla="*/ 164488 h 318248"/>
                  <a:gd name="connsiteX48" fmla="*/ 63556 w 165529"/>
                  <a:gd name="connsiteY48" fmla="*/ 164488 h 318248"/>
                  <a:gd name="connsiteX49" fmla="*/ 60902 w 165529"/>
                  <a:gd name="connsiteY49" fmla="*/ 115135 h 318248"/>
                  <a:gd name="connsiteX50" fmla="*/ 46309 w 165529"/>
                  <a:gd name="connsiteY50" fmla="*/ 132382 h 318248"/>
                  <a:gd name="connsiteX51" fmla="*/ 78149 w 165529"/>
                  <a:gd name="connsiteY51" fmla="*/ 147241 h 318248"/>
                  <a:gd name="connsiteX52" fmla="*/ 78149 w 165529"/>
                  <a:gd name="connsiteY52" fmla="*/ 142199 h 318248"/>
                  <a:gd name="connsiteX53" fmla="*/ 78149 w 165529"/>
                  <a:gd name="connsiteY53" fmla="*/ 122564 h 318248"/>
                  <a:gd name="connsiteX54" fmla="*/ 73108 w 165529"/>
                  <a:gd name="connsiteY54" fmla="*/ 115135 h 318248"/>
                  <a:gd name="connsiteX55" fmla="*/ 60902 w 165529"/>
                  <a:gd name="connsiteY55" fmla="*/ 115135 h 318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165529" h="318248">
                    <a:moveTo>
                      <a:pt x="132279" y="2100"/>
                    </a:moveTo>
                    <a:cubicBezTo>
                      <a:pt x="138381" y="-1084"/>
                      <a:pt x="146076" y="-288"/>
                      <a:pt x="151914" y="2100"/>
                    </a:cubicBezTo>
                    <a:cubicBezTo>
                      <a:pt x="163323" y="8734"/>
                      <a:pt x="165446" y="23858"/>
                      <a:pt x="161731" y="43758"/>
                    </a:cubicBezTo>
                    <a:cubicBezTo>
                      <a:pt x="151383" y="72680"/>
                      <a:pt x="102561" y="78252"/>
                      <a:pt x="109990" y="107705"/>
                    </a:cubicBezTo>
                    <a:cubicBezTo>
                      <a:pt x="111582" y="107705"/>
                      <a:pt x="113174" y="107705"/>
                      <a:pt x="115032" y="107705"/>
                    </a:cubicBezTo>
                    <a:cubicBezTo>
                      <a:pt x="128564" y="107970"/>
                      <a:pt x="143954" y="106644"/>
                      <a:pt x="146872" y="117523"/>
                    </a:cubicBezTo>
                    <a:cubicBezTo>
                      <a:pt x="151383" y="126013"/>
                      <a:pt x="150587" y="135035"/>
                      <a:pt x="146872" y="139546"/>
                    </a:cubicBezTo>
                    <a:cubicBezTo>
                      <a:pt x="138647" y="144587"/>
                      <a:pt x="123522" y="143791"/>
                      <a:pt x="122196" y="154405"/>
                    </a:cubicBezTo>
                    <a:cubicBezTo>
                      <a:pt x="131217" y="163957"/>
                      <a:pt x="133871" y="172979"/>
                      <a:pt x="132013" y="186245"/>
                    </a:cubicBezTo>
                    <a:cubicBezTo>
                      <a:pt x="125114" y="201370"/>
                      <a:pt x="116624" y="215433"/>
                      <a:pt x="102561" y="223128"/>
                    </a:cubicBezTo>
                    <a:cubicBezTo>
                      <a:pt x="103357" y="226312"/>
                      <a:pt x="104153" y="229761"/>
                      <a:pt x="104949" y="232945"/>
                    </a:cubicBezTo>
                    <a:cubicBezTo>
                      <a:pt x="124318" y="232945"/>
                      <a:pt x="124053" y="230557"/>
                      <a:pt x="136789" y="215698"/>
                    </a:cubicBezTo>
                    <a:cubicBezTo>
                      <a:pt x="150587" y="209065"/>
                      <a:pt x="156690" y="214106"/>
                      <a:pt x="163854" y="220740"/>
                    </a:cubicBezTo>
                    <a:cubicBezTo>
                      <a:pt x="168365" y="233741"/>
                      <a:pt x="163323" y="239048"/>
                      <a:pt x="154036" y="245416"/>
                    </a:cubicBezTo>
                    <a:cubicBezTo>
                      <a:pt x="135197" y="251254"/>
                      <a:pt x="116358" y="256826"/>
                      <a:pt x="97519" y="262663"/>
                    </a:cubicBezTo>
                    <a:cubicBezTo>
                      <a:pt x="96723" y="265051"/>
                      <a:pt x="95927" y="267705"/>
                      <a:pt x="95131" y="270093"/>
                    </a:cubicBezTo>
                    <a:cubicBezTo>
                      <a:pt x="88763" y="281237"/>
                      <a:pt x="64882" y="326079"/>
                      <a:pt x="29858" y="317058"/>
                    </a:cubicBezTo>
                    <a:cubicBezTo>
                      <a:pt x="24551" y="312812"/>
                      <a:pt x="54004" y="291585"/>
                      <a:pt x="55861" y="289728"/>
                    </a:cubicBezTo>
                    <a:cubicBezTo>
                      <a:pt x="56392" y="285748"/>
                      <a:pt x="54799" y="282033"/>
                      <a:pt x="53207" y="278849"/>
                    </a:cubicBezTo>
                    <a:cubicBezTo>
                      <a:pt x="44982" y="275665"/>
                      <a:pt x="35430" y="278584"/>
                      <a:pt x="27735" y="275134"/>
                    </a:cubicBezTo>
                    <a:cubicBezTo>
                      <a:pt x="24020" y="270623"/>
                      <a:pt x="24816" y="257622"/>
                      <a:pt x="33838" y="255234"/>
                    </a:cubicBezTo>
                    <a:cubicBezTo>
                      <a:pt x="49493" y="253111"/>
                      <a:pt x="62760" y="245947"/>
                      <a:pt x="70720" y="235599"/>
                    </a:cubicBezTo>
                    <a:cubicBezTo>
                      <a:pt x="69128" y="234007"/>
                      <a:pt x="67536" y="232415"/>
                      <a:pt x="65678" y="230557"/>
                    </a:cubicBezTo>
                    <a:cubicBezTo>
                      <a:pt x="44982" y="236129"/>
                      <a:pt x="38879" y="242232"/>
                      <a:pt x="18979" y="237987"/>
                    </a:cubicBezTo>
                    <a:cubicBezTo>
                      <a:pt x="14468" y="235599"/>
                      <a:pt x="11815" y="231884"/>
                      <a:pt x="11549" y="223128"/>
                    </a:cubicBezTo>
                    <a:cubicBezTo>
                      <a:pt x="1732" y="199778"/>
                      <a:pt x="37287" y="189960"/>
                      <a:pt x="33572" y="146975"/>
                    </a:cubicBezTo>
                    <a:cubicBezTo>
                      <a:pt x="26674" y="138219"/>
                      <a:pt x="17121" y="139811"/>
                      <a:pt x="1732" y="129728"/>
                    </a:cubicBezTo>
                    <a:cubicBezTo>
                      <a:pt x="-1983" y="123625"/>
                      <a:pt x="670" y="115931"/>
                      <a:pt x="5977" y="113012"/>
                    </a:cubicBezTo>
                    <a:cubicBezTo>
                      <a:pt x="22428" y="110093"/>
                      <a:pt x="49227" y="109032"/>
                      <a:pt x="53473" y="95499"/>
                    </a:cubicBezTo>
                    <a:cubicBezTo>
                      <a:pt x="57453" y="82498"/>
                      <a:pt x="51881" y="69231"/>
                      <a:pt x="61964" y="56229"/>
                    </a:cubicBezTo>
                    <a:cubicBezTo>
                      <a:pt x="66209" y="55699"/>
                      <a:pt x="70985" y="54372"/>
                      <a:pt x="75496" y="56229"/>
                    </a:cubicBezTo>
                    <a:cubicBezTo>
                      <a:pt x="79211" y="66312"/>
                      <a:pt x="74169" y="65782"/>
                      <a:pt x="84783" y="69762"/>
                    </a:cubicBezTo>
                    <a:cubicBezTo>
                      <a:pt x="89294" y="49330"/>
                      <a:pt x="77619" y="31022"/>
                      <a:pt x="99907" y="33941"/>
                    </a:cubicBezTo>
                    <a:cubicBezTo>
                      <a:pt x="102030" y="44554"/>
                      <a:pt x="103357" y="50126"/>
                      <a:pt x="109725" y="55964"/>
                    </a:cubicBezTo>
                    <a:cubicBezTo>
                      <a:pt x="117685" y="55964"/>
                      <a:pt x="118746" y="56760"/>
                      <a:pt x="124584" y="50923"/>
                    </a:cubicBezTo>
                    <a:cubicBezTo>
                      <a:pt x="124053" y="30226"/>
                      <a:pt x="125645" y="2100"/>
                      <a:pt x="132279" y="2100"/>
                    </a:cubicBezTo>
                    <a:lnTo>
                      <a:pt x="132279" y="2100"/>
                    </a:lnTo>
                    <a:close/>
                    <a:moveTo>
                      <a:pt x="63556" y="193940"/>
                    </a:moveTo>
                    <a:cubicBezTo>
                      <a:pt x="56392" y="201635"/>
                      <a:pt x="53738" y="202431"/>
                      <a:pt x="51350" y="215963"/>
                    </a:cubicBezTo>
                    <a:cubicBezTo>
                      <a:pt x="54534" y="215963"/>
                      <a:pt x="57984" y="215963"/>
                      <a:pt x="61168" y="215963"/>
                    </a:cubicBezTo>
                    <a:cubicBezTo>
                      <a:pt x="68862" y="209861"/>
                      <a:pt x="69659" y="209861"/>
                      <a:pt x="70985" y="196328"/>
                    </a:cubicBezTo>
                    <a:cubicBezTo>
                      <a:pt x="68332" y="195532"/>
                      <a:pt x="65944" y="194736"/>
                      <a:pt x="63556" y="193940"/>
                    </a:cubicBezTo>
                    <a:lnTo>
                      <a:pt x="63556" y="193940"/>
                    </a:lnTo>
                    <a:close/>
                    <a:moveTo>
                      <a:pt x="63556" y="164488"/>
                    </a:moveTo>
                    <a:cubicBezTo>
                      <a:pt x="64352" y="169529"/>
                      <a:pt x="65148" y="174305"/>
                      <a:pt x="65944" y="179347"/>
                    </a:cubicBezTo>
                    <a:cubicBezTo>
                      <a:pt x="66740" y="179347"/>
                      <a:pt x="67536" y="179347"/>
                      <a:pt x="68332" y="179347"/>
                    </a:cubicBezTo>
                    <a:cubicBezTo>
                      <a:pt x="79741" y="174836"/>
                      <a:pt x="77884" y="175632"/>
                      <a:pt x="75761" y="164488"/>
                    </a:cubicBezTo>
                    <a:cubicBezTo>
                      <a:pt x="71516" y="164488"/>
                      <a:pt x="67536" y="164488"/>
                      <a:pt x="63556" y="164488"/>
                    </a:cubicBezTo>
                    <a:lnTo>
                      <a:pt x="63556" y="164488"/>
                    </a:lnTo>
                    <a:close/>
                    <a:moveTo>
                      <a:pt x="60902" y="115135"/>
                    </a:moveTo>
                    <a:cubicBezTo>
                      <a:pt x="56126" y="120972"/>
                      <a:pt x="51085" y="126544"/>
                      <a:pt x="46309" y="132382"/>
                    </a:cubicBezTo>
                    <a:cubicBezTo>
                      <a:pt x="53473" y="144322"/>
                      <a:pt x="57984" y="147771"/>
                      <a:pt x="78149" y="147241"/>
                    </a:cubicBezTo>
                    <a:cubicBezTo>
                      <a:pt x="78149" y="145649"/>
                      <a:pt x="78149" y="144057"/>
                      <a:pt x="78149" y="142199"/>
                    </a:cubicBezTo>
                    <a:cubicBezTo>
                      <a:pt x="78149" y="135566"/>
                      <a:pt x="78149" y="129198"/>
                      <a:pt x="78149" y="122564"/>
                    </a:cubicBezTo>
                    <a:cubicBezTo>
                      <a:pt x="76557" y="120176"/>
                      <a:pt x="74965" y="117523"/>
                      <a:pt x="73108" y="115135"/>
                    </a:cubicBezTo>
                    <a:cubicBezTo>
                      <a:pt x="69128" y="115135"/>
                      <a:pt x="65148" y="115135"/>
                      <a:pt x="60902" y="115135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" name="íś1îḍè">
                <a:extLst>
                  <a:ext uri="{FF2B5EF4-FFF2-40B4-BE49-F238E27FC236}">
                    <a16:creationId xmlns:a16="http://schemas.microsoft.com/office/drawing/2014/main" id="{C673DED3-5AAF-4B37-814C-44B11F71FAC9}"/>
                  </a:ext>
                </a:extLst>
              </p:cNvPr>
              <p:cNvSpPr/>
              <p:nvPr/>
            </p:nvSpPr>
            <p:spPr>
              <a:xfrm>
                <a:off x="2241662" y="1514923"/>
                <a:ext cx="54313" cy="101530"/>
              </a:xfrm>
              <a:custGeom>
                <a:avLst/>
                <a:gdLst>
                  <a:gd name="connsiteX0" fmla="*/ 17960 w 54313"/>
                  <a:gd name="connsiteY0" fmla="*/ 0 h 101530"/>
                  <a:gd name="connsiteX1" fmla="*/ 54312 w 54313"/>
                  <a:gd name="connsiteY1" fmla="*/ 42454 h 101530"/>
                  <a:gd name="connsiteX2" fmla="*/ 7612 w 54313"/>
                  <a:gd name="connsiteY2" fmla="*/ 101360 h 101530"/>
                  <a:gd name="connsiteX3" fmla="*/ 182 w 54313"/>
                  <a:gd name="connsiteY3" fmla="*/ 84113 h 101530"/>
                  <a:gd name="connsiteX4" fmla="*/ 17960 w 54313"/>
                  <a:gd name="connsiteY4" fmla="*/ 0 h 101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313" h="101530">
                    <a:moveTo>
                      <a:pt x="17960" y="0"/>
                    </a:moveTo>
                    <a:cubicBezTo>
                      <a:pt x="29370" y="3449"/>
                      <a:pt x="46617" y="15920"/>
                      <a:pt x="54312" y="42454"/>
                    </a:cubicBezTo>
                    <a:cubicBezTo>
                      <a:pt x="54577" y="55191"/>
                      <a:pt x="32023" y="104809"/>
                      <a:pt x="7612" y="101360"/>
                    </a:cubicBezTo>
                    <a:cubicBezTo>
                      <a:pt x="2836" y="97910"/>
                      <a:pt x="-879" y="95787"/>
                      <a:pt x="182" y="84113"/>
                    </a:cubicBezTo>
                    <a:cubicBezTo>
                      <a:pt x="13980" y="56517"/>
                      <a:pt x="-1675" y="14063"/>
                      <a:pt x="17960" y="0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" name="íSḷïḋè">
                <a:extLst>
                  <a:ext uri="{FF2B5EF4-FFF2-40B4-BE49-F238E27FC236}">
                    <a16:creationId xmlns:a16="http://schemas.microsoft.com/office/drawing/2014/main" id="{9A79891A-1594-483E-B1B6-117FEAD2F890}"/>
                  </a:ext>
                </a:extLst>
              </p:cNvPr>
              <p:cNvSpPr/>
              <p:nvPr/>
            </p:nvSpPr>
            <p:spPr>
              <a:xfrm>
                <a:off x="3250014" y="1518573"/>
                <a:ext cx="263071" cy="354315"/>
              </a:xfrm>
              <a:custGeom>
                <a:avLst/>
                <a:gdLst>
                  <a:gd name="connsiteX0" fmla="*/ 184265 w 263071"/>
                  <a:gd name="connsiteY0" fmla="*/ 1923 h 354315"/>
                  <a:gd name="connsiteX1" fmla="*/ 238395 w 263071"/>
                  <a:gd name="connsiteY1" fmla="*/ 65870 h 354315"/>
                  <a:gd name="connsiteX2" fmla="*/ 206554 w 263071"/>
                  <a:gd name="connsiteY2" fmla="*/ 161657 h 354315"/>
                  <a:gd name="connsiteX3" fmla="*/ 213983 w 263071"/>
                  <a:gd name="connsiteY3" fmla="*/ 161657 h 354315"/>
                  <a:gd name="connsiteX4" fmla="*/ 238660 w 263071"/>
                  <a:gd name="connsiteY4" fmla="*/ 136981 h 354315"/>
                  <a:gd name="connsiteX5" fmla="*/ 250866 w 263071"/>
                  <a:gd name="connsiteY5" fmla="*/ 139369 h 354315"/>
                  <a:gd name="connsiteX6" fmla="*/ 263071 w 263071"/>
                  <a:gd name="connsiteY6" fmla="*/ 156616 h 354315"/>
                  <a:gd name="connsiteX7" fmla="*/ 194348 w 263071"/>
                  <a:gd name="connsiteY7" fmla="*/ 208357 h 354315"/>
                  <a:gd name="connsiteX8" fmla="*/ 86090 w 263071"/>
                  <a:gd name="connsiteY8" fmla="*/ 336250 h 354315"/>
                  <a:gd name="connsiteX9" fmla="*/ 14714 w 263071"/>
                  <a:gd name="connsiteY9" fmla="*/ 351109 h 354315"/>
                  <a:gd name="connsiteX10" fmla="*/ 4896 w 263071"/>
                  <a:gd name="connsiteY10" fmla="*/ 329086 h 354315"/>
                  <a:gd name="connsiteX11" fmla="*/ 122972 w 263071"/>
                  <a:gd name="connsiteY11" fmla="*/ 220828 h 354315"/>
                  <a:gd name="connsiteX12" fmla="*/ 37002 w 263071"/>
                  <a:gd name="connsiteY12" fmla="*/ 238075 h 354315"/>
                  <a:gd name="connsiteX13" fmla="*/ 27184 w 263071"/>
                  <a:gd name="connsiteY13" fmla="*/ 233033 h 354315"/>
                  <a:gd name="connsiteX14" fmla="*/ 32226 w 263071"/>
                  <a:gd name="connsiteY14" fmla="*/ 213398 h 354315"/>
                  <a:gd name="connsiteX15" fmla="*/ 172325 w 263071"/>
                  <a:gd name="connsiteY15" fmla="*/ 117611 h 354315"/>
                  <a:gd name="connsiteX16" fmla="*/ 189572 w 263071"/>
                  <a:gd name="connsiteY16" fmla="*/ 65870 h 354315"/>
                  <a:gd name="connsiteX17" fmla="*/ 157731 w 263071"/>
                  <a:gd name="connsiteY17" fmla="*/ 9352 h 354315"/>
                  <a:gd name="connsiteX18" fmla="*/ 184265 w 263071"/>
                  <a:gd name="connsiteY18" fmla="*/ 1923 h 3543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63071" h="354315">
                    <a:moveTo>
                      <a:pt x="184265" y="1923"/>
                    </a:moveTo>
                    <a:cubicBezTo>
                      <a:pt x="202308" y="21558"/>
                      <a:pt x="222474" y="27926"/>
                      <a:pt x="238395" y="65870"/>
                    </a:cubicBezTo>
                    <a:cubicBezTo>
                      <a:pt x="241844" y="95322"/>
                      <a:pt x="197798" y="139103"/>
                      <a:pt x="206554" y="161657"/>
                    </a:cubicBezTo>
                    <a:cubicBezTo>
                      <a:pt x="208942" y="161657"/>
                      <a:pt x="211595" y="161657"/>
                      <a:pt x="213983" y="161657"/>
                    </a:cubicBezTo>
                    <a:cubicBezTo>
                      <a:pt x="222209" y="153432"/>
                      <a:pt x="230434" y="145206"/>
                      <a:pt x="238660" y="136981"/>
                    </a:cubicBezTo>
                    <a:cubicBezTo>
                      <a:pt x="242640" y="137777"/>
                      <a:pt x="246885" y="138573"/>
                      <a:pt x="250866" y="139369"/>
                    </a:cubicBezTo>
                    <a:cubicBezTo>
                      <a:pt x="259091" y="144145"/>
                      <a:pt x="260683" y="145206"/>
                      <a:pt x="263071" y="156616"/>
                    </a:cubicBezTo>
                    <a:cubicBezTo>
                      <a:pt x="245293" y="181558"/>
                      <a:pt x="215841" y="187395"/>
                      <a:pt x="194348" y="208357"/>
                    </a:cubicBezTo>
                    <a:cubicBezTo>
                      <a:pt x="158262" y="251076"/>
                      <a:pt x="122176" y="293531"/>
                      <a:pt x="86090" y="336250"/>
                    </a:cubicBezTo>
                    <a:cubicBezTo>
                      <a:pt x="69108" y="350048"/>
                      <a:pt x="58760" y="359600"/>
                      <a:pt x="14714" y="351109"/>
                    </a:cubicBezTo>
                    <a:cubicBezTo>
                      <a:pt x="3039" y="345272"/>
                      <a:pt x="-5983" y="333862"/>
                      <a:pt x="4896" y="329086"/>
                    </a:cubicBezTo>
                    <a:cubicBezTo>
                      <a:pt x="55576" y="318738"/>
                      <a:pt x="107317" y="264343"/>
                      <a:pt x="122972" y="220828"/>
                    </a:cubicBezTo>
                    <a:cubicBezTo>
                      <a:pt x="99357" y="226134"/>
                      <a:pt x="68577" y="250280"/>
                      <a:pt x="37002" y="238075"/>
                    </a:cubicBezTo>
                    <a:cubicBezTo>
                      <a:pt x="33818" y="236483"/>
                      <a:pt x="31961" y="235687"/>
                      <a:pt x="27184" y="233033"/>
                    </a:cubicBezTo>
                    <a:cubicBezTo>
                      <a:pt x="24000" y="221358"/>
                      <a:pt x="25858" y="218174"/>
                      <a:pt x="32226" y="213398"/>
                    </a:cubicBezTo>
                    <a:cubicBezTo>
                      <a:pt x="127748" y="198009"/>
                      <a:pt x="156670" y="195090"/>
                      <a:pt x="172325" y="117611"/>
                    </a:cubicBezTo>
                    <a:cubicBezTo>
                      <a:pt x="178693" y="105670"/>
                      <a:pt x="194348" y="86035"/>
                      <a:pt x="189572" y="65870"/>
                    </a:cubicBezTo>
                    <a:cubicBezTo>
                      <a:pt x="184531" y="44377"/>
                      <a:pt x="161977" y="35886"/>
                      <a:pt x="157731" y="9352"/>
                    </a:cubicBezTo>
                    <a:cubicBezTo>
                      <a:pt x="159058" y="596"/>
                      <a:pt x="167814" y="-2323"/>
                      <a:pt x="184265" y="1923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" name="îślíḍe">
                <a:extLst>
                  <a:ext uri="{FF2B5EF4-FFF2-40B4-BE49-F238E27FC236}">
                    <a16:creationId xmlns:a16="http://schemas.microsoft.com/office/drawing/2014/main" id="{34F30D74-8729-4FD3-83C2-B9547B857914}"/>
                  </a:ext>
                </a:extLst>
              </p:cNvPr>
              <p:cNvSpPr/>
              <p:nvPr/>
            </p:nvSpPr>
            <p:spPr>
              <a:xfrm>
                <a:off x="2905824" y="1542784"/>
                <a:ext cx="284873" cy="305018"/>
              </a:xfrm>
              <a:custGeom>
                <a:avLst/>
                <a:gdLst>
                  <a:gd name="connsiteX0" fmla="*/ 95687 w 284873"/>
                  <a:gd name="connsiteY0" fmla="*/ 199004 h 305018"/>
                  <a:gd name="connsiteX1" fmla="*/ 107892 w 284873"/>
                  <a:gd name="connsiteY1" fmla="*/ 199004 h 305018"/>
                  <a:gd name="connsiteX2" fmla="*/ 152204 w 284873"/>
                  <a:gd name="connsiteY2" fmla="*/ 142487 h 305018"/>
                  <a:gd name="connsiteX3" fmla="*/ 186698 w 284873"/>
                  <a:gd name="connsiteY3" fmla="*/ 147529 h 305018"/>
                  <a:gd name="connsiteX4" fmla="*/ 211375 w 284873"/>
                  <a:gd name="connsiteY4" fmla="*/ 122852 h 305018"/>
                  <a:gd name="connsiteX5" fmla="*/ 238439 w 284873"/>
                  <a:gd name="connsiteY5" fmla="*/ 122852 h 305018"/>
                  <a:gd name="connsiteX6" fmla="*/ 255421 w 284873"/>
                  <a:gd name="connsiteY6" fmla="*/ 159469 h 305018"/>
                  <a:gd name="connsiteX7" fmla="*/ 240562 w 284873"/>
                  <a:gd name="connsiteY7" fmla="*/ 171674 h 305018"/>
                  <a:gd name="connsiteX8" fmla="*/ 255421 w 284873"/>
                  <a:gd name="connsiteY8" fmla="*/ 198739 h 305018"/>
                  <a:gd name="connsiteX9" fmla="*/ 211109 w 284873"/>
                  <a:gd name="connsiteY9" fmla="*/ 260298 h 305018"/>
                  <a:gd name="connsiteX10" fmla="*/ 284874 w 284873"/>
                  <a:gd name="connsiteY10" fmla="*/ 265339 h 305018"/>
                  <a:gd name="connsiteX11" fmla="*/ 282486 w 284873"/>
                  <a:gd name="connsiteY11" fmla="*/ 282586 h 305018"/>
                  <a:gd name="connsiteX12" fmla="*/ 171839 w 284873"/>
                  <a:gd name="connsiteY12" fmla="*/ 267727 h 305018"/>
                  <a:gd name="connsiteX13" fmla="*/ 201292 w 284873"/>
                  <a:gd name="connsiteY13" fmla="*/ 208822 h 305018"/>
                  <a:gd name="connsiteX14" fmla="*/ 198904 w 284873"/>
                  <a:gd name="connsiteY14" fmla="*/ 184145 h 305018"/>
                  <a:gd name="connsiteX15" fmla="*/ 216151 w 284873"/>
                  <a:gd name="connsiteY15" fmla="*/ 171940 h 305018"/>
                  <a:gd name="connsiteX16" fmla="*/ 213763 w 284873"/>
                  <a:gd name="connsiteY16" fmla="*/ 154693 h 305018"/>
                  <a:gd name="connsiteX17" fmla="*/ 149816 w 284873"/>
                  <a:gd name="connsiteY17" fmla="*/ 171940 h 305018"/>
                  <a:gd name="connsiteX18" fmla="*/ 100994 w 284873"/>
                  <a:gd name="connsiteY18" fmla="*/ 259502 h 305018"/>
                  <a:gd name="connsiteX19" fmla="*/ 81093 w 284873"/>
                  <a:gd name="connsiteY19" fmla="*/ 275157 h 305018"/>
                  <a:gd name="connsiteX20" fmla="*/ 65173 w 284873"/>
                  <a:gd name="connsiteY20" fmla="*/ 267993 h 305018"/>
                  <a:gd name="connsiteX21" fmla="*/ 29617 w 284873"/>
                  <a:gd name="connsiteY21" fmla="*/ 304609 h 305018"/>
                  <a:gd name="connsiteX22" fmla="*/ 2553 w 284873"/>
                  <a:gd name="connsiteY22" fmla="*/ 297180 h 305018"/>
                  <a:gd name="connsiteX23" fmla="*/ 71276 w 284873"/>
                  <a:gd name="connsiteY23" fmla="*/ 215986 h 305018"/>
                  <a:gd name="connsiteX24" fmla="*/ 71276 w 284873"/>
                  <a:gd name="connsiteY24" fmla="*/ 159469 h 305018"/>
                  <a:gd name="connsiteX25" fmla="*/ 61458 w 284873"/>
                  <a:gd name="connsiteY25" fmla="*/ 159469 h 305018"/>
                  <a:gd name="connsiteX26" fmla="*/ 29617 w 284873"/>
                  <a:gd name="connsiteY26" fmla="*/ 174328 h 305018"/>
                  <a:gd name="connsiteX27" fmla="*/ 17412 w 284873"/>
                  <a:gd name="connsiteY27" fmla="*/ 162122 h 305018"/>
                  <a:gd name="connsiteX28" fmla="*/ 135488 w 284873"/>
                  <a:gd name="connsiteY28" fmla="*/ 0 h 305018"/>
                  <a:gd name="connsiteX29" fmla="*/ 164940 w 284873"/>
                  <a:gd name="connsiteY29" fmla="*/ 9818 h 305018"/>
                  <a:gd name="connsiteX30" fmla="*/ 164940 w 284873"/>
                  <a:gd name="connsiteY30" fmla="*/ 12206 h 305018"/>
                  <a:gd name="connsiteX31" fmla="*/ 152735 w 284873"/>
                  <a:gd name="connsiteY31" fmla="*/ 53864 h 305018"/>
                  <a:gd name="connsiteX32" fmla="*/ 64377 w 284873"/>
                  <a:gd name="connsiteY32" fmla="*/ 125240 h 305018"/>
                  <a:gd name="connsiteX33" fmla="*/ 66765 w 284873"/>
                  <a:gd name="connsiteY33" fmla="*/ 130282 h 305018"/>
                  <a:gd name="connsiteX34" fmla="*/ 69153 w 284873"/>
                  <a:gd name="connsiteY34" fmla="*/ 130282 h 305018"/>
                  <a:gd name="connsiteX35" fmla="*/ 78970 w 284873"/>
                  <a:gd name="connsiteY35" fmla="*/ 127893 h 305018"/>
                  <a:gd name="connsiteX36" fmla="*/ 128058 w 284873"/>
                  <a:gd name="connsiteY36" fmla="*/ 83582 h 305018"/>
                  <a:gd name="connsiteX37" fmla="*/ 133100 w 284873"/>
                  <a:gd name="connsiteY37" fmla="*/ 85970 h 305018"/>
                  <a:gd name="connsiteX38" fmla="*/ 133100 w 284873"/>
                  <a:gd name="connsiteY38" fmla="*/ 117811 h 305018"/>
                  <a:gd name="connsiteX39" fmla="*/ 95687 w 284873"/>
                  <a:gd name="connsiteY39" fmla="*/ 199004 h 305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284873" h="305018">
                    <a:moveTo>
                      <a:pt x="95687" y="199004"/>
                    </a:moveTo>
                    <a:cubicBezTo>
                      <a:pt x="99667" y="199004"/>
                      <a:pt x="103912" y="199004"/>
                      <a:pt x="107892" y="199004"/>
                    </a:cubicBezTo>
                    <a:cubicBezTo>
                      <a:pt x="122751" y="180165"/>
                      <a:pt x="137345" y="161326"/>
                      <a:pt x="152204" y="142487"/>
                    </a:cubicBezTo>
                    <a:cubicBezTo>
                      <a:pt x="170778" y="145937"/>
                      <a:pt x="171574" y="153366"/>
                      <a:pt x="186698" y="147529"/>
                    </a:cubicBezTo>
                    <a:cubicBezTo>
                      <a:pt x="191740" y="137180"/>
                      <a:pt x="202353" y="129486"/>
                      <a:pt x="211375" y="122852"/>
                    </a:cubicBezTo>
                    <a:cubicBezTo>
                      <a:pt x="220396" y="122852"/>
                      <a:pt x="229418" y="122852"/>
                      <a:pt x="238439" y="122852"/>
                    </a:cubicBezTo>
                    <a:cubicBezTo>
                      <a:pt x="244807" y="138772"/>
                      <a:pt x="253298" y="138242"/>
                      <a:pt x="255421" y="159469"/>
                    </a:cubicBezTo>
                    <a:cubicBezTo>
                      <a:pt x="250380" y="163449"/>
                      <a:pt x="245604" y="167694"/>
                      <a:pt x="240562" y="171674"/>
                    </a:cubicBezTo>
                    <a:cubicBezTo>
                      <a:pt x="247196" y="184676"/>
                      <a:pt x="252768" y="179900"/>
                      <a:pt x="255421" y="198739"/>
                    </a:cubicBezTo>
                    <a:cubicBezTo>
                      <a:pt x="244807" y="223946"/>
                      <a:pt x="219335" y="235887"/>
                      <a:pt x="211109" y="260298"/>
                    </a:cubicBezTo>
                    <a:cubicBezTo>
                      <a:pt x="229418" y="266135"/>
                      <a:pt x="283282" y="232172"/>
                      <a:pt x="284874" y="265339"/>
                    </a:cubicBezTo>
                    <a:cubicBezTo>
                      <a:pt x="284078" y="271177"/>
                      <a:pt x="283282" y="276749"/>
                      <a:pt x="282486" y="282586"/>
                    </a:cubicBezTo>
                    <a:cubicBezTo>
                      <a:pt x="252502" y="291342"/>
                      <a:pt x="177677" y="306467"/>
                      <a:pt x="171839" y="267727"/>
                    </a:cubicBezTo>
                    <a:cubicBezTo>
                      <a:pt x="176085" y="236152"/>
                      <a:pt x="201823" y="239601"/>
                      <a:pt x="201292" y="208822"/>
                    </a:cubicBezTo>
                    <a:cubicBezTo>
                      <a:pt x="190944" y="194494"/>
                      <a:pt x="189086" y="198739"/>
                      <a:pt x="198904" y="184145"/>
                    </a:cubicBezTo>
                    <a:cubicBezTo>
                      <a:pt x="209517" y="181227"/>
                      <a:pt x="210579" y="179104"/>
                      <a:pt x="216151" y="171940"/>
                    </a:cubicBezTo>
                    <a:cubicBezTo>
                      <a:pt x="215355" y="166102"/>
                      <a:pt x="214559" y="160530"/>
                      <a:pt x="213763" y="154693"/>
                    </a:cubicBezTo>
                    <a:cubicBezTo>
                      <a:pt x="186167" y="187595"/>
                      <a:pt x="179003" y="173266"/>
                      <a:pt x="149816" y="171940"/>
                    </a:cubicBezTo>
                    <a:cubicBezTo>
                      <a:pt x="149020" y="173797"/>
                      <a:pt x="108954" y="212006"/>
                      <a:pt x="100994" y="259502"/>
                    </a:cubicBezTo>
                    <a:cubicBezTo>
                      <a:pt x="97279" y="281525"/>
                      <a:pt x="81358" y="274891"/>
                      <a:pt x="81093" y="275157"/>
                    </a:cubicBezTo>
                    <a:cubicBezTo>
                      <a:pt x="72602" y="273034"/>
                      <a:pt x="73398" y="266135"/>
                      <a:pt x="65173" y="267993"/>
                    </a:cubicBezTo>
                    <a:cubicBezTo>
                      <a:pt x="47395" y="275687"/>
                      <a:pt x="39435" y="292404"/>
                      <a:pt x="29617" y="304609"/>
                    </a:cubicBezTo>
                    <a:cubicBezTo>
                      <a:pt x="14758" y="305405"/>
                      <a:pt x="8390" y="305936"/>
                      <a:pt x="2553" y="297180"/>
                    </a:cubicBezTo>
                    <a:cubicBezTo>
                      <a:pt x="-13102" y="257379"/>
                      <a:pt x="47395" y="227396"/>
                      <a:pt x="71276" y="215986"/>
                    </a:cubicBezTo>
                    <a:cubicBezTo>
                      <a:pt x="71276" y="197147"/>
                      <a:pt x="71276" y="178308"/>
                      <a:pt x="71276" y="159469"/>
                    </a:cubicBezTo>
                    <a:cubicBezTo>
                      <a:pt x="68091" y="159469"/>
                      <a:pt x="64642" y="159469"/>
                      <a:pt x="61458" y="159469"/>
                    </a:cubicBezTo>
                    <a:cubicBezTo>
                      <a:pt x="50579" y="168490"/>
                      <a:pt x="50048" y="173532"/>
                      <a:pt x="29617" y="174328"/>
                    </a:cubicBezTo>
                    <a:cubicBezTo>
                      <a:pt x="25637" y="170348"/>
                      <a:pt x="21392" y="166102"/>
                      <a:pt x="17412" y="162122"/>
                    </a:cubicBezTo>
                    <a:cubicBezTo>
                      <a:pt x="24045" y="88623"/>
                      <a:pt x="116649" y="66069"/>
                      <a:pt x="135488" y="0"/>
                    </a:cubicBezTo>
                    <a:cubicBezTo>
                      <a:pt x="153531" y="0"/>
                      <a:pt x="155388" y="3184"/>
                      <a:pt x="164940" y="9818"/>
                    </a:cubicBezTo>
                    <a:cubicBezTo>
                      <a:pt x="164940" y="10614"/>
                      <a:pt x="164940" y="11410"/>
                      <a:pt x="164940" y="12206"/>
                    </a:cubicBezTo>
                    <a:cubicBezTo>
                      <a:pt x="165736" y="36351"/>
                      <a:pt x="161756" y="41924"/>
                      <a:pt x="152735" y="53864"/>
                    </a:cubicBezTo>
                    <a:cubicBezTo>
                      <a:pt x="116649" y="57579"/>
                      <a:pt x="71806" y="93134"/>
                      <a:pt x="64377" y="125240"/>
                    </a:cubicBezTo>
                    <a:cubicBezTo>
                      <a:pt x="65173" y="126832"/>
                      <a:pt x="65969" y="128424"/>
                      <a:pt x="66765" y="130282"/>
                    </a:cubicBezTo>
                    <a:cubicBezTo>
                      <a:pt x="67561" y="130282"/>
                      <a:pt x="68357" y="130282"/>
                      <a:pt x="69153" y="130282"/>
                    </a:cubicBezTo>
                    <a:cubicBezTo>
                      <a:pt x="72337" y="129486"/>
                      <a:pt x="75786" y="128690"/>
                      <a:pt x="78970" y="127893"/>
                    </a:cubicBezTo>
                    <a:cubicBezTo>
                      <a:pt x="100463" y="116749"/>
                      <a:pt x="102055" y="90746"/>
                      <a:pt x="128058" y="83582"/>
                    </a:cubicBezTo>
                    <a:cubicBezTo>
                      <a:pt x="129650" y="84378"/>
                      <a:pt x="131242" y="85174"/>
                      <a:pt x="133100" y="85970"/>
                    </a:cubicBezTo>
                    <a:cubicBezTo>
                      <a:pt x="138937" y="96849"/>
                      <a:pt x="136814" y="109054"/>
                      <a:pt x="133100" y="117811"/>
                    </a:cubicBezTo>
                    <a:cubicBezTo>
                      <a:pt x="106300" y="135323"/>
                      <a:pt x="94891" y="153366"/>
                      <a:pt x="95687" y="199004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" name="ïṣḷíḍê">
                <a:extLst>
                  <a:ext uri="{FF2B5EF4-FFF2-40B4-BE49-F238E27FC236}">
                    <a16:creationId xmlns:a16="http://schemas.microsoft.com/office/drawing/2014/main" id="{7D669789-ABD8-40D1-85A4-A1DDDA7C2102}"/>
                  </a:ext>
                </a:extLst>
              </p:cNvPr>
              <p:cNvSpPr/>
              <p:nvPr/>
            </p:nvSpPr>
            <p:spPr>
              <a:xfrm>
                <a:off x="3095174" y="1535800"/>
                <a:ext cx="120200" cy="104941"/>
              </a:xfrm>
              <a:custGeom>
                <a:avLst/>
                <a:gdLst>
                  <a:gd name="connsiteX0" fmla="*/ 83318 w 120200"/>
                  <a:gd name="connsiteY0" fmla="*/ 6719 h 104941"/>
                  <a:gd name="connsiteX1" fmla="*/ 120200 w 120200"/>
                  <a:gd name="connsiteY1" fmla="*/ 9107 h 104941"/>
                  <a:gd name="connsiteX2" fmla="*/ 117812 w 120200"/>
                  <a:gd name="connsiteY2" fmla="*/ 26354 h 104941"/>
                  <a:gd name="connsiteX3" fmla="*/ 53866 w 120200"/>
                  <a:gd name="connsiteY3" fmla="*/ 104894 h 104941"/>
                  <a:gd name="connsiteX4" fmla="*/ 4778 w 120200"/>
                  <a:gd name="connsiteY4" fmla="*/ 95077 h 104941"/>
                  <a:gd name="connsiteX5" fmla="*/ 7166 w 120200"/>
                  <a:gd name="connsiteY5" fmla="*/ 60583 h 104941"/>
                  <a:gd name="connsiteX6" fmla="*/ 45375 w 120200"/>
                  <a:gd name="connsiteY6" fmla="*/ 69870 h 104941"/>
                  <a:gd name="connsiteX7" fmla="*/ 83318 w 120200"/>
                  <a:gd name="connsiteY7" fmla="*/ 6719 h 104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0200" h="104941">
                    <a:moveTo>
                      <a:pt x="83318" y="6719"/>
                    </a:moveTo>
                    <a:cubicBezTo>
                      <a:pt x="97646" y="-4160"/>
                      <a:pt x="107995" y="-711"/>
                      <a:pt x="120200" y="9107"/>
                    </a:cubicBezTo>
                    <a:cubicBezTo>
                      <a:pt x="119404" y="14944"/>
                      <a:pt x="118608" y="20516"/>
                      <a:pt x="117812" y="26354"/>
                    </a:cubicBezTo>
                    <a:cubicBezTo>
                      <a:pt x="117016" y="27946"/>
                      <a:pt x="74562" y="59256"/>
                      <a:pt x="53866" y="104894"/>
                    </a:cubicBezTo>
                    <a:cubicBezTo>
                      <a:pt x="30250" y="105425"/>
                      <a:pt x="19902" y="101445"/>
                      <a:pt x="4778" y="95077"/>
                    </a:cubicBezTo>
                    <a:cubicBezTo>
                      <a:pt x="-1060" y="87117"/>
                      <a:pt x="-2917" y="79952"/>
                      <a:pt x="7166" y="60583"/>
                    </a:cubicBezTo>
                    <a:cubicBezTo>
                      <a:pt x="34230" y="54480"/>
                      <a:pt x="24944" y="75176"/>
                      <a:pt x="45375" y="69870"/>
                    </a:cubicBezTo>
                    <a:cubicBezTo>
                      <a:pt x="56254" y="46254"/>
                      <a:pt x="72705" y="35110"/>
                      <a:pt x="83318" y="6719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" name="iṡľiḍê">
                <a:extLst>
                  <a:ext uri="{FF2B5EF4-FFF2-40B4-BE49-F238E27FC236}">
                    <a16:creationId xmlns:a16="http://schemas.microsoft.com/office/drawing/2014/main" id="{E9EEF07A-0CED-453F-911F-89E91590F61F}"/>
                  </a:ext>
                </a:extLst>
              </p:cNvPr>
              <p:cNvSpPr/>
              <p:nvPr/>
            </p:nvSpPr>
            <p:spPr>
              <a:xfrm>
                <a:off x="2064775" y="1557378"/>
                <a:ext cx="46787" cy="62206"/>
              </a:xfrm>
              <a:custGeom>
                <a:avLst/>
                <a:gdLst>
                  <a:gd name="connsiteX0" fmla="*/ 5130 w 46787"/>
                  <a:gd name="connsiteY0" fmla="*/ 0 h 62206"/>
                  <a:gd name="connsiteX1" fmla="*/ 46788 w 46787"/>
                  <a:gd name="connsiteY1" fmla="*/ 41658 h 62206"/>
                  <a:gd name="connsiteX2" fmla="*/ 88 w 46787"/>
                  <a:gd name="connsiteY2" fmla="*/ 56517 h 62206"/>
                  <a:gd name="connsiteX3" fmla="*/ 5130 w 46787"/>
                  <a:gd name="connsiteY3" fmla="*/ 0 h 62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787" h="62206">
                    <a:moveTo>
                      <a:pt x="5130" y="0"/>
                    </a:moveTo>
                    <a:cubicBezTo>
                      <a:pt x="29010" y="3715"/>
                      <a:pt x="42542" y="18574"/>
                      <a:pt x="46788" y="41658"/>
                    </a:cubicBezTo>
                    <a:cubicBezTo>
                      <a:pt x="29275" y="56517"/>
                      <a:pt x="21315" y="70315"/>
                      <a:pt x="88" y="56517"/>
                    </a:cubicBezTo>
                    <a:cubicBezTo>
                      <a:pt x="-177" y="35290"/>
                      <a:pt x="-177" y="12206"/>
                      <a:pt x="5130" y="0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4" name="î$ḷíḓe">
                <a:extLst>
                  <a:ext uri="{FF2B5EF4-FFF2-40B4-BE49-F238E27FC236}">
                    <a16:creationId xmlns:a16="http://schemas.microsoft.com/office/drawing/2014/main" id="{856D41F2-647E-4395-8F64-AEFECF82FC29}"/>
                  </a:ext>
                </a:extLst>
              </p:cNvPr>
              <p:cNvSpPr/>
              <p:nvPr/>
            </p:nvSpPr>
            <p:spPr>
              <a:xfrm>
                <a:off x="2645126" y="1579301"/>
                <a:ext cx="140398" cy="160099"/>
              </a:xfrm>
              <a:custGeom>
                <a:avLst/>
                <a:gdLst>
                  <a:gd name="connsiteX0" fmla="*/ 78840 w 140398"/>
                  <a:gd name="connsiteY0" fmla="*/ 100 h 160099"/>
                  <a:gd name="connsiteX1" fmla="*/ 132969 w 140398"/>
                  <a:gd name="connsiteY1" fmla="*/ 19735 h 160099"/>
                  <a:gd name="connsiteX2" fmla="*/ 140399 w 140398"/>
                  <a:gd name="connsiteY2" fmla="*/ 34594 h 160099"/>
                  <a:gd name="connsiteX3" fmla="*/ 140399 w 140398"/>
                  <a:gd name="connsiteY3" fmla="*/ 51841 h 160099"/>
                  <a:gd name="connsiteX4" fmla="*/ 27364 w 140398"/>
                  <a:gd name="connsiteY4" fmla="*/ 160100 h 160099"/>
                  <a:gd name="connsiteX5" fmla="*/ 24976 w 140398"/>
                  <a:gd name="connsiteY5" fmla="*/ 142853 h 160099"/>
                  <a:gd name="connsiteX6" fmla="*/ 103516 w 140398"/>
                  <a:gd name="connsiteY6" fmla="*/ 42024 h 160099"/>
                  <a:gd name="connsiteX7" fmla="*/ 98475 w 140398"/>
                  <a:gd name="connsiteY7" fmla="*/ 24777 h 160099"/>
                  <a:gd name="connsiteX8" fmla="*/ 88657 w 140398"/>
                  <a:gd name="connsiteY8" fmla="*/ 24777 h 160099"/>
                  <a:gd name="connsiteX9" fmla="*/ 29752 w 140398"/>
                  <a:gd name="connsiteY9" fmla="*/ 54229 h 160099"/>
                  <a:gd name="connsiteX10" fmla="*/ 2688 w 140398"/>
                  <a:gd name="connsiteY10" fmla="*/ 34594 h 160099"/>
                  <a:gd name="connsiteX11" fmla="*/ 2688 w 140398"/>
                  <a:gd name="connsiteY11" fmla="*/ 17347 h 160099"/>
                  <a:gd name="connsiteX12" fmla="*/ 78840 w 140398"/>
                  <a:gd name="connsiteY12" fmla="*/ 100 h 160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40398" h="160099">
                    <a:moveTo>
                      <a:pt x="78840" y="100"/>
                    </a:moveTo>
                    <a:cubicBezTo>
                      <a:pt x="112273" y="-961"/>
                      <a:pt x="116253" y="6468"/>
                      <a:pt x="132969" y="19735"/>
                    </a:cubicBezTo>
                    <a:cubicBezTo>
                      <a:pt x="135357" y="24777"/>
                      <a:pt x="138011" y="29553"/>
                      <a:pt x="140399" y="34594"/>
                    </a:cubicBezTo>
                    <a:cubicBezTo>
                      <a:pt x="140399" y="40432"/>
                      <a:pt x="140399" y="46004"/>
                      <a:pt x="140399" y="51841"/>
                    </a:cubicBezTo>
                    <a:cubicBezTo>
                      <a:pt x="78309" y="100133"/>
                      <a:pt x="69553" y="151874"/>
                      <a:pt x="27364" y="160100"/>
                    </a:cubicBezTo>
                    <a:cubicBezTo>
                      <a:pt x="21792" y="157181"/>
                      <a:pt x="20465" y="152139"/>
                      <a:pt x="24976" y="142853"/>
                    </a:cubicBezTo>
                    <a:cubicBezTo>
                      <a:pt x="51245" y="109155"/>
                      <a:pt x="77513" y="75722"/>
                      <a:pt x="103516" y="42024"/>
                    </a:cubicBezTo>
                    <a:cubicBezTo>
                      <a:pt x="101924" y="36186"/>
                      <a:pt x="100332" y="30614"/>
                      <a:pt x="98475" y="24777"/>
                    </a:cubicBezTo>
                    <a:cubicBezTo>
                      <a:pt x="95291" y="24777"/>
                      <a:pt x="91841" y="24777"/>
                      <a:pt x="88657" y="24777"/>
                    </a:cubicBezTo>
                    <a:cubicBezTo>
                      <a:pt x="75921" y="42820"/>
                      <a:pt x="61062" y="54229"/>
                      <a:pt x="29752" y="54229"/>
                    </a:cubicBezTo>
                    <a:cubicBezTo>
                      <a:pt x="15954" y="45208"/>
                      <a:pt x="8525" y="42554"/>
                      <a:pt x="2688" y="34594"/>
                    </a:cubicBezTo>
                    <a:cubicBezTo>
                      <a:pt x="-762" y="28757"/>
                      <a:pt x="-1027" y="25042"/>
                      <a:pt x="2688" y="17347"/>
                    </a:cubicBezTo>
                    <a:cubicBezTo>
                      <a:pt x="19404" y="1958"/>
                      <a:pt x="44346" y="14163"/>
                      <a:pt x="78840" y="100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" name="í$1íḑê">
                <a:extLst>
                  <a:ext uri="{FF2B5EF4-FFF2-40B4-BE49-F238E27FC236}">
                    <a16:creationId xmlns:a16="http://schemas.microsoft.com/office/drawing/2014/main" id="{559E086A-737F-43C1-8B33-DE2E1CD63DEB}"/>
                  </a:ext>
                </a:extLst>
              </p:cNvPr>
              <p:cNvSpPr/>
              <p:nvPr/>
            </p:nvSpPr>
            <p:spPr>
              <a:xfrm>
                <a:off x="1880717" y="1584812"/>
                <a:ext cx="88826" cy="62538"/>
              </a:xfrm>
              <a:custGeom>
                <a:avLst/>
                <a:gdLst>
                  <a:gd name="connsiteX0" fmla="*/ 71376 w 88826"/>
                  <a:gd name="connsiteY0" fmla="*/ 2019 h 62538"/>
                  <a:gd name="connsiteX1" fmla="*/ 86235 w 88826"/>
                  <a:gd name="connsiteY1" fmla="*/ 4407 h 62538"/>
                  <a:gd name="connsiteX2" fmla="*/ 86235 w 88826"/>
                  <a:gd name="connsiteY2" fmla="*/ 38901 h 62538"/>
                  <a:gd name="connsiteX3" fmla="*/ 2388 w 88826"/>
                  <a:gd name="connsiteY3" fmla="*/ 53494 h 62538"/>
                  <a:gd name="connsiteX4" fmla="*/ 0 w 88826"/>
                  <a:gd name="connsiteY4" fmla="*/ 46330 h 62538"/>
                  <a:gd name="connsiteX5" fmla="*/ 71376 w 88826"/>
                  <a:gd name="connsiteY5" fmla="*/ 2019 h 62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8826" h="62538">
                    <a:moveTo>
                      <a:pt x="71376" y="2019"/>
                    </a:moveTo>
                    <a:cubicBezTo>
                      <a:pt x="75887" y="-635"/>
                      <a:pt x="81990" y="-1431"/>
                      <a:pt x="86235" y="4407"/>
                    </a:cubicBezTo>
                    <a:cubicBezTo>
                      <a:pt x="89419" y="12367"/>
                      <a:pt x="89950" y="24838"/>
                      <a:pt x="86235" y="38901"/>
                    </a:cubicBezTo>
                    <a:cubicBezTo>
                      <a:pt x="65008" y="68884"/>
                      <a:pt x="38474" y="66231"/>
                      <a:pt x="2388" y="53494"/>
                    </a:cubicBezTo>
                    <a:cubicBezTo>
                      <a:pt x="1592" y="51106"/>
                      <a:pt x="796" y="48718"/>
                      <a:pt x="0" y="46330"/>
                    </a:cubicBezTo>
                    <a:cubicBezTo>
                      <a:pt x="5307" y="20327"/>
                      <a:pt x="50149" y="27226"/>
                      <a:pt x="71376" y="2019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6" name="iṣľiďè">
                <a:extLst>
                  <a:ext uri="{FF2B5EF4-FFF2-40B4-BE49-F238E27FC236}">
                    <a16:creationId xmlns:a16="http://schemas.microsoft.com/office/drawing/2014/main" id="{F33FD38A-324A-49EC-AC50-834F5C599376}"/>
                  </a:ext>
                </a:extLst>
              </p:cNvPr>
              <p:cNvSpPr/>
              <p:nvPr/>
            </p:nvSpPr>
            <p:spPr>
              <a:xfrm>
                <a:off x="3591360" y="1628792"/>
                <a:ext cx="300654" cy="123065"/>
              </a:xfrm>
              <a:custGeom>
                <a:avLst/>
                <a:gdLst>
                  <a:gd name="connsiteX0" fmla="*/ 238540 w 300654"/>
                  <a:gd name="connsiteY0" fmla="*/ 4738 h 123065"/>
                  <a:gd name="connsiteX1" fmla="*/ 299303 w 300654"/>
                  <a:gd name="connsiteY1" fmla="*/ 3146 h 123065"/>
                  <a:gd name="connsiteX2" fmla="*/ 297445 w 300654"/>
                  <a:gd name="connsiteY2" fmla="*/ 19597 h 123065"/>
                  <a:gd name="connsiteX3" fmla="*/ 228723 w 300654"/>
                  <a:gd name="connsiteY3" fmla="*/ 51438 h 123065"/>
                  <a:gd name="connsiteX4" fmla="*/ 250746 w 300654"/>
                  <a:gd name="connsiteY4" fmla="*/ 31803 h 123065"/>
                  <a:gd name="connsiteX5" fmla="*/ 248358 w 300654"/>
                  <a:gd name="connsiteY5" fmla="*/ 21985 h 123065"/>
                  <a:gd name="connsiteX6" fmla="*/ 17247 w 300654"/>
                  <a:gd name="connsiteY6" fmla="*/ 120426 h 123065"/>
                  <a:gd name="connsiteX7" fmla="*/ 0 w 300654"/>
                  <a:gd name="connsiteY7" fmla="*/ 100791 h 123065"/>
                  <a:gd name="connsiteX8" fmla="*/ 0 w 300654"/>
                  <a:gd name="connsiteY8" fmla="*/ 95749 h 123065"/>
                  <a:gd name="connsiteX9" fmla="*/ 17247 w 300654"/>
                  <a:gd name="connsiteY9" fmla="*/ 83544 h 123065"/>
                  <a:gd name="connsiteX10" fmla="*/ 71376 w 300654"/>
                  <a:gd name="connsiteY10" fmla="*/ 81156 h 123065"/>
                  <a:gd name="connsiteX11" fmla="*/ 238540 w 300654"/>
                  <a:gd name="connsiteY11" fmla="*/ 4738 h 123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00654" h="123065">
                    <a:moveTo>
                      <a:pt x="238540" y="4738"/>
                    </a:moveTo>
                    <a:cubicBezTo>
                      <a:pt x="256052" y="227"/>
                      <a:pt x="280464" y="-2426"/>
                      <a:pt x="299303" y="3146"/>
                    </a:cubicBezTo>
                    <a:cubicBezTo>
                      <a:pt x="301956" y="12167"/>
                      <a:pt x="300364" y="16944"/>
                      <a:pt x="297445" y="19597"/>
                    </a:cubicBezTo>
                    <a:cubicBezTo>
                      <a:pt x="286036" y="34456"/>
                      <a:pt x="242255" y="65766"/>
                      <a:pt x="228723" y="51438"/>
                    </a:cubicBezTo>
                    <a:cubicBezTo>
                      <a:pt x="236152" y="44804"/>
                      <a:pt x="243581" y="38436"/>
                      <a:pt x="250746" y="31803"/>
                    </a:cubicBezTo>
                    <a:cubicBezTo>
                      <a:pt x="252603" y="27557"/>
                      <a:pt x="251542" y="23842"/>
                      <a:pt x="248358" y="21985"/>
                    </a:cubicBezTo>
                    <a:cubicBezTo>
                      <a:pt x="164776" y="28088"/>
                      <a:pt x="101094" y="141653"/>
                      <a:pt x="17247" y="120426"/>
                    </a:cubicBezTo>
                    <a:cubicBezTo>
                      <a:pt x="7960" y="117242"/>
                      <a:pt x="3184" y="113262"/>
                      <a:pt x="0" y="100791"/>
                    </a:cubicBezTo>
                    <a:cubicBezTo>
                      <a:pt x="0" y="99199"/>
                      <a:pt x="0" y="97607"/>
                      <a:pt x="0" y="95749"/>
                    </a:cubicBezTo>
                    <a:cubicBezTo>
                      <a:pt x="796" y="89646"/>
                      <a:pt x="6368" y="85136"/>
                      <a:pt x="17247" y="83544"/>
                    </a:cubicBezTo>
                    <a:cubicBezTo>
                      <a:pt x="35290" y="82748"/>
                      <a:pt x="53333" y="81952"/>
                      <a:pt x="71376" y="81156"/>
                    </a:cubicBezTo>
                    <a:cubicBezTo>
                      <a:pt x="107993" y="69215"/>
                      <a:pt x="215190" y="29414"/>
                      <a:pt x="238540" y="4738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7" name="íSļiḑè">
                <a:extLst>
                  <a:ext uri="{FF2B5EF4-FFF2-40B4-BE49-F238E27FC236}">
                    <a16:creationId xmlns:a16="http://schemas.microsoft.com/office/drawing/2014/main" id="{73401710-52B9-489D-85DD-ACED617C9E00}"/>
                  </a:ext>
                </a:extLst>
              </p:cNvPr>
              <p:cNvSpPr/>
              <p:nvPr/>
            </p:nvSpPr>
            <p:spPr>
              <a:xfrm>
                <a:off x="2207881" y="1638306"/>
                <a:ext cx="95787" cy="225007"/>
              </a:xfrm>
              <a:custGeom>
                <a:avLst/>
                <a:gdLst>
                  <a:gd name="connsiteX0" fmla="*/ 51476 w 95787"/>
                  <a:gd name="connsiteY0" fmla="*/ 0 h 225007"/>
                  <a:gd name="connsiteX1" fmla="*/ 58905 w 95787"/>
                  <a:gd name="connsiteY1" fmla="*/ 0 h 225007"/>
                  <a:gd name="connsiteX2" fmla="*/ 95787 w 95787"/>
                  <a:gd name="connsiteY2" fmla="*/ 29453 h 225007"/>
                  <a:gd name="connsiteX3" fmla="*/ 71111 w 95787"/>
                  <a:gd name="connsiteY3" fmla="*/ 76152 h 225007"/>
                  <a:gd name="connsiteX4" fmla="*/ 38740 w 95787"/>
                  <a:gd name="connsiteY4" fmla="*/ 225008 h 225007"/>
                  <a:gd name="connsiteX5" fmla="*/ 0 w 95787"/>
                  <a:gd name="connsiteY5" fmla="*/ 183615 h 225007"/>
                  <a:gd name="connsiteX6" fmla="*/ 25207 w 95787"/>
                  <a:gd name="connsiteY6" fmla="*/ 69784 h 225007"/>
                  <a:gd name="connsiteX7" fmla="*/ 51476 w 95787"/>
                  <a:gd name="connsiteY7" fmla="*/ 0 h 225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5787" h="225007">
                    <a:moveTo>
                      <a:pt x="51476" y="0"/>
                    </a:moveTo>
                    <a:cubicBezTo>
                      <a:pt x="53864" y="0"/>
                      <a:pt x="56517" y="0"/>
                      <a:pt x="58905" y="0"/>
                    </a:cubicBezTo>
                    <a:cubicBezTo>
                      <a:pt x="72703" y="10879"/>
                      <a:pt x="71642" y="24942"/>
                      <a:pt x="95787" y="29453"/>
                    </a:cubicBezTo>
                    <a:cubicBezTo>
                      <a:pt x="94461" y="59436"/>
                      <a:pt x="78806" y="58375"/>
                      <a:pt x="71111" y="76152"/>
                    </a:cubicBezTo>
                    <a:cubicBezTo>
                      <a:pt x="47761" y="112504"/>
                      <a:pt x="63681" y="189718"/>
                      <a:pt x="38740" y="225008"/>
                    </a:cubicBezTo>
                    <a:cubicBezTo>
                      <a:pt x="-3184" y="219966"/>
                      <a:pt x="3184" y="195555"/>
                      <a:pt x="0" y="183615"/>
                    </a:cubicBezTo>
                    <a:cubicBezTo>
                      <a:pt x="39536" y="103217"/>
                      <a:pt x="11410" y="82520"/>
                      <a:pt x="25207" y="69784"/>
                    </a:cubicBezTo>
                    <a:cubicBezTo>
                      <a:pt x="46965" y="49353"/>
                      <a:pt x="22819" y="11940"/>
                      <a:pt x="51476" y="0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8" name="îşḻiḑe">
                <a:extLst>
                  <a:ext uri="{FF2B5EF4-FFF2-40B4-BE49-F238E27FC236}">
                    <a16:creationId xmlns:a16="http://schemas.microsoft.com/office/drawing/2014/main" id="{6B56F838-4092-432F-9C84-302DE9974926}"/>
                  </a:ext>
                </a:extLst>
              </p:cNvPr>
              <p:cNvSpPr/>
              <p:nvPr/>
            </p:nvSpPr>
            <p:spPr>
              <a:xfrm>
                <a:off x="3696145" y="1672800"/>
                <a:ext cx="237721" cy="189452"/>
              </a:xfrm>
              <a:custGeom>
                <a:avLst/>
                <a:gdLst>
                  <a:gd name="connsiteX0" fmla="*/ 129775 w 237721"/>
                  <a:gd name="connsiteY0" fmla="*/ 68458 h 189452"/>
                  <a:gd name="connsiteX1" fmla="*/ 128713 w 237721"/>
                  <a:gd name="connsiteY1" fmla="*/ 182023 h 189452"/>
                  <a:gd name="connsiteX2" fmla="*/ 116508 w 237721"/>
                  <a:gd name="connsiteY2" fmla="*/ 189452 h 189452"/>
                  <a:gd name="connsiteX3" fmla="*/ 1085 w 237721"/>
                  <a:gd name="connsiteY3" fmla="*/ 140364 h 189452"/>
                  <a:gd name="connsiteX4" fmla="*/ 8515 w 237721"/>
                  <a:gd name="connsiteY4" fmla="*/ 132935 h 189452"/>
                  <a:gd name="connsiteX5" fmla="*/ 94484 w 237721"/>
                  <a:gd name="connsiteY5" fmla="*/ 140364 h 189452"/>
                  <a:gd name="connsiteX6" fmla="*/ 94219 w 237721"/>
                  <a:gd name="connsiteY6" fmla="*/ 81990 h 189452"/>
                  <a:gd name="connsiteX7" fmla="*/ 40621 w 237721"/>
                  <a:gd name="connsiteY7" fmla="*/ 81194 h 189452"/>
                  <a:gd name="connsiteX8" fmla="*/ 45397 w 237721"/>
                  <a:gd name="connsiteY8" fmla="*/ 55987 h 189452"/>
                  <a:gd name="connsiteX9" fmla="*/ 207784 w 237721"/>
                  <a:gd name="connsiteY9" fmla="*/ 0 h 189452"/>
                  <a:gd name="connsiteX10" fmla="*/ 234849 w 237721"/>
                  <a:gd name="connsiteY10" fmla="*/ 14859 h 189452"/>
                  <a:gd name="connsiteX11" fmla="*/ 236176 w 237721"/>
                  <a:gd name="connsiteY11" fmla="*/ 30514 h 189452"/>
                  <a:gd name="connsiteX12" fmla="*/ 129775 w 237721"/>
                  <a:gd name="connsiteY12" fmla="*/ 68458 h 189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7721" h="189452">
                    <a:moveTo>
                      <a:pt x="129775" y="68458"/>
                    </a:moveTo>
                    <a:cubicBezTo>
                      <a:pt x="123406" y="108258"/>
                      <a:pt x="127121" y="144345"/>
                      <a:pt x="128713" y="182023"/>
                    </a:cubicBezTo>
                    <a:cubicBezTo>
                      <a:pt x="128713" y="188656"/>
                      <a:pt x="123406" y="189452"/>
                      <a:pt x="116508" y="189452"/>
                    </a:cubicBezTo>
                    <a:cubicBezTo>
                      <a:pt x="91300" y="188656"/>
                      <a:pt x="26027" y="160796"/>
                      <a:pt x="1085" y="140364"/>
                    </a:cubicBezTo>
                    <a:cubicBezTo>
                      <a:pt x="-507" y="136119"/>
                      <a:pt x="-1834" y="132139"/>
                      <a:pt x="8515" y="132935"/>
                    </a:cubicBezTo>
                    <a:cubicBezTo>
                      <a:pt x="31599" y="140630"/>
                      <a:pt x="70338" y="151774"/>
                      <a:pt x="94484" y="140364"/>
                    </a:cubicBezTo>
                    <a:cubicBezTo>
                      <a:pt x="96607" y="120464"/>
                      <a:pt x="100587" y="97114"/>
                      <a:pt x="94219" y="81990"/>
                    </a:cubicBezTo>
                    <a:cubicBezTo>
                      <a:pt x="71400" y="90481"/>
                      <a:pt x="50703" y="91277"/>
                      <a:pt x="40621" y="81194"/>
                    </a:cubicBezTo>
                    <a:cubicBezTo>
                      <a:pt x="37171" y="77479"/>
                      <a:pt x="31334" y="64477"/>
                      <a:pt x="45397" y="55987"/>
                    </a:cubicBezTo>
                    <a:cubicBezTo>
                      <a:pt x="95280" y="52803"/>
                      <a:pt x="149940" y="29187"/>
                      <a:pt x="207784" y="0"/>
                    </a:cubicBezTo>
                    <a:cubicBezTo>
                      <a:pt x="219194" y="3449"/>
                      <a:pt x="229011" y="5307"/>
                      <a:pt x="234849" y="14859"/>
                    </a:cubicBezTo>
                    <a:cubicBezTo>
                      <a:pt x="236972" y="22554"/>
                      <a:pt x="239360" y="23615"/>
                      <a:pt x="236176" y="30514"/>
                    </a:cubicBezTo>
                    <a:cubicBezTo>
                      <a:pt x="174882" y="44046"/>
                      <a:pt x="183638" y="58375"/>
                      <a:pt x="129775" y="68458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9" name="ïsļiḋê">
                <a:extLst>
                  <a:ext uri="{FF2B5EF4-FFF2-40B4-BE49-F238E27FC236}">
                    <a16:creationId xmlns:a16="http://schemas.microsoft.com/office/drawing/2014/main" id="{A43E1BDA-5C06-4AAB-9DB4-C5AD77E94507}"/>
                  </a:ext>
                </a:extLst>
              </p:cNvPr>
              <p:cNvSpPr/>
              <p:nvPr/>
            </p:nvSpPr>
            <p:spPr>
              <a:xfrm>
                <a:off x="2543663" y="1711550"/>
                <a:ext cx="278478" cy="118301"/>
              </a:xfrm>
              <a:custGeom>
                <a:avLst/>
                <a:gdLst>
                  <a:gd name="connsiteX0" fmla="*/ 229391 w 278478"/>
                  <a:gd name="connsiteY0" fmla="*/ 5562 h 118301"/>
                  <a:gd name="connsiteX1" fmla="*/ 278479 w 278478"/>
                  <a:gd name="connsiteY1" fmla="*/ 12992 h 118301"/>
                  <a:gd name="connsiteX2" fmla="*/ 278479 w 278478"/>
                  <a:gd name="connsiteY2" fmla="*/ 20421 h 118301"/>
                  <a:gd name="connsiteX3" fmla="*/ 212144 w 278478"/>
                  <a:gd name="connsiteY3" fmla="*/ 59692 h 118301"/>
                  <a:gd name="connsiteX4" fmla="*/ 177650 w 278478"/>
                  <a:gd name="connsiteY4" fmla="*/ 52262 h 118301"/>
                  <a:gd name="connsiteX5" fmla="*/ 76821 w 278478"/>
                  <a:gd name="connsiteY5" fmla="*/ 113821 h 118301"/>
                  <a:gd name="connsiteX6" fmla="*/ 3056 w 278478"/>
                  <a:gd name="connsiteY6" fmla="*/ 108779 h 118301"/>
                  <a:gd name="connsiteX7" fmla="*/ 8098 w 278478"/>
                  <a:gd name="connsiteY7" fmla="*/ 84103 h 118301"/>
                  <a:gd name="connsiteX8" fmla="*/ 229391 w 278478"/>
                  <a:gd name="connsiteY8" fmla="*/ 5562 h 118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8478" h="118301">
                    <a:moveTo>
                      <a:pt x="229391" y="5562"/>
                    </a:moveTo>
                    <a:cubicBezTo>
                      <a:pt x="247699" y="-6378"/>
                      <a:pt x="269722" y="3174"/>
                      <a:pt x="278479" y="12992"/>
                    </a:cubicBezTo>
                    <a:cubicBezTo>
                      <a:pt x="278479" y="15380"/>
                      <a:pt x="278479" y="18033"/>
                      <a:pt x="278479" y="20421"/>
                    </a:cubicBezTo>
                    <a:cubicBezTo>
                      <a:pt x="267334" y="28912"/>
                      <a:pt x="240004" y="67917"/>
                      <a:pt x="212144" y="59692"/>
                    </a:cubicBezTo>
                    <a:cubicBezTo>
                      <a:pt x="203122" y="56242"/>
                      <a:pt x="196489" y="45098"/>
                      <a:pt x="177650" y="52262"/>
                    </a:cubicBezTo>
                    <a:cubicBezTo>
                      <a:pt x="143952" y="72693"/>
                      <a:pt x="110519" y="93124"/>
                      <a:pt x="76821" y="113821"/>
                    </a:cubicBezTo>
                    <a:cubicBezTo>
                      <a:pt x="57982" y="119393"/>
                      <a:pt x="18446" y="121781"/>
                      <a:pt x="3056" y="108779"/>
                    </a:cubicBezTo>
                    <a:cubicBezTo>
                      <a:pt x="-1189" y="101350"/>
                      <a:pt x="-2250" y="95778"/>
                      <a:pt x="8098" y="84103"/>
                    </a:cubicBezTo>
                    <a:cubicBezTo>
                      <a:pt x="62758" y="77204"/>
                      <a:pt x="189855" y="33688"/>
                      <a:pt x="229391" y="5562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" name="îśľide">
                <a:extLst>
                  <a:ext uri="{FF2B5EF4-FFF2-40B4-BE49-F238E27FC236}">
                    <a16:creationId xmlns:a16="http://schemas.microsoft.com/office/drawing/2014/main" id="{50E7C6CC-7A50-4BEC-A294-4FC7D7DB1FF9}"/>
                  </a:ext>
                </a:extLst>
              </p:cNvPr>
              <p:cNvSpPr/>
              <p:nvPr/>
            </p:nvSpPr>
            <p:spPr>
              <a:xfrm>
                <a:off x="1844101" y="1751606"/>
                <a:ext cx="47525" cy="66600"/>
              </a:xfrm>
              <a:custGeom>
                <a:avLst/>
                <a:gdLst>
                  <a:gd name="connsiteX0" fmla="*/ 31841 w 47525"/>
                  <a:gd name="connsiteY0" fmla="*/ 0 h 66600"/>
                  <a:gd name="connsiteX1" fmla="*/ 41658 w 47525"/>
                  <a:gd name="connsiteY1" fmla="*/ 51741 h 66600"/>
                  <a:gd name="connsiteX2" fmla="*/ 9818 w 47525"/>
                  <a:gd name="connsiteY2" fmla="*/ 66600 h 66600"/>
                  <a:gd name="connsiteX3" fmla="*/ 0 w 47525"/>
                  <a:gd name="connsiteY3" fmla="*/ 46965 h 66600"/>
                  <a:gd name="connsiteX4" fmla="*/ 31841 w 47525"/>
                  <a:gd name="connsiteY4" fmla="*/ 0 h 66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525" h="66600">
                    <a:moveTo>
                      <a:pt x="31841" y="0"/>
                    </a:moveTo>
                    <a:cubicBezTo>
                      <a:pt x="49884" y="3715"/>
                      <a:pt x="51210" y="33167"/>
                      <a:pt x="41658" y="51741"/>
                    </a:cubicBezTo>
                    <a:cubicBezTo>
                      <a:pt x="30779" y="61559"/>
                      <a:pt x="25738" y="63681"/>
                      <a:pt x="9818" y="66600"/>
                    </a:cubicBezTo>
                    <a:cubicBezTo>
                      <a:pt x="3715" y="59171"/>
                      <a:pt x="0" y="56517"/>
                      <a:pt x="0" y="46965"/>
                    </a:cubicBezTo>
                    <a:cubicBezTo>
                      <a:pt x="14594" y="29983"/>
                      <a:pt x="14063" y="12736"/>
                      <a:pt x="31841" y="0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1" name="iṩ1ïḍé">
                <a:extLst>
                  <a:ext uri="{FF2B5EF4-FFF2-40B4-BE49-F238E27FC236}">
                    <a16:creationId xmlns:a16="http://schemas.microsoft.com/office/drawing/2014/main" id="{65275952-967E-4A6B-B1F5-0D94E06FB3D5}"/>
                  </a:ext>
                </a:extLst>
              </p:cNvPr>
              <p:cNvSpPr/>
              <p:nvPr/>
            </p:nvSpPr>
            <p:spPr>
              <a:xfrm>
                <a:off x="3443941" y="1763629"/>
                <a:ext cx="65512" cy="61740"/>
              </a:xfrm>
              <a:custGeom>
                <a:avLst/>
                <a:gdLst>
                  <a:gd name="connsiteX0" fmla="*/ 9973 w 65512"/>
                  <a:gd name="connsiteY0" fmla="*/ 182 h 61740"/>
                  <a:gd name="connsiteX1" fmla="*/ 54284 w 65512"/>
                  <a:gd name="connsiteY1" fmla="*/ 61741 h 61740"/>
                  <a:gd name="connsiteX2" fmla="*/ 51896 w 65512"/>
                  <a:gd name="connsiteY2" fmla="*/ 61741 h 61740"/>
                  <a:gd name="connsiteX3" fmla="*/ 15279 w 65512"/>
                  <a:gd name="connsiteY3" fmla="*/ 61210 h 61740"/>
                  <a:gd name="connsiteX4" fmla="*/ 12626 w 65512"/>
                  <a:gd name="connsiteY4" fmla="*/ 56700 h 61740"/>
                  <a:gd name="connsiteX5" fmla="*/ 24832 w 65512"/>
                  <a:gd name="connsiteY5" fmla="*/ 29635 h 61740"/>
                  <a:gd name="connsiteX6" fmla="*/ 155 w 65512"/>
                  <a:gd name="connsiteY6" fmla="*/ 12388 h 61740"/>
                  <a:gd name="connsiteX7" fmla="*/ 9973 w 65512"/>
                  <a:gd name="connsiteY7" fmla="*/ 182 h 61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5512" h="61740">
                    <a:moveTo>
                      <a:pt x="9973" y="182"/>
                    </a:moveTo>
                    <a:cubicBezTo>
                      <a:pt x="59326" y="-2736"/>
                      <a:pt x="80287" y="29900"/>
                      <a:pt x="54284" y="61741"/>
                    </a:cubicBezTo>
                    <a:cubicBezTo>
                      <a:pt x="53488" y="61741"/>
                      <a:pt x="52692" y="61741"/>
                      <a:pt x="51896" y="61741"/>
                    </a:cubicBezTo>
                    <a:cubicBezTo>
                      <a:pt x="38894" y="60945"/>
                      <a:pt x="28546" y="62272"/>
                      <a:pt x="15279" y="61210"/>
                    </a:cubicBezTo>
                    <a:cubicBezTo>
                      <a:pt x="15279" y="60414"/>
                      <a:pt x="12626" y="57496"/>
                      <a:pt x="12626" y="56700"/>
                    </a:cubicBezTo>
                    <a:cubicBezTo>
                      <a:pt x="21117" y="49801"/>
                      <a:pt x="25893" y="40514"/>
                      <a:pt x="24832" y="29635"/>
                    </a:cubicBezTo>
                    <a:cubicBezTo>
                      <a:pt x="19525" y="22205"/>
                      <a:pt x="11565" y="15307"/>
                      <a:pt x="155" y="12388"/>
                    </a:cubicBezTo>
                    <a:cubicBezTo>
                      <a:pt x="-641" y="7612"/>
                      <a:pt x="1482" y="2836"/>
                      <a:pt x="9973" y="182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2" name="íşľiḓè">
                <a:extLst>
                  <a:ext uri="{FF2B5EF4-FFF2-40B4-BE49-F238E27FC236}">
                    <a16:creationId xmlns:a16="http://schemas.microsoft.com/office/drawing/2014/main" id="{98E93386-A8A0-42D8-BA04-AE90E92E1A50}"/>
                  </a:ext>
                </a:extLst>
              </p:cNvPr>
              <p:cNvSpPr/>
              <p:nvPr/>
            </p:nvSpPr>
            <p:spPr>
              <a:xfrm>
                <a:off x="2416968" y="1771241"/>
                <a:ext cx="55598" cy="63848"/>
              </a:xfrm>
              <a:custGeom>
                <a:avLst/>
                <a:gdLst>
                  <a:gd name="connsiteX0" fmla="*/ 14328 w 55598"/>
                  <a:gd name="connsiteY0" fmla="*/ 0 h 63848"/>
                  <a:gd name="connsiteX1" fmla="*/ 29187 w 55598"/>
                  <a:gd name="connsiteY1" fmla="*/ 0 h 63848"/>
                  <a:gd name="connsiteX2" fmla="*/ 53864 w 55598"/>
                  <a:gd name="connsiteY2" fmla="*/ 27065 h 63848"/>
                  <a:gd name="connsiteX3" fmla="*/ 51476 w 55598"/>
                  <a:gd name="connsiteY3" fmla="*/ 61559 h 63848"/>
                  <a:gd name="connsiteX4" fmla="*/ 3715 w 55598"/>
                  <a:gd name="connsiteY4" fmla="*/ 62355 h 63848"/>
                  <a:gd name="connsiteX5" fmla="*/ 0 w 55598"/>
                  <a:gd name="connsiteY5" fmla="*/ 56783 h 63848"/>
                  <a:gd name="connsiteX6" fmla="*/ 265 w 55598"/>
                  <a:gd name="connsiteY6" fmla="*/ 48557 h 63848"/>
                  <a:gd name="connsiteX7" fmla="*/ 13267 w 55598"/>
                  <a:gd name="connsiteY7" fmla="*/ 40066 h 63848"/>
                  <a:gd name="connsiteX8" fmla="*/ 14328 w 55598"/>
                  <a:gd name="connsiteY8" fmla="*/ 0 h 63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5598" h="63848">
                    <a:moveTo>
                      <a:pt x="14328" y="0"/>
                    </a:moveTo>
                    <a:cubicBezTo>
                      <a:pt x="19370" y="0"/>
                      <a:pt x="24146" y="0"/>
                      <a:pt x="29187" y="0"/>
                    </a:cubicBezTo>
                    <a:cubicBezTo>
                      <a:pt x="37413" y="9022"/>
                      <a:pt x="45638" y="18043"/>
                      <a:pt x="53864" y="27065"/>
                    </a:cubicBezTo>
                    <a:cubicBezTo>
                      <a:pt x="56252" y="39801"/>
                      <a:pt x="56783" y="54925"/>
                      <a:pt x="51476" y="61559"/>
                    </a:cubicBezTo>
                    <a:cubicBezTo>
                      <a:pt x="33167" y="65008"/>
                      <a:pt x="20431" y="63947"/>
                      <a:pt x="3715" y="62355"/>
                    </a:cubicBezTo>
                    <a:cubicBezTo>
                      <a:pt x="2123" y="59967"/>
                      <a:pt x="1592" y="59171"/>
                      <a:pt x="0" y="56783"/>
                    </a:cubicBezTo>
                    <a:cubicBezTo>
                      <a:pt x="0" y="55987"/>
                      <a:pt x="265" y="49353"/>
                      <a:pt x="265" y="48557"/>
                    </a:cubicBezTo>
                    <a:cubicBezTo>
                      <a:pt x="6103" y="45373"/>
                      <a:pt x="7695" y="43516"/>
                      <a:pt x="13267" y="40066"/>
                    </a:cubicBezTo>
                    <a:cubicBezTo>
                      <a:pt x="19900" y="24942"/>
                      <a:pt x="6633" y="19635"/>
                      <a:pt x="14328" y="0"/>
                    </a:cubicBezTo>
                    <a:close/>
                  </a:path>
                </a:pathLst>
              </a:custGeom>
              <a:grpFill/>
              <a:ln w="264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5" name="iṩḷiḓê">
              <a:extLst>
                <a:ext uri="{FF2B5EF4-FFF2-40B4-BE49-F238E27FC236}">
                  <a16:creationId xmlns:a16="http://schemas.microsoft.com/office/drawing/2014/main" id="{4EC423F1-E110-46AA-803C-B96AAC59BFC8}"/>
                </a:ext>
              </a:extLst>
            </p:cNvPr>
            <p:cNvSpPr/>
            <p:nvPr/>
          </p:nvSpPr>
          <p:spPr>
            <a:xfrm>
              <a:off x="1794748" y="1968653"/>
              <a:ext cx="2175516" cy="126301"/>
            </a:xfrm>
            <a:custGeom>
              <a:avLst/>
              <a:gdLst>
                <a:gd name="connsiteX0" fmla="*/ 48292 w 2175516"/>
                <a:gd name="connsiteY0" fmla="*/ 95522 h 126301"/>
                <a:gd name="connsiteX1" fmla="*/ 57579 w 2175516"/>
                <a:gd name="connsiteY1" fmla="*/ 95522 h 126301"/>
                <a:gd name="connsiteX2" fmla="*/ 72438 w 2175516"/>
                <a:gd name="connsiteY2" fmla="*/ 65273 h 126301"/>
                <a:gd name="connsiteX3" fmla="*/ 87297 w 2175516"/>
                <a:gd name="connsiteY3" fmla="*/ 95522 h 126301"/>
                <a:gd name="connsiteX4" fmla="*/ 96584 w 2175516"/>
                <a:gd name="connsiteY4" fmla="*/ 95522 h 126301"/>
                <a:gd name="connsiteX5" fmla="*/ 125240 w 2175516"/>
                <a:gd name="connsiteY5" fmla="*/ 25207 h 126301"/>
                <a:gd name="connsiteX6" fmla="*/ 138507 w 2175516"/>
                <a:gd name="connsiteY6" fmla="*/ 12471 h 126301"/>
                <a:gd name="connsiteX7" fmla="*/ 138507 w 2175516"/>
                <a:gd name="connsiteY7" fmla="*/ 6899 h 126301"/>
                <a:gd name="connsiteX8" fmla="*/ 110381 w 2175516"/>
                <a:gd name="connsiteY8" fmla="*/ 6899 h 126301"/>
                <a:gd name="connsiteX9" fmla="*/ 110381 w 2175516"/>
                <a:gd name="connsiteY9" fmla="*/ 12471 h 126301"/>
                <a:gd name="connsiteX10" fmla="*/ 117015 w 2175516"/>
                <a:gd name="connsiteY10" fmla="*/ 23881 h 126301"/>
                <a:gd name="connsiteX11" fmla="*/ 97910 w 2175516"/>
                <a:gd name="connsiteY11" fmla="*/ 73234 h 126301"/>
                <a:gd name="connsiteX12" fmla="*/ 83051 w 2175516"/>
                <a:gd name="connsiteY12" fmla="*/ 42985 h 126301"/>
                <a:gd name="connsiteX13" fmla="*/ 93399 w 2175516"/>
                <a:gd name="connsiteY13" fmla="*/ 22023 h 126301"/>
                <a:gd name="connsiteX14" fmla="*/ 103748 w 2175516"/>
                <a:gd name="connsiteY14" fmla="*/ 12206 h 126301"/>
                <a:gd name="connsiteX15" fmla="*/ 103748 w 2175516"/>
                <a:gd name="connsiteY15" fmla="*/ 6633 h 126301"/>
                <a:gd name="connsiteX16" fmla="*/ 42189 w 2175516"/>
                <a:gd name="connsiteY16" fmla="*/ 6633 h 126301"/>
                <a:gd name="connsiteX17" fmla="*/ 42189 w 2175516"/>
                <a:gd name="connsiteY17" fmla="*/ 12206 h 126301"/>
                <a:gd name="connsiteX18" fmla="*/ 51476 w 2175516"/>
                <a:gd name="connsiteY18" fmla="*/ 21492 h 126301"/>
                <a:gd name="connsiteX19" fmla="*/ 67927 w 2175516"/>
                <a:gd name="connsiteY19" fmla="*/ 56517 h 126301"/>
                <a:gd name="connsiteX20" fmla="*/ 59171 w 2175516"/>
                <a:gd name="connsiteY20" fmla="*/ 74560 h 126301"/>
                <a:gd name="connsiteX21" fmla="*/ 33433 w 2175516"/>
                <a:gd name="connsiteY21" fmla="*/ 20166 h 126301"/>
                <a:gd name="connsiteX22" fmla="*/ 31841 w 2175516"/>
                <a:gd name="connsiteY22" fmla="*/ 14063 h 126301"/>
                <a:gd name="connsiteX23" fmla="*/ 36882 w 2175516"/>
                <a:gd name="connsiteY23" fmla="*/ 11940 h 126301"/>
                <a:gd name="connsiteX24" fmla="*/ 36882 w 2175516"/>
                <a:gd name="connsiteY24" fmla="*/ 6368 h 126301"/>
                <a:gd name="connsiteX25" fmla="*/ 0 w 2175516"/>
                <a:gd name="connsiteY25" fmla="*/ 6368 h 126301"/>
                <a:gd name="connsiteX26" fmla="*/ 0 w 2175516"/>
                <a:gd name="connsiteY26" fmla="*/ 11940 h 126301"/>
                <a:gd name="connsiteX27" fmla="*/ 1061 w 2175516"/>
                <a:gd name="connsiteY27" fmla="*/ 11940 h 126301"/>
                <a:gd name="connsiteX28" fmla="*/ 8226 w 2175516"/>
                <a:gd name="connsiteY28" fmla="*/ 14063 h 126301"/>
                <a:gd name="connsiteX29" fmla="*/ 14328 w 2175516"/>
                <a:gd name="connsiteY29" fmla="*/ 23350 h 126301"/>
                <a:gd name="connsiteX30" fmla="*/ 48292 w 2175516"/>
                <a:gd name="connsiteY30" fmla="*/ 95522 h 126301"/>
                <a:gd name="connsiteX31" fmla="*/ 48292 w 2175516"/>
                <a:gd name="connsiteY31" fmla="*/ 95522 h 126301"/>
                <a:gd name="connsiteX32" fmla="*/ 78540 w 2175516"/>
                <a:gd name="connsiteY32" fmla="*/ 34759 h 126301"/>
                <a:gd name="connsiteX33" fmla="*/ 70846 w 2175516"/>
                <a:gd name="connsiteY33" fmla="*/ 18839 h 126301"/>
                <a:gd name="connsiteX34" fmla="*/ 69784 w 2175516"/>
                <a:gd name="connsiteY34" fmla="*/ 13798 h 126301"/>
                <a:gd name="connsiteX35" fmla="*/ 74826 w 2175516"/>
                <a:gd name="connsiteY35" fmla="*/ 12736 h 126301"/>
                <a:gd name="connsiteX36" fmla="*/ 82255 w 2175516"/>
                <a:gd name="connsiteY36" fmla="*/ 12736 h 126301"/>
                <a:gd name="connsiteX37" fmla="*/ 87297 w 2175516"/>
                <a:gd name="connsiteY37" fmla="*/ 14328 h 126301"/>
                <a:gd name="connsiteX38" fmla="*/ 86766 w 2175516"/>
                <a:gd name="connsiteY38" fmla="*/ 19370 h 126301"/>
                <a:gd name="connsiteX39" fmla="*/ 78540 w 2175516"/>
                <a:gd name="connsiteY39" fmla="*/ 34759 h 126301"/>
                <a:gd name="connsiteX40" fmla="*/ 78540 w 2175516"/>
                <a:gd name="connsiteY40" fmla="*/ 34759 h 126301"/>
                <a:gd name="connsiteX41" fmla="*/ 199800 w 2175516"/>
                <a:gd name="connsiteY41" fmla="*/ 94991 h 126301"/>
                <a:gd name="connsiteX42" fmla="*/ 202454 w 2175516"/>
                <a:gd name="connsiteY42" fmla="*/ 94991 h 126301"/>
                <a:gd name="connsiteX43" fmla="*/ 225008 w 2175516"/>
                <a:gd name="connsiteY43" fmla="*/ 90746 h 126301"/>
                <a:gd name="connsiteX44" fmla="*/ 225008 w 2175516"/>
                <a:gd name="connsiteY44" fmla="*/ 86235 h 126301"/>
                <a:gd name="connsiteX45" fmla="*/ 221293 w 2175516"/>
                <a:gd name="connsiteY45" fmla="*/ 86766 h 126301"/>
                <a:gd name="connsiteX46" fmla="*/ 216782 w 2175516"/>
                <a:gd name="connsiteY46" fmla="*/ 78540 h 126301"/>
                <a:gd name="connsiteX47" fmla="*/ 216782 w 2175516"/>
                <a:gd name="connsiteY47" fmla="*/ 35821 h 126301"/>
                <a:gd name="connsiteX48" fmla="*/ 214129 w 2175516"/>
                <a:gd name="connsiteY48" fmla="*/ 35821 h 126301"/>
                <a:gd name="connsiteX49" fmla="*/ 188391 w 2175516"/>
                <a:gd name="connsiteY49" fmla="*/ 40862 h 126301"/>
                <a:gd name="connsiteX50" fmla="*/ 188391 w 2175516"/>
                <a:gd name="connsiteY50" fmla="*/ 44046 h 126301"/>
                <a:gd name="connsiteX51" fmla="*/ 195024 w 2175516"/>
                <a:gd name="connsiteY51" fmla="*/ 46169 h 126301"/>
                <a:gd name="connsiteX52" fmla="*/ 200066 w 2175516"/>
                <a:gd name="connsiteY52" fmla="*/ 54395 h 126301"/>
                <a:gd name="connsiteX53" fmla="*/ 200066 w 2175516"/>
                <a:gd name="connsiteY53" fmla="*/ 79602 h 126301"/>
                <a:gd name="connsiteX54" fmla="*/ 185737 w 2175516"/>
                <a:gd name="connsiteY54" fmla="*/ 85174 h 126301"/>
                <a:gd name="connsiteX55" fmla="*/ 176451 w 2175516"/>
                <a:gd name="connsiteY55" fmla="*/ 71376 h 126301"/>
                <a:gd name="connsiteX56" fmla="*/ 176451 w 2175516"/>
                <a:gd name="connsiteY56" fmla="*/ 35821 h 126301"/>
                <a:gd name="connsiteX57" fmla="*/ 173797 w 2175516"/>
                <a:gd name="connsiteY57" fmla="*/ 35821 h 126301"/>
                <a:gd name="connsiteX58" fmla="*/ 153631 w 2175516"/>
                <a:gd name="connsiteY58" fmla="*/ 40862 h 126301"/>
                <a:gd name="connsiteX59" fmla="*/ 153631 w 2175516"/>
                <a:gd name="connsiteY59" fmla="*/ 44046 h 126301"/>
                <a:gd name="connsiteX60" fmla="*/ 156816 w 2175516"/>
                <a:gd name="connsiteY60" fmla="*/ 45638 h 126301"/>
                <a:gd name="connsiteX61" fmla="*/ 159469 w 2175516"/>
                <a:gd name="connsiteY61" fmla="*/ 53333 h 126301"/>
                <a:gd name="connsiteX62" fmla="*/ 159469 w 2175516"/>
                <a:gd name="connsiteY62" fmla="*/ 76948 h 126301"/>
                <a:gd name="connsiteX63" fmla="*/ 174859 w 2175516"/>
                <a:gd name="connsiteY63" fmla="*/ 94991 h 126301"/>
                <a:gd name="connsiteX64" fmla="*/ 200066 w 2175516"/>
                <a:gd name="connsiteY64" fmla="*/ 84643 h 126301"/>
                <a:gd name="connsiteX65" fmla="*/ 200066 w 2175516"/>
                <a:gd name="connsiteY65" fmla="*/ 94991 h 126301"/>
                <a:gd name="connsiteX66" fmla="*/ 199800 w 2175516"/>
                <a:gd name="connsiteY66" fmla="*/ 94991 h 126301"/>
                <a:gd name="connsiteX67" fmla="*/ 266135 w 2175516"/>
                <a:gd name="connsiteY67" fmla="*/ 51741 h 126301"/>
                <a:gd name="connsiteX68" fmla="*/ 280464 w 2175516"/>
                <a:gd name="connsiteY68" fmla="*/ 46169 h 126301"/>
                <a:gd name="connsiteX69" fmla="*/ 289750 w 2175516"/>
                <a:gd name="connsiteY69" fmla="*/ 58375 h 126301"/>
                <a:gd name="connsiteX70" fmla="*/ 289750 w 2175516"/>
                <a:gd name="connsiteY70" fmla="*/ 79867 h 126301"/>
                <a:gd name="connsiteX71" fmla="*/ 282586 w 2175516"/>
                <a:gd name="connsiteY71" fmla="*/ 90215 h 126301"/>
                <a:gd name="connsiteX72" fmla="*/ 281525 w 2175516"/>
                <a:gd name="connsiteY72" fmla="*/ 90215 h 126301"/>
                <a:gd name="connsiteX73" fmla="*/ 281525 w 2175516"/>
                <a:gd name="connsiteY73" fmla="*/ 94726 h 126301"/>
                <a:gd name="connsiteX74" fmla="*/ 314427 w 2175516"/>
                <a:gd name="connsiteY74" fmla="*/ 94726 h 126301"/>
                <a:gd name="connsiteX75" fmla="*/ 314427 w 2175516"/>
                <a:gd name="connsiteY75" fmla="*/ 90215 h 126301"/>
                <a:gd name="connsiteX76" fmla="*/ 313366 w 2175516"/>
                <a:gd name="connsiteY76" fmla="*/ 90215 h 126301"/>
                <a:gd name="connsiteX77" fmla="*/ 306732 w 2175516"/>
                <a:gd name="connsiteY77" fmla="*/ 79336 h 126301"/>
                <a:gd name="connsiteX78" fmla="*/ 306732 w 2175516"/>
                <a:gd name="connsiteY78" fmla="*/ 60763 h 126301"/>
                <a:gd name="connsiteX79" fmla="*/ 291343 w 2175516"/>
                <a:gd name="connsiteY79" fmla="*/ 36086 h 126301"/>
                <a:gd name="connsiteX80" fmla="*/ 266135 w 2175516"/>
                <a:gd name="connsiteY80" fmla="*/ 46434 h 126301"/>
                <a:gd name="connsiteX81" fmla="*/ 266135 w 2175516"/>
                <a:gd name="connsiteY81" fmla="*/ 796 h 126301"/>
                <a:gd name="connsiteX82" fmla="*/ 262686 w 2175516"/>
                <a:gd name="connsiteY82" fmla="*/ 796 h 126301"/>
                <a:gd name="connsiteX83" fmla="*/ 240132 w 2175516"/>
                <a:gd name="connsiteY83" fmla="*/ 7430 h 126301"/>
                <a:gd name="connsiteX84" fmla="*/ 240132 w 2175516"/>
                <a:gd name="connsiteY84" fmla="*/ 10614 h 126301"/>
                <a:gd name="connsiteX85" fmla="*/ 244377 w 2175516"/>
                <a:gd name="connsiteY85" fmla="*/ 12206 h 126301"/>
                <a:gd name="connsiteX86" fmla="*/ 248888 w 2175516"/>
                <a:gd name="connsiteY86" fmla="*/ 18308 h 126301"/>
                <a:gd name="connsiteX87" fmla="*/ 248888 w 2175516"/>
                <a:gd name="connsiteY87" fmla="*/ 79867 h 126301"/>
                <a:gd name="connsiteX88" fmla="*/ 241193 w 2175516"/>
                <a:gd name="connsiteY88" fmla="*/ 90215 h 126301"/>
                <a:gd name="connsiteX89" fmla="*/ 239071 w 2175516"/>
                <a:gd name="connsiteY89" fmla="*/ 90215 h 126301"/>
                <a:gd name="connsiteX90" fmla="*/ 239071 w 2175516"/>
                <a:gd name="connsiteY90" fmla="*/ 94726 h 126301"/>
                <a:gd name="connsiteX91" fmla="*/ 274626 w 2175516"/>
                <a:gd name="connsiteY91" fmla="*/ 94726 h 126301"/>
                <a:gd name="connsiteX92" fmla="*/ 274626 w 2175516"/>
                <a:gd name="connsiteY92" fmla="*/ 90215 h 126301"/>
                <a:gd name="connsiteX93" fmla="*/ 273565 w 2175516"/>
                <a:gd name="connsiteY93" fmla="*/ 90215 h 126301"/>
                <a:gd name="connsiteX94" fmla="*/ 265870 w 2175516"/>
                <a:gd name="connsiteY94" fmla="*/ 80398 h 126301"/>
                <a:gd name="connsiteX95" fmla="*/ 265870 w 2175516"/>
                <a:gd name="connsiteY95" fmla="*/ 51741 h 126301"/>
                <a:gd name="connsiteX96" fmla="*/ 266135 w 2175516"/>
                <a:gd name="connsiteY96" fmla="*/ 51741 h 126301"/>
                <a:gd name="connsiteX97" fmla="*/ 388987 w 2175516"/>
                <a:gd name="connsiteY97" fmla="*/ 84113 h 126301"/>
                <a:gd name="connsiteX98" fmla="*/ 385273 w 2175516"/>
                <a:gd name="connsiteY98" fmla="*/ 85705 h 126301"/>
                <a:gd name="connsiteX99" fmla="*/ 382619 w 2175516"/>
                <a:gd name="connsiteY99" fmla="*/ 79071 h 126301"/>
                <a:gd name="connsiteX100" fmla="*/ 382619 w 2175516"/>
                <a:gd name="connsiteY100" fmla="*/ 52802 h 126301"/>
                <a:gd name="connsiteX101" fmla="*/ 359535 w 2175516"/>
                <a:gd name="connsiteY101" fmla="*/ 35821 h 126301"/>
                <a:gd name="connsiteX102" fmla="*/ 336450 w 2175516"/>
                <a:gd name="connsiteY102" fmla="*/ 44046 h 126301"/>
                <a:gd name="connsiteX103" fmla="*/ 333266 w 2175516"/>
                <a:gd name="connsiteY103" fmla="*/ 57844 h 126301"/>
                <a:gd name="connsiteX104" fmla="*/ 349186 w 2175516"/>
                <a:gd name="connsiteY104" fmla="*/ 52272 h 126301"/>
                <a:gd name="connsiteX105" fmla="*/ 356351 w 2175516"/>
                <a:gd name="connsiteY105" fmla="*/ 41393 h 126301"/>
                <a:gd name="connsiteX106" fmla="*/ 365107 w 2175516"/>
                <a:gd name="connsiteY106" fmla="*/ 50680 h 126301"/>
                <a:gd name="connsiteX107" fmla="*/ 365107 w 2175516"/>
                <a:gd name="connsiteY107" fmla="*/ 56252 h 126301"/>
                <a:gd name="connsiteX108" fmla="*/ 348656 w 2175516"/>
                <a:gd name="connsiteY108" fmla="*/ 63947 h 126301"/>
                <a:gd name="connsiteX109" fmla="*/ 336450 w 2175516"/>
                <a:gd name="connsiteY109" fmla="*/ 70050 h 126301"/>
                <a:gd name="connsiteX110" fmla="*/ 331939 w 2175516"/>
                <a:gd name="connsiteY110" fmla="*/ 81459 h 126301"/>
                <a:gd name="connsiteX111" fmla="*/ 347860 w 2175516"/>
                <a:gd name="connsiteY111" fmla="*/ 95257 h 126301"/>
                <a:gd name="connsiteX112" fmla="*/ 365372 w 2175516"/>
                <a:gd name="connsiteY112" fmla="*/ 87562 h 126301"/>
                <a:gd name="connsiteX113" fmla="*/ 375190 w 2175516"/>
                <a:gd name="connsiteY113" fmla="*/ 95257 h 126301"/>
                <a:gd name="connsiteX114" fmla="*/ 391110 w 2175516"/>
                <a:gd name="connsiteY114" fmla="*/ 87562 h 126301"/>
                <a:gd name="connsiteX115" fmla="*/ 388987 w 2175516"/>
                <a:gd name="connsiteY115" fmla="*/ 84113 h 126301"/>
                <a:gd name="connsiteX116" fmla="*/ 388987 w 2175516"/>
                <a:gd name="connsiteY116" fmla="*/ 84113 h 126301"/>
                <a:gd name="connsiteX117" fmla="*/ 364842 w 2175516"/>
                <a:gd name="connsiteY117" fmla="*/ 82521 h 126301"/>
                <a:gd name="connsiteX118" fmla="*/ 355555 w 2175516"/>
                <a:gd name="connsiteY118" fmla="*/ 88093 h 126301"/>
                <a:gd name="connsiteX119" fmla="*/ 348390 w 2175516"/>
                <a:gd name="connsiteY119" fmla="*/ 78806 h 126301"/>
                <a:gd name="connsiteX120" fmla="*/ 357677 w 2175516"/>
                <a:gd name="connsiteY120" fmla="*/ 66865 h 126301"/>
                <a:gd name="connsiteX121" fmla="*/ 364842 w 2175516"/>
                <a:gd name="connsiteY121" fmla="*/ 62355 h 126301"/>
                <a:gd name="connsiteX122" fmla="*/ 364842 w 2175516"/>
                <a:gd name="connsiteY122" fmla="*/ 82521 h 126301"/>
                <a:gd name="connsiteX123" fmla="*/ 364842 w 2175516"/>
                <a:gd name="connsiteY123" fmla="*/ 82521 h 126301"/>
                <a:gd name="connsiteX124" fmla="*/ 472304 w 2175516"/>
                <a:gd name="connsiteY124" fmla="*/ 59967 h 126301"/>
                <a:gd name="connsiteX125" fmla="*/ 457445 w 2175516"/>
                <a:gd name="connsiteY125" fmla="*/ 35821 h 126301"/>
                <a:gd name="connsiteX126" fmla="*/ 431176 w 2175516"/>
                <a:gd name="connsiteY126" fmla="*/ 46700 h 126301"/>
                <a:gd name="connsiteX127" fmla="*/ 431176 w 2175516"/>
                <a:gd name="connsiteY127" fmla="*/ 33963 h 126301"/>
                <a:gd name="connsiteX128" fmla="*/ 429054 w 2175516"/>
                <a:gd name="connsiteY128" fmla="*/ 33963 h 126301"/>
                <a:gd name="connsiteX129" fmla="*/ 404908 w 2175516"/>
                <a:gd name="connsiteY129" fmla="*/ 42189 h 126301"/>
                <a:gd name="connsiteX130" fmla="*/ 404908 w 2175516"/>
                <a:gd name="connsiteY130" fmla="*/ 45373 h 126301"/>
                <a:gd name="connsiteX131" fmla="*/ 407561 w 2175516"/>
                <a:gd name="connsiteY131" fmla="*/ 45904 h 126301"/>
                <a:gd name="connsiteX132" fmla="*/ 414195 w 2175516"/>
                <a:gd name="connsiteY132" fmla="*/ 52537 h 126301"/>
                <a:gd name="connsiteX133" fmla="*/ 414195 w 2175516"/>
                <a:gd name="connsiteY133" fmla="*/ 79867 h 126301"/>
                <a:gd name="connsiteX134" fmla="*/ 406500 w 2175516"/>
                <a:gd name="connsiteY134" fmla="*/ 89685 h 126301"/>
                <a:gd name="connsiteX135" fmla="*/ 405438 w 2175516"/>
                <a:gd name="connsiteY135" fmla="*/ 89685 h 126301"/>
                <a:gd name="connsiteX136" fmla="*/ 405438 w 2175516"/>
                <a:gd name="connsiteY136" fmla="*/ 94195 h 126301"/>
                <a:gd name="connsiteX137" fmla="*/ 440994 w 2175516"/>
                <a:gd name="connsiteY137" fmla="*/ 94195 h 126301"/>
                <a:gd name="connsiteX138" fmla="*/ 440994 w 2175516"/>
                <a:gd name="connsiteY138" fmla="*/ 89685 h 126301"/>
                <a:gd name="connsiteX139" fmla="*/ 439933 w 2175516"/>
                <a:gd name="connsiteY139" fmla="*/ 89685 h 126301"/>
                <a:gd name="connsiteX140" fmla="*/ 431176 w 2175516"/>
                <a:gd name="connsiteY140" fmla="*/ 80398 h 126301"/>
                <a:gd name="connsiteX141" fmla="*/ 431176 w 2175516"/>
                <a:gd name="connsiteY141" fmla="*/ 51741 h 126301"/>
                <a:gd name="connsiteX142" fmla="*/ 446566 w 2175516"/>
                <a:gd name="connsiteY142" fmla="*/ 45638 h 126301"/>
                <a:gd name="connsiteX143" fmla="*/ 454792 w 2175516"/>
                <a:gd name="connsiteY143" fmla="*/ 61559 h 126301"/>
                <a:gd name="connsiteX144" fmla="*/ 454792 w 2175516"/>
                <a:gd name="connsiteY144" fmla="*/ 73764 h 126301"/>
                <a:gd name="connsiteX145" fmla="*/ 447097 w 2175516"/>
                <a:gd name="connsiteY145" fmla="*/ 89685 h 126301"/>
                <a:gd name="connsiteX146" fmla="*/ 447097 w 2175516"/>
                <a:gd name="connsiteY146" fmla="*/ 94195 h 126301"/>
                <a:gd name="connsiteX147" fmla="*/ 479999 w 2175516"/>
                <a:gd name="connsiteY147" fmla="*/ 94195 h 126301"/>
                <a:gd name="connsiteX148" fmla="*/ 479999 w 2175516"/>
                <a:gd name="connsiteY148" fmla="*/ 89685 h 126301"/>
                <a:gd name="connsiteX149" fmla="*/ 472304 w 2175516"/>
                <a:gd name="connsiteY149" fmla="*/ 81459 h 126301"/>
                <a:gd name="connsiteX150" fmla="*/ 472304 w 2175516"/>
                <a:gd name="connsiteY150" fmla="*/ 59967 h 126301"/>
                <a:gd name="connsiteX151" fmla="*/ 472304 w 2175516"/>
                <a:gd name="connsiteY151" fmla="*/ 59967 h 126301"/>
                <a:gd name="connsiteX152" fmla="*/ 532536 w 2175516"/>
                <a:gd name="connsiteY152" fmla="*/ 12736 h 126301"/>
                <a:gd name="connsiteX153" fmla="*/ 534128 w 2175516"/>
                <a:gd name="connsiteY153" fmla="*/ 12736 h 126301"/>
                <a:gd name="connsiteX154" fmla="*/ 544476 w 2175516"/>
                <a:gd name="connsiteY154" fmla="*/ 23084 h 126301"/>
                <a:gd name="connsiteX155" fmla="*/ 544476 w 2175516"/>
                <a:gd name="connsiteY155" fmla="*/ 79071 h 126301"/>
                <a:gd name="connsiteX156" fmla="*/ 534128 w 2175516"/>
                <a:gd name="connsiteY156" fmla="*/ 88889 h 126301"/>
                <a:gd name="connsiteX157" fmla="*/ 532536 w 2175516"/>
                <a:gd name="connsiteY157" fmla="*/ 88889 h 126301"/>
                <a:gd name="connsiteX158" fmla="*/ 532536 w 2175516"/>
                <a:gd name="connsiteY158" fmla="*/ 94461 h 126301"/>
                <a:gd name="connsiteX159" fmla="*/ 576848 w 2175516"/>
                <a:gd name="connsiteY159" fmla="*/ 94461 h 126301"/>
                <a:gd name="connsiteX160" fmla="*/ 576848 w 2175516"/>
                <a:gd name="connsiteY160" fmla="*/ 89154 h 126301"/>
                <a:gd name="connsiteX161" fmla="*/ 574725 w 2175516"/>
                <a:gd name="connsiteY161" fmla="*/ 89154 h 126301"/>
                <a:gd name="connsiteX162" fmla="*/ 563846 w 2175516"/>
                <a:gd name="connsiteY162" fmla="*/ 78806 h 126301"/>
                <a:gd name="connsiteX163" fmla="*/ 563846 w 2175516"/>
                <a:gd name="connsiteY163" fmla="*/ 23350 h 126301"/>
                <a:gd name="connsiteX164" fmla="*/ 574725 w 2175516"/>
                <a:gd name="connsiteY164" fmla="*/ 13002 h 126301"/>
                <a:gd name="connsiteX165" fmla="*/ 576848 w 2175516"/>
                <a:gd name="connsiteY165" fmla="*/ 13002 h 126301"/>
                <a:gd name="connsiteX166" fmla="*/ 576848 w 2175516"/>
                <a:gd name="connsiteY166" fmla="*/ 7430 h 126301"/>
                <a:gd name="connsiteX167" fmla="*/ 532536 w 2175516"/>
                <a:gd name="connsiteY167" fmla="*/ 7430 h 126301"/>
                <a:gd name="connsiteX168" fmla="*/ 532536 w 2175516"/>
                <a:gd name="connsiteY168" fmla="*/ 12736 h 126301"/>
                <a:gd name="connsiteX169" fmla="*/ 532536 w 2175516"/>
                <a:gd name="connsiteY169" fmla="*/ 12736 h 126301"/>
                <a:gd name="connsiteX170" fmla="*/ 659368 w 2175516"/>
                <a:gd name="connsiteY170" fmla="*/ 59967 h 126301"/>
                <a:gd name="connsiteX171" fmla="*/ 644509 w 2175516"/>
                <a:gd name="connsiteY171" fmla="*/ 35821 h 126301"/>
                <a:gd name="connsiteX172" fmla="*/ 618241 w 2175516"/>
                <a:gd name="connsiteY172" fmla="*/ 46700 h 126301"/>
                <a:gd name="connsiteX173" fmla="*/ 618241 w 2175516"/>
                <a:gd name="connsiteY173" fmla="*/ 33963 h 126301"/>
                <a:gd name="connsiteX174" fmla="*/ 616118 w 2175516"/>
                <a:gd name="connsiteY174" fmla="*/ 33963 h 126301"/>
                <a:gd name="connsiteX175" fmla="*/ 591972 w 2175516"/>
                <a:gd name="connsiteY175" fmla="*/ 42189 h 126301"/>
                <a:gd name="connsiteX176" fmla="*/ 591972 w 2175516"/>
                <a:gd name="connsiteY176" fmla="*/ 45373 h 126301"/>
                <a:gd name="connsiteX177" fmla="*/ 594625 w 2175516"/>
                <a:gd name="connsiteY177" fmla="*/ 45904 h 126301"/>
                <a:gd name="connsiteX178" fmla="*/ 601259 w 2175516"/>
                <a:gd name="connsiteY178" fmla="*/ 52537 h 126301"/>
                <a:gd name="connsiteX179" fmla="*/ 601259 w 2175516"/>
                <a:gd name="connsiteY179" fmla="*/ 79867 h 126301"/>
                <a:gd name="connsiteX180" fmla="*/ 593564 w 2175516"/>
                <a:gd name="connsiteY180" fmla="*/ 89685 h 126301"/>
                <a:gd name="connsiteX181" fmla="*/ 592503 w 2175516"/>
                <a:gd name="connsiteY181" fmla="*/ 89685 h 126301"/>
                <a:gd name="connsiteX182" fmla="*/ 592503 w 2175516"/>
                <a:gd name="connsiteY182" fmla="*/ 94195 h 126301"/>
                <a:gd name="connsiteX183" fmla="*/ 628058 w 2175516"/>
                <a:gd name="connsiteY183" fmla="*/ 94195 h 126301"/>
                <a:gd name="connsiteX184" fmla="*/ 628058 w 2175516"/>
                <a:gd name="connsiteY184" fmla="*/ 89685 h 126301"/>
                <a:gd name="connsiteX185" fmla="*/ 626997 w 2175516"/>
                <a:gd name="connsiteY185" fmla="*/ 89685 h 126301"/>
                <a:gd name="connsiteX186" fmla="*/ 618241 w 2175516"/>
                <a:gd name="connsiteY186" fmla="*/ 80398 h 126301"/>
                <a:gd name="connsiteX187" fmla="*/ 618241 w 2175516"/>
                <a:gd name="connsiteY187" fmla="*/ 51741 h 126301"/>
                <a:gd name="connsiteX188" fmla="*/ 633630 w 2175516"/>
                <a:gd name="connsiteY188" fmla="*/ 45638 h 126301"/>
                <a:gd name="connsiteX189" fmla="*/ 641856 w 2175516"/>
                <a:gd name="connsiteY189" fmla="*/ 61559 h 126301"/>
                <a:gd name="connsiteX190" fmla="*/ 641856 w 2175516"/>
                <a:gd name="connsiteY190" fmla="*/ 73764 h 126301"/>
                <a:gd name="connsiteX191" fmla="*/ 634161 w 2175516"/>
                <a:gd name="connsiteY191" fmla="*/ 89685 h 126301"/>
                <a:gd name="connsiteX192" fmla="*/ 634161 w 2175516"/>
                <a:gd name="connsiteY192" fmla="*/ 94195 h 126301"/>
                <a:gd name="connsiteX193" fmla="*/ 667063 w 2175516"/>
                <a:gd name="connsiteY193" fmla="*/ 94195 h 126301"/>
                <a:gd name="connsiteX194" fmla="*/ 667063 w 2175516"/>
                <a:gd name="connsiteY194" fmla="*/ 89685 h 126301"/>
                <a:gd name="connsiteX195" fmla="*/ 659368 w 2175516"/>
                <a:gd name="connsiteY195" fmla="*/ 81459 h 126301"/>
                <a:gd name="connsiteX196" fmla="*/ 659368 w 2175516"/>
                <a:gd name="connsiteY196" fmla="*/ 59967 h 126301"/>
                <a:gd name="connsiteX197" fmla="*/ 659368 w 2175516"/>
                <a:gd name="connsiteY197" fmla="*/ 59967 h 126301"/>
                <a:gd name="connsiteX198" fmla="*/ 686698 w 2175516"/>
                <a:gd name="connsiteY198" fmla="*/ 94461 h 126301"/>
                <a:gd name="connsiteX199" fmla="*/ 690413 w 2175516"/>
                <a:gd name="connsiteY199" fmla="*/ 94461 h 126301"/>
                <a:gd name="connsiteX200" fmla="*/ 693066 w 2175516"/>
                <a:gd name="connsiteY200" fmla="*/ 93930 h 126301"/>
                <a:gd name="connsiteX201" fmla="*/ 695720 w 2175516"/>
                <a:gd name="connsiteY201" fmla="*/ 94461 h 126301"/>
                <a:gd name="connsiteX202" fmla="*/ 707660 w 2175516"/>
                <a:gd name="connsiteY202" fmla="*/ 94991 h 126301"/>
                <a:gd name="connsiteX203" fmla="*/ 726234 w 2175516"/>
                <a:gd name="connsiteY203" fmla="*/ 78010 h 126301"/>
                <a:gd name="connsiteX204" fmla="*/ 709783 w 2175516"/>
                <a:gd name="connsiteY204" fmla="*/ 58375 h 126301"/>
                <a:gd name="connsiteX205" fmla="*/ 698373 w 2175516"/>
                <a:gd name="connsiteY205" fmla="*/ 46965 h 126301"/>
                <a:gd name="connsiteX206" fmla="*/ 705006 w 2175516"/>
                <a:gd name="connsiteY206" fmla="*/ 41924 h 126301"/>
                <a:gd name="connsiteX207" fmla="*/ 718273 w 2175516"/>
                <a:gd name="connsiteY207" fmla="*/ 54129 h 126301"/>
                <a:gd name="connsiteX208" fmla="*/ 722784 w 2175516"/>
                <a:gd name="connsiteY208" fmla="*/ 54129 h 126301"/>
                <a:gd name="connsiteX209" fmla="*/ 722784 w 2175516"/>
                <a:gd name="connsiteY209" fmla="*/ 38739 h 126301"/>
                <a:gd name="connsiteX210" fmla="*/ 706864 w 2175516"/>
                <a:gd name="connsiteY210" fmla="*/ 36086 h 126301"/>
                <a:gd name="connsiteX211" fmla="*/ 684841 w 2175516"/>
                <a:gd name="connsiteY211" fmla="*/ 53599 h 126301"/>
                <a:gd name="connsiteX212" fmla="*/ 700761 w 2175516"/>
                <a:gd name="connsiteY212" fmla="*/ 72703 h 126301"/>
                <a:gd name="connsiteX213" fmla="*/ 711109 w 2175516"/>
                <a:gd name="connsiteY213" fmla="*/ 83582 h 126301"/>
                <a:gd name="connsiteX214" fmla="*/ 703945 w 2175516"/>
                <a:gd name="connsiteY214" fmla="*/ 90215 h 126301"/>
                <a:gd name="connsiteX215" fmla="*/ 689086 w 2175516"/>
                <a:gd name="connsiteY215" fmla="*/ 78275 h 126301"/>
                <a:gd name="connsiteX216" fmla="*/ 684841 w 2175516"/>
                <a:gd name="connsiteY216" fmla="*/ 78275 h 126301"/>
                <a:gd name="connsiteX217" fmla="*/ 686698 w 2175516"/>
                <a:gd name="connsiteY217" fmla="*/ 94461 h 126301"/>
                <a:gd name="connsiteX218" fmla="*/ 686698 w 2175516"/>
                <a:gd name="connsiteY218" fmla="*/ 94461 h 126301"/>
                <a:gd name="connsiteX219" fmla="*/ 769219 w 2175516"/>
                <a:gd name="connsiteY219" fmla="*/ 45108 h 126301"/>
                <a:gd name="connsiteX220" fmla="*/ 785670 w 2175516"/>
                <a:gd name="connsiteY220" fmla="*/ 45108 h 126301"/>
                <a:gd name="connsiteX221" fmla="*/ 787262 w 2175516"/>
                <a:gd name="connsiteY221" fmla="*/ 37413 h 126301"/>
                <a:gd name="connsiteX222" fmla="*/ 769219 w 2175516"/>
                <a:gd name="connsiteY222" fmla="*/ 37413 h 126301"/>
                <a:gd name="connsiteX223" fmla="*/ 769219 w 2175516"/>
                <a:gd name="connsiteY223" fmla="*/ 19900 h 126301"/>
                <a:gd name="connsiteX224" fmla="*/ 765504 w 2175516"/>
                <a:gd name="connsiteY224" fmla="*/ 19900 h 126301"/>
                <a:gd name="connsiteX225" fmla="*/ 744807 w 2175516"/>
                <a:gd name="connsiteY225" fmla="*/ 41393 h 126301"/>
                <a:gd name="connsiteX226" fmla="*/ 744807 w 2175516"/>
                <a:gd name="connsiteY226" fmla="*/ 45108 h 126301"/>
                <a:gd name="connsiteX227" fmla="*/ 752502 w 2175516"/>
                <a:gd name="connsiteY227" fmla="*/ 45108 h 126301"/>
                <a:gd name="connsiteX228" fmla="*/ 752502 w 2175516"/>
                <a:gd name="connsiteY228" fmla="*/ 78540 h 126301"/>
                <a:gd name="connsiteX229" fmla="*/ 768423 w 2175516"/>
                <a:gd name="connsiteY229" fmla="*/ 94991 h 126301"/>
                <a:gd name="connsiteX230" fmla="*/ 788854 w 2175516"/>
                <a:gd name="connsiteY230" fmla="*/ 83582 h 126301"/>
                <a:gd name="connsiteX231" fmla="*/ 786731 w 2175516"/>
                <a:gd name="connsiteY231" fmla="*/ 79336 h 126301"/>
                <a:gd name="connsiteX232" fmla="*/ 776383 w 2175516"/>
                <a:gd name="connsiteY232" fmla="*/ 86501 h 126301"/>
                <a:gd name="connsiteX233" fmla="*/ 769749 w 2175516"/>
                <a:gd name="connsiteY233" fmla="*/ 79336 h 126301"/>
                <a:gd name="connsiteX234" fmla="*/ 769749 w 2175516"/>
                <a:gd name="connsiteY234" fmla="*/ 45108 h 126301"/>
                <a:gd name="connsiteX235" fmla="*/ 769219 w 2175516"/>
                <a:gd name="connsiteY235" fmla="*/ 45108 h 126301"/>
                <a:gd name="connsiteX236" fmla="*/ 836084 w 2175516"/>
                <a:gd name="connsiteY236" fmla="*/ 90215 h 126301"/>
                <a:gd name="connsiteX237" fmla="*/ 827328 w 2175516"/>
                <a:gd name="connsiteY237" fmla="*/ 81459 h 126301"/>
                <a:gd name="connsiteX238" fmla="*/ 827328 w 2175516"/>
                <a:gd name="connsiteY238" fmla="*/ 34229 h 126301"/>
                <a:gd name="connsiteX239" fmla="*/ 825205 w 2175516"/>
                <a:gd name="connsiteY239" fmla="*/ 34229 h 126301"/>
                <a:gd name="connsiteX240" fmla="*/ 801059 w 2175516"/>
                <a:gd name="connsiteY240" fmla="*/ 42454 h 126301"/>
                <a:gd name="connsiteX241" fmla="*/ 801059 w 2175516"/>
                <a:gd name="connsiteY241" fmla="*/ 45638 h 126301"/>
                <a:gd name="connsiteX242" fmla="*/ 805305 w 2175516"/>
                <a:gd name="connsiteY242" fmla="*/ 47230 h 126301"/>
                <a:gd name="connsiteX243" fmla="*/ 810346 w 2175516"/>
                <a:gd name="connsiteY243" fmla="*/ 53333 h 126301"/>
                <a:gd name="connsiteX244" fmla="*/ 810346 w 2175516"/>
                <a:gd name="connsiteY244" fmla="*/ 80132 h 126301"/>
                <a:gd name="connsiteX245" fmla="*/ 802651 w 2175516"/>
                <a:gd name="connsiteY245" fmla="*/ 89950 h 126301"/>
                <a:gd name="connsiteX246" fmla="*/ 801059 w 2175516"/>
                <a:gd name="connsiteY246" fmla="*/ 89950 h 126301"/>
                <a:gd name="connsiteX247" fmla="*/ 801059 w 2175516"/>
                <a:gd name="connsiteY247" fmla="*/ 94461 h 126301"/>
                <a:gd name="connsiteX248" fmla="*/ 836084 w 2175516"/>
                <a:gd name="connsiteY248" fmla="*/ 94461 h 126301"/>
                <a:gd name="connsiteX249" fmla="*/ 836084 w 2175516"/>
                <a:gd name="connsiteY249" fmla="*/ 90215 h 126301"/>
                <a:gd name="connsiteX250" fmla="*/ 836084 w 2175516"/>
                <a:gd name="connsiteY250" fmla="*/ 90215 h 126301"/>
                <a:gd name="connsiteX251" fmla="*/ 818572 w 2175516"/>
                <a:gd name="connsiteY251" fmla="*/ 2388 h 126301"/>
                <a:gd name="connsiteX252" fmla="*/ 807162 w 2175516"/>
                <a:gd name="connsiteY252" fmla="*/ 11675 h 126301"/>
                <a:gd name="connsiteX253" fmla="*/ 818572 w 2175516"/>
                <a:gd name="connsiteY253" fmla="*/ 21492 h 126301"/>
                <a:gd name="connsiteX254" fmla="*/ 829451 w 2175516"/>
                <a:gd name="connsiteY254" fmla="*/ 11675 h 126301"/>
                <a:gd name="connsiteX255" fmla="*/ 818572 w 2175516"/>
                <a:gd name="connsiteY255" fmla="*/ 2388 h 126301"/>
                <a:gd name="connsiteX256" fmla="*/ 818572 w 2175516"/>
                <a:gd name="connsiteY256" fmla="*/ 2388 h 126301"/>
                <a:gd name="connsiteX257" fmla="*/ 876681 w 2175516"/>
                <a:gd name="connsiteY257" fmla="*/ 45108 h 126301"/>
                <a:gd name="connsiteX258" fmla="*/ 893132 w 2175516"/>
                <a:gd name="connsiteY258" fmla="*/ 45108 h 126301"/>
                <a:gd name="connsiteX259" fmla="*/ 894724 w 2175516"/>
                <a:gd name="connsiteY259" fmla="*/ 37413 h 126301"/>
                <a:gd name="connsiteX260" fmla="*/ 876681 w 2175516"/>
                <a:gd name="connsiteY260" fmla="*/ 37413 h 126301"/>
                <a:gd name="connsiteX261" fmla="*/ 876681 w 2175516"/>
                <a:gd name="connsiteY261" fmla="*/ 19900 h 126301"/>
                <a:gd name="connsiteX262" fmla="*/ 872966 w 2175516"/>
                <a:gd name="connsiteY262" fmla="*/ 19900 h 126301"/>
                <a:gd name="connsiteX263" fmla="*/ 852004 w 2175516"/>
                <a:gd name="connsiteY263" fmla="*/ 41393 h 126301"/>
                <a:gd name="connsiteX264" fmla="*/ 852004 w 2175516"/>
                <a:gd name="connsiteY264" fmla="*/ 45108 h 126301"/>
                <a:gd name="connsiteX265" fmla="*/ 859699 w 2175516"/>
                <a:gd name="connsiteY265" fmla="*/ 45108 h 126301"/>
                <a:gd name="connsiteX266" fmla="*/ 859699 w 2175516"/>
                <a:gd name="connsiteY266" fmla="*/ 78540 h 126301"/>
                <a:gd name="connsiteX267" fmla="*/ 875620 w 2175516"/>
                <a:gd name="connsiteY267" fmla="*/ 94991 h 126301"/>
                <a:gd name="connsiteX268" fmla="*/ 896051 w 2175516"/>
                <a:gd name="connsiteY268" fmla="*/ 83582 h 126301"/>
                <a:gd name="connsiteX269" fmla="*/ 893928 w 2175516"/>
                <a:gd name="connsiteY269" fmla="*/ 79336 h 126301"/>
                <a:gd name="connsiteX270" fmla="*/ 883580 w 2175516"/>
                <a:gd name="connsiteY270" fmla="*/ 86501 h 126301"/>
                <a:gd name="connsiteX271" fmla="*/ 876946 w 2175516"/>
                <a:gd name="connsiteY271" fmla="*/ 79336 h 126301"/>
                <a:gd name="connsiteX272" fmla="*/ 876946 w 2175516"/>
                <a:gd name="connsiteY272" fmla="*/ 45108 h 126301"/>
                <a:gd name="connsiteX273" fmla="*/ 876681 w 2175516"/>
                <a:gd name="connsiteY273" fmla="*/ 45108 h 126301"/>
                <a:gd name="connsiteX274" fmla="*/ 957344 w 2175516"/>
                <a:gd name="connsiteY274" fmla="*/ 94991 h 126301"/>
                <a:gd name="connsiteX275" fmla="*/ 959998 w 2175516"/>
                <a:gd name="connsiteY275" fmla="*/ 94991 h 126301"/>
                <a:gd name="connsiteX276" fmla="*/ 982551 w 2175516"/>
                <a:gd name="connsiteY276" fmla="*/ 90746 h 126301"/>
                <a:gd name="connsiteX277" fmla="*/ 982551 w 2175516"/>
                <a:gd name="connsiteY277" fmla="*/ 86235 h 126301"/>
                <a:gd name="connsiteX278" fmla="*/ 978837 w 2175516"/>
                <a:gd name="connsiteY278" fmla="*/ 86766 h 126301"/>
                <a:gd name="connsiteX279" fmla="*/ 974326 w 2175516"/>
                <a:gd name="connsiteY279" fmla="*/ 78540 h 126301"/>
                <a:gd name="connsiteX280" fmla="*/ 974326 w 2175516"/>
                <a:gd name="connsiteY280" fmla="*/ 35821 h 126301"/>
                <a:gd name="connsiteX281" fmla="*/ 971672 w 2175516"/>
                <a:gd name="connsiteY281" fmla="*/ 35821 h 126301"/>
                <a:gd name="connsiteX282" fmla="*/ 945935 w 2175516"/>
                <a:gd name="connsiteY282" fmla="*/ 40862 h 126301"/>
                <a:gd name="connsiteX283" fmla="*/ 945935 w 2175516"/>
                <a:gd name="connsiteY283" fmla="*/ 44046 h 126301"/>
                <a:gd name="connsiteX284" fmla="*/ 952568 w 2175516"/>
                <a:gd name="connsiteY284" fmla="*/ 46169 h 126301"/>
                <a:gd name="connsiteX285" fmla="*/ 957609 w 2175516"/>
                <a:gd name="connsiteY285" fmla="*/ 54395 h 126301"/>
                <a:gd name="connsiteX286" fmla="*/ 957609 w 2175516"/>
                <a:gd name="connsiteY286" fmla="*/ 79602 h 126301"/>
                <a:gd name="connsiteX287" fmla="*/ 943281 w 2175516"/>
                <a:gd name="connsiteY287" fmla="*/ 85174 h 126301"/>
                <a:gd name="connsiteX288" fmla="*/ 933994 w 2175516"/>
                <a:gd name="connsiteY288" fmla="*/ 71376 h 126301"/>
                <a:gd name="connsiteX289" fmla="*/ 933994 w 2175516"/>
                <a:gd name="connsiteY289" fmla="*/ 35821 h 126301"/>
                <a:gd name="connsiteX290" fmla="*/ 931341 w 2175516"/>
                <a:gd name="connsiteY290" fmla="*/ 35821 h 126301"/>
                <a:gd name="connsiteX291" fmla="*/ 911175 w 2175516"/>
                <a:gd name="connsiteY291" fmla="*/ 40862 h 126301"/>
                <a:gd name="connsiteX292" fmla="*/ 911175 w 2175516"/>
                <a:gd name="connsiteY292" fmla="*/ 44046 h 126301"/>
                <a:gd name="connsiteX293" fmla="*/ 914359 w 2175516"/>
                <a:gd name="connsiteY293" fmla="*/ 45638 h 126301"/>
                <a:gd name="connsiteX294" fmla="*/ 917013 w 2175516"/>
                <a:gd name="connsiteY294" fmla="*/ 53333 h 126301"/>
                <a:gd name="connsiteX295" fmla="*/ 917013 w 2175516"/>
                <a:gd name="connsiteY295" fmla="*/ 76948 h 126301"/>
                <a:gd name="connsiteX296" fmla="*/ 932402 w 2175516"/>
                <a:gd name="connsiteY296" fmla="*/ 94991 h 126301"/>
                <a:gd name="connsiteX297" fmla="*/ 957609 w 2175516"/>
                <a:gd name="connsiteY297" fmla="*/ 84643 h 126301"/>
                <a:gd name="connsiteX298" fmla="*/ 957609 w 2175516"/>
                <a:gd name="connsiteY298" fmla="*/ 94991 h 126301"/>
                <a:gd name="connsiteX299" fmla="*/ 957344 w 2175516"/>
                <a:gd name="connsiteY299" fmla="*/ 94991 h 126301"/>
                <a:gd name="connsiteX300" fmla="*/ 1023679 w 2175516"/>
                <a:gd name="connsiteY300" fmla="*/ 45108 h 126301"/>
                <a:gd name="connsiteX301" fmla="*/ 1040130 w 2175516"/>
                <a:gd name="connsiteY301" fmla="*/ 45108 h 126301"/>
                <a:gd name="connsiteX302" fmla="*/ 1041722 w 2175516"/>
                <a:gd name="connsiteY302" fmla="*/ 37413 h 126301"/>
                <a:gd name="connsiteX303" fmla="*/ 1023679 w 2175516"/>
                <a:gd name="connsiteY303" fmla="*/ 37413 h 126301"/>
                <a:gd name="connsiteX304" fmla="*/ 1023679 w 2175516"/>
                <a:gd name="connsiteY304" fmla="*/ 19900 h 126301"/>
                <a:gd name="connsiteX305" fmla="*/ 1019964 w 2175516"/>
                <a:gd name="connsiteY305" fmla="*/ 19900 h 126301"/>
                <a:gd name="connsiteX306" fmla="*/ 999002 w 2175516"/>
                <a:gd name="connsiteY306" fmla="*/ 41393 h 126301"/>
                <a:gd name="connsiteX307" fmla="*/ 999002 w 2175516"/>
                <a:gd name="connsiteY307" fmla="*/ 45108 h 126301"/>
                <a:gd name="connsiteX308" fmla="*/ 1006697 w 2175516"/>
                <a:gd name="connsiteY308" fmla="*/ 45108 h 126301"/>
                <a:gd name="connsiteX309" fmla="*/ 1006697 w 2175516"/>
                <a:gd name="connsiteY309" fmla="*/ 78540 h 126301"/>
                <a:gd name="connsiteX310" fmla="*/ 1022618 w 2175516"/>
                <a:gd name="connsiteY310" fmla="*/ 94991 h 126301"/>
                <a:gd name="connsiteX311" fmla="*/ 1043049 w 2175516"/>
                <a:gd name="connsiteY311" fmla="*/ 83582 h 126301"/>
                <a:gd name="connsiteX312" fmla="*/ 1040926 w 2175516"/>
                <a:gd name="connsiteY312" fmla="*/ 79336 h 126301"/>
                <a:gd name="connsiteX313" fmla="*/ 1030578 w 2175516"/>
                <a:gd name="connsiteY313" fmla="*/ 86501 h 126301"/>
                <a:gd name="connsiteX314" fmla="*/ 1023944 w 2175516"/>
                <a:gd name="connsiteY314" fmla="*/ 79336 h 126301"/>
                <a:gd name="connsiteX315" fmla="*/ 1023944 w 2175516"/>
                <a:gd name="connsiteY315" fmla="*/ 45108 h 126301"/>
                <a:gd name="connsiteX316" fmla="*/ 1023679 w 2175516"/>
                <a:gd name="connsiteY316" fmla="*/ 45108 h 126301"/>
                <a:gd name="connsiteX317" fmla="*/ 1111506 w 2175516"/>
                <a:gd name="connsiteY317" fmla="*/ 75356 h 126301"/>
                <a:gd name="connsiteX318" fmla="*/ 1094525 w 2175516"/>
                <a:gd name="connsiteY318" fmla="*/ 85705 h 126301"/>
                <a:gd name="connsiteX319" fmla="*/ 1077543 w 2175516"/>
                <a:gd name="connsiteY319" fmla="*/ 64743 h 126301"/>
                <a:gd name="connsiteX320" fmla="*/ 1116548 w 2175516"/>
                <a:gd name="connsiteY320" fmla="*/ 64743 h 126301"/>
                <a:gd name="connsiteX321" fmla="*/ 1116548 w 2175516"/>
                <a:gd name="connsiteY321" fmla="*/ 61028 h 126301"/>
                <a:gd name="connsiteX322" fmla="*/ 1113364 w 2175516"/>
                <a:gd name="connsiteY322" fmla="*/ 54925 h 126301"/>
                <a:gd name="connsiteX323" fmla="*/ 1107261 w 2175516"/>
                <a:gd name="connsiteY323" fmla="*/ 42189 h 126301"/>
                <a:gd name="connsiteX324" fmla="*/ 1089748 w 2175516"/>
                <a:gd name="connsiteY324" fmla="*/ 35555 h 126301"/>
                <a:gd name="connsiteX325" fmla="*/ 1059500 w 2175516"/>
                <a:gd name="connsiteY325" fmla="*/ 66865 h 126301"/>
                <a:gd name="connsiteX326" fmla="*/ 1085238 w 2175516"/>
                <a:gd name="connsiteY326" fmla="*/ 94726 h 126301"/>
                <a:gd name="connsiteX327" fmla="*/ 1114956 w 2175516"/>
                <a:gd name="connsiteY327" fmla="*/ 77744 h 126301"/>
                <a:gd name="connsiteX328" fmla="*/ 1111506 w 2175516"/>
                <a:gd name="connsiteY328" fmla="*/ 75356 h 126301"/>
                <a:gd name="connsiteX329" fmla="*/ 1111506 w 2175516"/>
                <a:gd name="connsiteY329" fmla="*/ 75356 h 126301"/>
                <a:gd name="connsiteX330" fmla="*/ 1076747 w 2175516"/>
                <a:gd name="connsiteY330" fmla="*/ 59967 h 126301"/>
                <a:gd name="connsiteX331" fmla="*/ 1086564 w 2175516"/>
                <a:gd name="connsiteY331" fmla="*/ 42454 h 126301"/>
                <a:gd name="connsiteX332" fmla="*/ 1096382 w 2175516"/>
                <a:gd name="connsiteY332" fmla="*/ 59967 h 126301"/>
                <a:gd name="connsiteX333" fmla="*/ 1076747 w 2175516"/>
                <a:gd name="connsiteY333" fmla="*/ 59967 h 126301"/>
                <a:gd name="connsiteX334" fmla="*/ 1076747 w 2175516"/>
                <a:gd name="connsiteY334" fmla="*/ 59967 h 126301"/>
                <a:gd name="connsiteX335" fmla="*/ 1172800 w 2175516"/>
                <a:gd name="connsiteY335" fmla="*/ 66600 h 126301"/>
                <a:gd name="connsiteX336" fmla="*/ 1205702 w 2175516"/>
                <a:gd name="connsiteY336" fmla="*/ 94991 h 126301"/>
                <a:gd name="connsiteX337" fmla="*/ 1241257 w 2175516"/>
                <a:gd name="connsiteY337" fmla="*/ 64743 h 126301"/>
                <a:gd name="connsiteX338" fmla="*/ 1207824 w 2175516"/>
                <a:gd name="connsiteY338" fmla="*/ 35555 h 126301"/>
                <a:gd name="connsiteX339" fmla="*/ 1172800 w 2175516"/>
                <a:gd name="connsiteY339" fmla="*/ 66600 h 126301"/>
                <a:gd name="connsiteX340" fmla="*/ 1172800 w 2175516"/>
                <a:gd name="connsiteY340" fmla="*/ 66600 h 126301"/>
                <a:gd name="connsiteX341" fmla="*/ 1191639 w 2175516"/>
                <a:gd name="connsiteY341" fmla="*/ 58375 h 126301"/>
                <a:gd name="connsiteX342" fmla="*/ 1204906 w 2175516"/>
                <a:gd name="connsiteY342" fmla="*/ 41924 h 126301"/>
                <a:gd name="connsiteX343" fmla="*/ 1222949 w 2175516"/>
                <a:gd name="connsiteY343" fmla="*/ 72703 h 126301"/>
                <a:gd name="connsiteX344" fmla="*/ 1210212 w 2175516"/>
                <a:gd name="connsiteY344" fmla="*/ 90215 h 126301"/>
                <a:gd name="connsiteX345" fmla="*/ 1191639 w 2175516"/>
                <a:gd name="connsiteY345" fmla="*/ 58375 h 126301"/>
                <a:gd name="connsiteX346" fmla="*/ 1191639 w 2175516"/>
                <a:gd name="connsiteY346" fmla="*/ 58375 h 126301"/>
                <a:gd name="connsiteX347" fmla="*/ 1284773 w 2175516"/>
                <a:gd name="connsiteY347" fmla="*/ 44577 h 126301"/>
                <a:gd name="connsiteX348" fmla="*/ 1298040 w 2175516"/>
                <a:gd name="connsiteY348" fmla="*/ 44577 h 126301"/>
                <a:gd name="connsiteX349" fmla="*/ 1299101 w 2175516"/>
                <a:gd name="connsiteY349" fmla="*/ 37413 h 126301"/>
                <a:gd name="connsiteX350" fmla="*/ 1284773 w 2175516"/>
                <a:gd name="connsiteY350" fmla="*/ 37413 h 126301"/>
                <a:gd name="connsiteX351" fmla="*/ 1284773 w 2175516"/>
                <a:gd name="connsiteY351" fmla="*/ 23084 h 126301"/>
                <a:gd name="connsiteX352" fmla="*/ 1296182 w 2175516"/>
                <a:gd name="connsiteY352" fmla="*/ 8226 h 126301"/>
                <a:gd name="connsiteX353" fmla="*/ 1308388 w 2175516"/>
                <a:gd name="connsiteY353" fmla="*/ 14859 h 126301"/>
                <a:gd name="connsiteX354" fmla="*/ 1314491 w 2175516"/>
                <a:gd name="connsiteY354" fmla="*/ 18574 h 126301"/>
                <a:gd name="connsiteX355" fmla="*/ 1317144 w 2175516"/>
                <a:gd name="connsiteY355" fmla="*/ 16451 h 126301"/>
                <a:gd name="connsiteX356" fmla="*/ 1321655 w 2175516"/>
                <a:gd name="connsiteY356" fmla="*/ 10879 h 126301"/>
                <a:gd name="connsiteX357" fmla="*/ 1322716 w 2175516"/>
                <a:gd name="connsiteY357" fmla="*/ 8756 h 126301"/>
                <a:gd name="connsiteX358" fmla="*/ 1304673 w 2175516"/>
                <a:gd name="connsiteY358" fmla="*/ 0 h 126301"/>
                <a:gd name="connsiteX359" fmla="*/ 1268587 w 2175516"/>
                <a:gd name="connsiteY359" fmla="*/ 37413 h 126301"/>
                <a:gd name="connsiteX360" fmla="*/ 1257708 w 2175516"/>
                <a:gd name="connsiteY360" fmla="*/ 41924 h 126301"/>
                <a:gd name="connsiteX361" fmla="*/ 1257708 w 2175516"/>
                <a:gd name="connsiteY361" fmla="*/ 44577 h 126301"/>
                <a:gd name="connsiteX362" fmla="*/ 1268056 w 2175516"/>
                <a:gd name="connsiteY362" fmla="*/ 44577 h 126301"/>
                <a:gd name="connsiteX363" fmla="*/ 1268056 w 2175516"/>
                <a:gd name="connsiteY363" fmla="*/ 80132 h 126301"/>
                <a:gd name="connsiteX364" fmla="*/ 1260362 w 2175516"/>
                <a:gd name="connsiteY364" fmla="*/ 89950 h 126301"/>
                <a:gd name="connsiteX365" fmla="*/ 1257708 w 2175516"/>
                <a:gd name="connsiteY365" fmla="*/ 89950 h 126301"/>
                <a:gd name="connsiteX366" fmla="*/ 1257708 w 2175516"/>
                <a:gd name="connsiteY366" fmla="*/ 94461 h 126301"/>
                <a:gd name="connsiteX367" fmla="*/ 1300162 w 2175516"/>
                <a:gd name="connsiteY367" fmla="*/ 94461 h 126301"/>
                <a:gd name="connsiteX368" fmla="*/ 1300162 w 2175516"/>
                <a:gd name="connsiteY368" fmla="*/ 89950 h 126301"/>
                <a:gd name="connsiteX369" fmla="*/ 1296978 w 2175516"/>
                <a:gd name="connsiteY369" fmla="*/ 89950 h 126301"/>
                <a:gd name="connsiteX370" fmla="*/ 1285038 w 2175516"/>
                <a:gd name="connsiteY370" fmla="*/ 79071 h 126301"/>
                <a:gd name="connsiteX371" fmla="*/ 1285038 w 2175516"/>
                <a:gd name="connsiteY371" fmla="*/ 44577 h 126301"/>
                <a:gd name="connsiteX372" fmla="*/ 1284773 w 2175516"/>
                <a:gd name="connsiteY372" fmla="*/ 44577 h 126301"/>
                <a:gd name="connsiteX373" fmla="*/ 1408686 w 2175516"/>
                <a:gd name="connsiteY373" fmla="*/ 14328 h 126301"/>
                <a:gd name="connsiteX374" fmla="*/ 1425137 w 2175516"/>
                <a:gd name="connsiteY374" fmla="*/ 14328 h 126301"/>
                <a:gd name="connsiteX375" fmla="*/ 1436016 w 2175516"/>
                <a:gd name="connsiteY375" fmla="*/ 16982 h 126301"/>
                <a:gd name="connsiteX376" fmla="*/ 1440527 w 2175516"/>
                <a:gd name="connsiteY376" fmla="*/ 30779 h 126301"/>
                <a:gd name="connsiteX377" fmla="*/ 1446099 w 2175516"/>
                <a:gd name="connsiteY377" fmla="*/ 30779 h 126301"/>
                <a:gd name="connsiteX378" fmla="*/ 1443976 w 2175516"/>
                <a:gd name="connsiteY378" fmla="*/ 4511 h 126301"/>
                <a:gd name="connsiteX379" fmla="*/ 1438935 w 2175516"/>
                <a:gd name="connsiteY379" fmla="*/ 4511 h 126301"/>
                <a:gd name="connsiteX380" fmla="*/ 1432301 w 2175516"/>
                <a:gd name="connsiteY380" fmla="*/ 7164 h 126301"/>
                <a:gd name="connsiteX381" fmla="*/ 1365436 w 2175516"/>
                <a:gd name="connsiteY381" fmla="*/ 7164 h 126301"/>
                <a:gd name="connsiteX382" fmla="*/ 1361721 w 2175516"/>
                <a:gd name="connsiteY382" fmla="*/ 6633 h 126301"/>
                <a:gd name="connsiteX383" fmla="*/ 1359068 w 2175516"/>
                <a:gd name="connsiteY383" fmla="*/ 4511 h 126301"/>
                <a:gd name="connsiteX384" fmla="*/ 1354557 w 2175516"/>
                <a:gd name="connsiteY384" fmla="*/ 4511 h 126301"/>
                <a:gd name="connsiteX385" fmla="*/ 1351904 w 2175516"/>
                <a:gd name="connsiteY385" fmla="*/ 30779 h 126301"/>
                <a:gd name="connsiteX386" fmla="*/ 1358006 w 2175516"/>
                <a:gd name="connsiteY386" fmla="*/ 30779 h 126301"/>
                <a:gd name="connsiteX387" fmla="*/ 1362517 w 2175516"/>
                <a:gd name="connsiteY387" fmla="*/ 16982 h 126301"/>
                <a:gd name="connsiteX388" fmla="*/ 1372865 w 2175516"/>
                <a:gd name="connsiteY388" fmla="*/ 14328 h 126301"/>
                <a:gd name="connsiteX389" fmla="*/ 1389847 w 2175516"/>
                <a:gd name="connsiteY389" fmla="*/ 14328 h 126301"/>
                <a:gd name="connsiteX390" fmla="*/ 1389847 w 2175516"/>
                <a:gd name="connsiteY390" fmla="*/ 78540 h 126301"/>
                <a:gd name="connsiteX391" fmla="*/ 1378968 w 2175516"/>
                <a:gd name="connsiteY391" fmla="*/ 88889 h 126301"/>
                <a:gd name="connsiteX392" fmla="*/ 1373927 w 2175516"/>
                <a:gd name="connsiteY392" fmla="*/ 88889 h 126301"/>
                <a:gd name="connsiteX393" fmla="*/ 1373927 w 2175516"/>
                <a:gd name="connsiteY393" fmla="*/ 94461 h 126301"/>
                <a:gd name="connsiteX394" fmla="*/ 1424341 w 2175516"/>
                <a:gd name="connsiteY394" fmla="*/ 94461 h 126301"/>
                <a:gd name="connsiteX395" fmla="*/ 1424341 w 2175516"/>
                <a:gd name="connsiteY395" fmla="*/ 89154 h 126301"/>
                <a:gd name="connsiteX396" fmla="*/ 1421157 w 2175516"/>
                <a:gd name="connsiteY396" fmla="*/ 89154 h 126301"/>
                <a:gd name="connsiteX397" fmla="*/ 1409217 w 2175516"/>
                <a:gd name="connsiteY397" fmla="*/ 78806 h 126301"/>
                <a:gd name="connsiteX398" fmla="*/ 1409217 w 2175516"/>
                <a:gd name="connsiteY398" fmla="*/ 14328 h 126301"/>
                <a:gd name="connsiteX399" fmla="*/ 1408686 w 2175516"/>
                <a:gd name="connsiteY399" fmla="*/ 14328 h 126301"/>
                <a:gd name="connsiteX400" fmla="*/ 1517475 w 2175516"/>
                <a:gd name="connsiteY400" fmla="*/ 75356 h 126301"/>
                <a:gd name="connsiteX401" fmla="*/ 1500494 w 2175516"/>
                <a:gd name="connsiteY401" fmla="*/ 85705 h 126301"/>
                <a:gd name="connsiteX402" fmla="*/ 1483512 w 2175516"/>
                <a:gd name="connsiteY402" fmla="*/ 64743 h 126301"/>
                <a:gd name="connsiteX403" fmla="*/ 1522517 w 2175516"/>
                <a:gd name="connsiteY403" fmla="*/ 64743 h 126301"/>
                <a:gd name="connsiteX404" fmla="*/ 1522517 w 2175516"/>
                <a:gd name="connsiteY404" fmla="*/ 61028 h 126301"/>
                <a:gd name="connsiteX405" fmla="*/ 1519333 w 2175516"/>
                <a:gd name="connsiteY405" fmla="*/ 54925 h 126301"/>
                <a:gd name="connsiteX406" fmla="*/ 1513230 w 2175516"/>
                <a:gd name="connsiteY406" fmla="*/ 42189 h 126301"/>
                <a:gd name="connsiteX407" fmla="*/ 1495717 w 2175516"/>
                <a:gd name="connsiteY407" fmla="*/ 35555 h 126301"/>
                <a:gd name="connsiteX408" fmla="*/ 1465469 w 2175516"/>
                <a:gd name="connsiteY408" fmla="*/ 66865 h 126301"/>
                <a:gd name="connsiteX409" fmla="*/ 1491207 w 2175516"/>
                <a:gd name="connsiteY409" fmla="*/ 94726 h 126301"/>
                <a:gd name="connsiteX410" fmla="*/ 1520925 w 2175516"/>
                <a:gd name="connsiteY410" fmla="*/ 77744 h 126301"/>
                <a:gd name="connsiteX411" fmla="*/ 1517475 w 2175516"/>
                <a:gd name="connsiteY411" fmla="*/ 75356 h 126301"/>
                <a:gd name="connsiteX412" fmla="*/ 1517475 w 2175516"/>
                <a:gd name="connsiteY412" fmla="*/ 75356 h 126301"/>
                <a:gd name="connsiteX413" fmla="*/ 1482716 w 2175516"/>
                <a:gd name="connsiteY413" fmla="*/ 59967 h 126301"/>
                <a:gd name="connsiteX414" fmla="*/ 1492533 w 2175516"/>
                <a:gd name="connsiteY414" fmla="*/ 42454 h 126301"/>
                <a:gd name="connsiteX415" fmla="*/ 1502351 w 2175516"/>
                <a:gd name="connsiteY415" fmla="*/ 59967 h 126301"/>
                <a:gd name="connsiteX416" fmla="*/ 1482716 w 2175516"/>
                <a:gd name="connsiteY416" fmla="*/ 59967 h 126301"/>
                <a:gd name="connsiteX417" fmla="*/ 1482716 w 2175516"/>
                <a:gd name="connsiteY417" fmla="*/ 59967 h 126301"/>
                <a:gd name="connsiteX418" fmla="*/ 1595750 w 2175516"/>
                <a:gd name="connsiteY418" fmla="*/ 78540 h 126301"/>
                <a:gd name="connsiteX419" fmla="*/ 1577707 w 2175516"/>
                <a:gd name="connsiteY419" fmla="*/ 88889 h 126301"/>
                <a:gd name="connsiteX420" fmla="*/ 1560195 w 2175516"/>
                <a:gd name="connsiteY420" fmla="*/ 63151 h 126301"/>
                <a:gd name="connsiteX421" fmla="*/ 1572135 w 2175516"/>
                <a:gd name="connsiteY421" fmla="*/ 42189 h 126301"/>
                <a:gd name="connsiteX422" fmla="*/ 1580891 w 2175516"/>
                <a:gd name="connsiteY422" fmla="*/ 47761 h 126301"/>
                <a:gd name="connsiteX423" fmla="*/ 1591770 w 2175516"/>
                <a:gd name="connsiteY423" fmla="*/ 54395 h 126301"/>
                <a:gd name="connsiteX424" fmla="*/ 1598934 w 2175516"/>
                <a:gd name="connsiteY424" fmla="*/ 47230 h 126301"/>
                <a:gd name="connsiteX425" fmla="*/ 1577973 w 2175516"/>
                <a:gd name="connsiteY425" fmla="*/ 35821 h 126301"/>
                <a:gd name="connsiteX426" fmla="*/ 1541356 w 2175516"/>
                <a:gd name="connsiteY426" fmla="*/ 68192 h 126301"/>
                <a:gd name="connsiteX427" fmla="*/ 1571074 w 2175516"/>
                <a:gd name="connsiteY427" fmla="*/ 94991 h 126301"/>
                <a:gd name="connsiteX428" fmla="*/ 1599731 w 2175516"/>
                <a:gd name="connsiteY428" fmla="*/ 80663 h 126301"/>
                <a:gd name="connsiteX429" fmla="*/ 1595750 w 2175516"/>
                <a:gd name="connsiteY429" fmla="*/ 78540 h 126301"/>
                <a:gd name="connsiteX430" fmla="*/ 1595750 w 2175516"/>
                <a:gd name="connsiteY430" fmla="*/ 78540 h 126301"/>
                <a:gd name="connsiteX431" fmla="*/ 1641389 w 2175516"/>
                <a:gd name="connsiteY431" fmla="*/ 51741 h 126301"/>
                <a:gd name="connsiteX432" fmla="*/ 1655717 w 2175516"/>
                <a:gd name="connsiteY432" fmla="*/ 46169 h 126301"/>
                <a:gd name="connsiteX433" fmla="*/ 1665004 w 2175516"/>
                <a:gd name="connsiteY433" fmla="*/ 58375 h 126301"/>
                <a:gd name="connsiteX434" fmla="*/ 1665004 w 2175516"/>
                <a:gd name="connsiteY434" fmla="*/ 79867 h 126301"/>
                <a:gd name="connsiteX435" fmla="*/ 1657840 w 2175516"/>
                <a:gd name="connsiteY435" fmla="*/ 90215 h 126301"/>
                <a:gd name="connsiteX436" fmla="*/ 1656778 w 2175516"/>
                <a:gd name="connsiteY436" fmla="*/ 90215 h 126301"/>
                <a:gd name="connsiteX437" fmla="*/ 1656778 w 2175516"/>
                <a:gd name="connsiteY437" fmla="*/ 94726 h 126301"/>
                <a:gd name="connsiteX438" fmla="*/ 1689681 w 2175516"/>
                <a:gd name="connsiteY438" fmla="*/ 94726 h 126301"/>
                <a:gd name="connsiteX439" fmla="*/ 1689681 w 2175516"/>
                <a:gd name="connsiteY439" fmla="*/ 90215 h 126301"/>
                <a:gd name="connsiteX440" fmla="*/ 1688619 w 2175516"/>
                <a:gd name="connsiteY440" fmla="*/ 90215 h 126301"/>
                <a:gd name="connsiteX441" fmla="*/ 1681986 w 2175516"/>
                <a:gd name="connsiteY441" fmla="*/ 79336 h 126301"/>
                <a:gd name="connsiteX442" fmla="*/ 1681986 w 2175516"/>
                <a:gd name="connsiteY442" fmla="*/ 60763 h 126301"/>
                <a:gd name="connsiteX443" fmla="*/ 1666596 w 2175516"/>
                <a:gd name="connsiteY443" fmla="*/ 36086 h 126301"/>
                <a:gd name="connsiteX444" fmla="*/ 1641389 w 2175516"/>
                <a:gd name="connsiteY444" fmla="*/ 46434 h 126301"/>
                <a:gd name="connsiteX445" fmla="*/ 1641389 w 2175516"/>
                <a:gd name="connsiteY445" fmla="*/ 796 h 126301"/>
                <a:gd name="connsiteX446" fmla="*/ 1638205 w 2175516"/>
                <a:gd name="connsiteY446" fmla="*/ 796 h 126301"/>
                <a:gd name="connsiteX447" fmla="*/ 1615651 w 2175516"/>
                <a:gd name="connsiteY447" fmla="*/ 7430 h 126301"/>
                <a:gd name="connsiteX448" fmla="*/ 1615651 w 2175516"/>
                <a:gd name="connsiteY448" fmla="*/ 10614 h 126301"/>
                <a:gd name="connsiteX449" fmla="*/ 1619896 w 2175516"/>
                <a:gd name="connsiteY449" fmla="*/ 12206 h 126301"/>
                <a:gd name="connsiteX450" fmla="*/ 1624407 w 2175516"/>
                <a:gd name="connsiteY450" fmla="*/ 18308 h 126301"/>
                <a:gd name="connsiteX451" fmla="*/ 1624407 w 2175516"/>
                <a:gd name="connsiteY451" fmla="*/ 79867 h 126301"/>
                <a:gd name="connsiteX452" fmla="*/ 1616712 w 2175516"/>
                <a:gd name="connsiteY452" fmla="*/ 90215 h 126301"/>
                <a:gd name="connsiteX453" fmla="*/ 1614589 w 2175516"/>
                <a:gd name="connsiteY453" fmla="*/ 90215 h 126301"/>
                <a:gd name="connsiteX454" fmla="*/ 1614589 w 2175516"/>
                <a:gd name="connsiteY454" fmla="*/ 94726 h 126301"/>
                <a:gd name="connsiteX455" fmla="*/ 1650145 w 2175516"/>
                <a:gd name="connsiteY455" fmla="*/ 94726 h 126301"/>
                <a:gd name="connsiteX456" fmla="*/ 1650145 w 2175516"/>
                <a:gd name="connsiteY456" fmla="*/ 90215 h 126301"/>
                <a:gd name="connsiteX457" fmla="*/ 1649084 w 2175516"/>
                <a:gd name="connsiteY457" fmla="*/ 90215 h 126301"/>
                <a:gd name="connsiteX458" fmla="*/ 1641389 w 2175516"/>
                <a:gd name="connsiteY458" fmla="*/ 80398 h 126301"/>
                <a:gd name="connsiteX459" fmla="*/ 1641389 w 2175516"/>
                <a:gd name="connsiteY459" fmla="*/ 51741 h 126301"/>
                <a:gd name="connsiteX460" fmla="*/ 1641389 w 2175516"/>
                <a:gd name="connsiteY460" fmla="*/ 51741 h 126301"/>
                <a:gd name="connsiteX461" fmla="*/ 1771405 w 2175516"/>
                <a:gd name="connsiteY461" fmla="*/ 59967 h 126301"/>
                <a:gd name="connsiteX462" fmla="*/ 1756546 w 2175516"/>
                <a:gd name="connsiteY462" fmla="*/ 35821 h 126301"/>
                <a:gd name="connsiteX463" fmla="*/ 1730277 w 2175516"/>
                <a:gd name="connsiteY463" fmla="*/ 46700 h 126301"/>
                <a:gd name="connsiteX464" fmla="*/ 1730277 w 2175516"/>
                <a:gd name="connsiteY464" fmla="*/ 33963 h 126301"/>
                <a:gd name="connsiteX465" fmla="*/ 1728155 w 2175516"/>
                <a:gd name="connsiteY465" fmla="*/ 33963 h 126301"/>
                <a:gd name="connsiteX466" fmla="*/ 1704009 w 2175516"/>
                <a:gd name="connsiteY466" fmla="*/ 42189 h 126301"/>
                <a:gd name="connsiteX467" fmla="*/ 1704009 w 2175516"/>
                <a:gd name="connsiteY467" fmla="*/ 45373 h 126301"/>
                <a:gd name="connsiteX468" fmla="*/ 1706662 w 2175516"/>
                <a:gd name="connsiteY468" fmla="*/ 45904 h 126301"/>
                <a:gd name="connsiteX469" fmla="*/ 1713296 w 2175516"/>
                <a:gd name="connsiteY469" fmla="*/ 52537 h 126301"/>
                <a:gd name="connsiteX470" fmla="*/ 1713296 w 2175516"/>
                <a:gd name="connsiteY470" fmla="*/ 79867 h 126301"/>
                <a:gd name="connsiteX471" fmla="*/ 1705601 w 2175516"/>
                <a:gd name="connsiteY471" fmla="*/ 89685 h 126301"/>
                <a:gd name="connsiteX472" fmla="*/ 1704539 w 2175516"/>
                <a:gd name="connsiteY472" fmla="*/ 89685 h 126301"/>
                <a:gd name="connsiteX473" fmla="*/ 1704539 w 2175516"/>
                <a:gd name="connsiteY473" fmla="*/ 94195 h 126301"/>
                <a:gd name="connsiteX474" fmla="*/ 1740095 w 2175516"/>
                <a:gd name="connsiteY474" fmla="*/ 94195 h 126301"/>
                <a:gd name="connsiteX475" fmla="*/ 1740095 w 2175516"/>
                <a:gd name="connsiteY475" fmla="*/ 89685 h 126301"/>
                <a:gd name="connsiteX476" fmla="*/ 1739034 w 2175516"/>
                <a:gd name="connsiteY476" fmla="*/ 89685 h 126301"/>
                <a:gd name="connsiteX477" fmla="*/ 1730277 w 2175516"/>
                <a:gd name="connsiteY477" fmla="*/ 80398 h 126301"/>
                <a:gd name="connsiteX478" fmla="*/ 1730277 w 2175516"/>
                <a:gd name="connsiteY478" fmla="*/ 51741 h 126301"/>
                <a:gd name="connsiteX479" fmla="*/ 1745667 w 2175516"/>
                <a:gd name="connsiteY479" fmla="*/ 45638 h 126301"/>
                <a:gd name="connsiteX480" fmla="*/ 1753893 w 2175516"/>
                <a:gd name="connsiteY480" fmla="*/ 61559 h 126301"/>
                <a:gd name="connsiteX481" fmla="*/ 1753893 w 2175516"/>
                <a:gd name="connsiteY481" fmla="*/ 73764 h 126301"/>
                <a:gd name="connsiteX482" fmla="*/ 1746198 w 2175516"/>
                <a:gd name="connsiteY482" fmla="*/ 89685 h 126301"/>
                <a:gd name="connsiteX483" fmla="*/ 1746198 w 2175516"/>
                <a:gd name="connsiteY483" fmla="*/ 94195 h 126301"/>
                <a:gd name="connsiteX484" fmla="*/ 1779100 w 2175516"/>
                <a:gd name="connsiteY484" fmla="*/ 94195 h 126301"/>
                <a:gd name="connsiteX485" fmla="*/ 1779100 w 2175516"/>
                <a:gd name="connsiteY485" fmla="*/ 89685 h 126301"/>
                <a:gd name="connsiteX486" fmla="*/ 1771405 w 2175516"/>
                <a:gd name="connsiteY486" fmla="*/ 81459 h 126301"/>
                <a:gd name="connsiteX487" fmla="*/ 1771405 w 2175516"/>
                <a:gd name="connsiteY487" fmla="*/ 59967 h 126301"/>
                <a:gd name="connsiteX488" fmla="*/ 1771405 w 2175516"/>
                <a:gd name="connsiteY488" fmla="*/ 59967 h 126301"/>
                <a:gd name="connsiteX489" fmla="*/ 1797143 w 2175516"/>
                <a:gd name="connsiteY489" fmla="*/ 66600 h 126301"/>
                <a:gd name="connsiteX490" fmla="*/ 1830045 w 2175516"/>
                <a:gd name="connsiteY490" fmla="*/ 94991 h 126301"/>
                <a:gd name="connsiteX491" fmla="*/ 1865600 w 2175516"/>
                <a:gd name="connsiteY491" fmla="*/ 64743 h 126301"/>
                <a:gd name="connsiteX492" fmla="*/ 1832168 w 2175516"/>
                <a:gd name="connsiteY492" fmla="*/ 35555 h 126301"/>
                <a:gd name="connsiteX493" fmla="*/ 1797143 w 2175516"/>
                <a:gd name="connsiteY493" fmla="*/ 66600 h 126301"/>
                <a:gd name="connsiteX494" fmla="*/ 1797143 w 2175516"/>
                <a:gd name="connsiteY494" fmla="*/ 66600 h 126301"/>
                <a:gd name="connsiteX495" fmla="*/ 1815717 w 2175516"/>
                <a:gd name="connsiteY495" fmla="*/ 58375 h 126301"/>
                <a:gd name="connsiteX496" fmla="*/ 1828984 w 2175516"/>
                <a:gd name="connsiteY496" fmla="*/ 41924 h 126301"/>
                <a:gd name="connsiteX497" fmla="*/ 1847027 w 2175516"/>
                <a:gd name="connsiteY497" fmla="*/ 72703 h 126301"/>
                <a:gd name="connsiteX498" fmla="*/ 1834290 w 2175516"/>
                <a:gd name="connsiteY498" fmla="*/ 90215 h 126301"/>
                <a:gd name="connsiteX499" fmla="*/ 1815717 w 2175516"/>
                <a:gd name="connsiteY499" fmla="*/ 58375 h 126301"/>
                <a:gd name="connsiteX500" fmla="*/ 1815717 w 2175516"/>
                <a:gd name="connsiteY500" fmla="*/ 58375 h 126301"/>
                <a:gd name="connsiteX501" fmla="*/ 1908055 w 2175516"/>
                <a:gd name="connsiteY501" fmla="*/ 796 h 126301"/>
                <a:gd name="connsiteX502" fmla="*/ 1905401 w 2175516"/>
                <a:gd name="connsiteY502" fmla="*/ 796 h 126301"/>
                <a:gd name="connsiteX503" fmla="*/ 1881256 w 2175516"/>
                <a:gd name="connsiteY503" fmla="*/ 7960 h 126301"/>
                <a:gd name="connsiteX504" fmla="*/ 1881256 w 2175516"/>
                <a:gd name="connsiteY504" fmla="*/ 11675 h 126301"/>
                <a:gd name="connsiteX505" fmla="*/ 1887358 w 2175516"/>
                <a:gd name="connsiteY505" fmla="*/ 13798 h 126301"/>
                <a:gd name="connsiteX506" fmla="*/ 1891073 w 2175516"/>
                <a:gd name="connsiteY506" fmla="*/ 22023 h 126301"/>
                <a:gd name="connsiteX507" fmla="*/ 1891073 w 2175516"/>
                <a:gd name="connsiteY507" fmla="*/ 80132 h 126301"/>
                <a:gd name="connsiteX508" fmla="*/ 1882847 w 2175516"/>
                <a:gd name="connsiteY508" fmla="*/ 89950 h 126301"/>
                <a:gd name="connsiteX509" fmla="*/ 1881786 w 2175516"/>
                <a:gd name="connsiteY509" fmla="*/ 89950 h 126301"/>
                <a:gd name="connsiteX510" fmla="*/ 1881786 w 2175516"/>
                <a:gd name="connsiteY510" fmla="*/ 94461 h 126301"/>
                <a:gd name="connsiteX511" fmla="*/ 1916280 w 2175516"/>
                <a:gd name="connsiteY511" fmla="*/ 94461 h 126301"/>
                <a:gd name="connsiteX512" fmla="*/ 1916280 w 2175516"/>
                <a:gd name="connsiteY512" fmla="*/ 89950 h 126301"/>
                <a:gd name="connsiteX513" fmla="*/ 1908055 w 2175516"/>
                <a:gd name="connsiteY513" fmla="*/ 80132 h 126301"/>
                <a:gd name="connsiteX514" fmla="*/ 1908055 w 2175516"/>
                <a:gd name="connsiteY514" fmla="*/ 796 h 126301"/>
                <a:gd name="connsiteX515" fmla="*/ 1908055 w 2175516"/>
                <a:gd name="connsiteY515" fmla="*/ 796 h 126301"/>
                <a:gd name="connsiteX516" fmla="*/ 1933793 w 2175516"/>
                <a:gd name="connsiteY516" fmla="*/ 66600 h 126301"/>
                <a:gd name="connsiteX517" fmla="*/ 1966695 w 2175516"/>
                <a:gd name="connsiteY517" fmla="*/ 94991 h 126301"/>
                <a:gd name="connsiteX518" fmla="*/ 2002250 w 2175516"/>
                <a:gd name="connsiteY518" fmla="*/ 64743 h 126301"/>
                <a:gd name="connsiteX519" fmla="*/ 1968817 w 2175516"/>
                <a:gd name="connsiteY519" fmla="*/ 35555 h 126301"/>
                <a:gd name="connsiteX520" fmla="*/ 1933793 w 2175516"/>
                <a:gd name="connsiteY520" fmla="*/ 66600 h 126301"/>
                <a:gd name="connsiteX521" fmla="*/ 1933793 w 2175516"/>
                <a:gd name="connsiteY521" fmla="*/ 66600 h 126301"/>
                <a:gd name="connsiteX522" fmla="*/ 1952366 w 2175516"/>
                <a:gd name="connsiteY522" fmla="*/ 58375 h 126301"/>
                <a:gd name="connsiteX523" fmla="*/ 1965633 w 2175516"/>
                <a:gd name="connsiteY523" fmla="*/ 41924 h 126301"/>
                <a:gd name="connsiteX524" fmla="*/ 1983676 w 2175516"/>
                <a:gd name="connsiteY524" fmla="*/ 72703 h 126301"/>
                <a:gd name="connsiteX525" fmla="*/ 1970940 w 2175516"/>
                <a:gd name="connsiteY525" fmla="*/ 90215 h 126301"/>
                <a:gd name="connsiteX526" fmla="*/ 1952366 w 2175516"/>
                <a:gd name="connsiteY526" fmla="*/ 58375 h 126301"/>
                <a:gd name="connsiteX527" fmla="*/ 1952366 w 2175516"/>
                <a:gd name="connsiteY527" fmla="*/ 58375 h 126301"/>
                <a:gd name="connsiteX528" fmla="*/ 2092731 w 2175516"/>
                <a:gd name="connsiteY528" fmla="*/ 36351 h 126301"/>
                <a:gd name="connsiteX529" fmla="*/ 2073096 w 2175516"/>
                <a:gd name="connsiteY529" fmla="*/ 41393 h 126301"/>
                <a:gd name="connsiteX530" fmla="*/ 2053991 w 2175516"/>
                <a:gd name="connsiteY530" fmla="*/ 35821 h 126301"/>
                <a:gd name="connsiteX531" fmla="*/ 2025600 w 2175516"/>
                <a:gd name="connsiteY531" fmla="*/ 57313 h 126301"/>
                <a:gd name="connsiteX532" fmla="*/ 2043643 w 2175516"/>
                <a:gd name="connsiteY532" fmla="*/ 74295 h 126301"/>
                <a:gd name="connsiteX533" fmla="*/ 2043643 w 2175516"/>
                <a:gd name="connsiteY533" fmla="*/ 74826 h 126301"/>
                <a:gd name="connsiteX534" fmla="*/ 2025069 w 2175516"/>
                <a:gd name="connsiteY534" fmla="*/ 86235 h 126301"/>
                <a:gd name="connsiteX535" fmla="*/ 2037275 w 2175516"/>
                <a:gd name="connsiteY535" fmla="*/ 98176 h 126301"/>
                <a:gd name="connsiteX536" fmla="*/ 2030641 w 2175516"/>
                <a:gd name="connsiteY536" fmla="*/ 102686 h 126301"/>
                <a:gd name="connsiteX537" fmla="*/ 2022947 w 2175516"/>
                <a:gd name="connsiteY537" fmla="*/ 111973 h 126301"/>
                <a:gd name="connsiteX538" fmla="*/ 2052134 w 2175516"/>
                <a:gd name="connsiteY538" fmla="*/ 125771 h 126301"/>
                <a:gd name="connsiteX539" fmla="*/ 2091670 w 2175516"/>
                <a:gd name="connsiteY539" fmla="*/ 102156 h 126301"/>
                <a:gd name="connsiteX540" fmla="*/ 2070177 w 2175516"/>
                <a:gd name="connsiteY540" fmla="*/ 87297 h 126301"/>
                <a:gd name="connsiteX541" fmla="*/ 2057971 w 2175516"/>
                <a:gd name="connsiteY541" fmla="*/ 87297 h 126301"/>
                <a:gd name="connsiteX542" fmla="*/ 2040459 w 2175516"/>
                <a:gd name="connsiteY542" fmla="*/ 82255 h 126301"/>
                <a:gd name="connsiteX543" fmla="*/ 2051869 w 2175516"/>
                <a:gd name="connsiteY543" fmla="*/ 75622 h 126301"/>
                <a:gd name="connsiteX544" fmla="*/ 2081587 w 2175516"/>
                <a:gd name="connsiteY544" fmla="*/ 56517 h 126301"/>
                <a:gd name="connsiteX545" fmla="*/ 2078933 w 2175516"/>
                <a:gd name="connsiteY545" fmla="*/ 47230 h 126301"/>
                <a:gd name="connsiteX546" fmla="*/ 2093262 w 2175516"/>
                <a:gd name="connsiteY546" fmla="*/ 50414 h 126301"/>
                <a:gd name="connsiteX547" fmla="*/ 2093262 w 2175516"/>
                <a:gd name="connsiteY547" fmla="*/ 36351 h 126301"/>
                <a:gd name="connsiteX548" fmla="*/ 2092731 w 2175516"/>
                <a:gd name="connsiteY548" fmla="*/ 36351 h 126301"/>
                <a:gd name="connsiteX549" fmla="*/ 2066993 w 2175516"/>
                <a:gd name="connsiteY549" fmla="*/ 101094 h 126301"/>
                <a:gd name="connsiteX550" fmla="*/ 2078403 w 2175516"/>
                <a:gd name="connsiteY550" fmla="*/ 108258 h 126301"/>
                <a:gd name="connsiteX551" fmla="*/ 2058767 w 2175516"/>
                <a:gd name="connsiteY551" fmla="*/ 119668 h 126301"/>
                <a:gd name="connsiteX552" fmla="*/ 2038071 w 2175516"/>
                <a:gd name="connsiteY552" fmla="*/ 107462 h 126301"/>
                <a:gd name="connsiteX553" fmla="*/ 2043643 w 2175516"/>
                <a:gd name="connsiteY553" fmla="*/ 99768 h 126301"/>
                <a:gd name="connsiteX554" fmla="*/ 2055849 w 2175516"/>
                <a:gd name="connsiteY554" fmla="*/ 100829 h 126301"/>
                <a:gd name="connsiteX555" fmla="*/ 2066993 w 2175516"/>
                <a:gd name="connsiteY555" fmla="*/ 100829 h 126301"/>
                <a:gd name="connsiteX556" fmla="*/ 2066993 w 2175516"/>
                <a:gd name="connsiteY556" fmla="*/ 101094 h 126301"/>
                <a:gd name="connsiteX557" fmla="*/ 2042316 w 2175516"/>
                <a:gd name="connsiteY557" fmla="*/ 54925 h 126301"/>
                <a:gd name="connsiteX558" fmla="*/ 2052665 w 2175516"/>
                <a:gd name="connsiteY558" fmla="*/ 41658 h 126301"/>
                <a:gd name="connsiteX559" fmla="*/ 2064074 w 2175516"/>
                <a:gd name="connsiteY559" fmla="*/ 58109 h 126301"/>
                <a:gd name="connsiteX560" fmla="*/ 2054257 w 2175516"/>
                <a:gd name="connsiteY560" fmla="*/ 70315 h 126301"/>
                <a:gd name="connsiteX561" fmla="*/ 2042316 w 2175516"/>
                <a:gd name="connsiteY561" fmla="*/ 54925 h 126301"/>
                <a:gd name="connsiteX562" fmla="*/ 2042316 w 2175516"/>
                <a:gd name="connsiteY562" fmla="*/ 54925 h 126301"/>
                <a:gd name="connsiteX563" fmla="*/ 2136247 w 2175516"/>
                <a:gd name="connsiteY563" fmla="*/ 92869 h 126301"/>
                <a:gd name="connsiteX564" fmla="*/ 2133593 w 2175516"/>
                <a:gd name="connsiteY564" fmla="*/ 98441 h 126301"/>
                <a:gd name="connsiteX565" fmla="*/ 2119796 w 2175516"/>
                <a:gd name="connsiteY565" fmla="*/ 109320 h 126301"/>
                <a:gd name="connsiteX566" fmla="*/ 2112101 w 2175516"/>
                <a:gd name="connsiteY566" fmla="*/ 111973 h 126301"/>
                <a:gd name="connsiteX567" fmla="*/ 2109978 w 2175516"/>
                <a:gd name="connsiteY567" fmla="*/ 118076 h 126301"/>
                <a:gd name="connsiteX568" fmla="*/ 2118734 w 2175516"/>
                <a:gd name="connsiteY568" fmla="*/ 126301 h 126301"/>
                <a:gd name="connsiteX569" fmla="*/ 2132001 w 2175516"/>
                <a:gd name="connsiteY569" fmla="*/ 115953 h 126301"/>
                <a:gd name="connsiteX570" fmla="*/ 2163311 w 2175516"/>
                <a:gd name="connsiteY570" fmla="*/ 52802 h 126301"/>
                <a:gd name="connsiteX571" fmla="*/ 2175517 w 2175516"/>
                <a:gd name="connsiteY571" fmla="*/ 41924 h 126301"/>
                <a:gd name="connsiteX572" fmla="*/ 2175517 w 2175516"/>
                <a:gd name="connsiteY572" fmla="*/ 37413 h 126301"/>
                <a:gd name="connsiteX573" fmla="*/ 2149248 w 2175516"/>
                <a:gd name="connsiteY573" fmla="*/ 37413 h 126301"/>
                <a:gd name="connsiteX574" fmla="*/ 2149248 w 2175516"/>
                <a:gd name="connsiteY574" fmla="*/ 41924 h 126301"/>
                <a:gd name="connsiteX575" fmla="*/ 2156943 w 2175516"/>
                <a:gd name="connsiteY575" fmla="*/ 52802 h 126301"/>
                <a:gd name="connsiteX576" fmla="*/ 2146064 w 2175516"/>
                <a:gd name="connsiteY576" fmla="*/ 74295 h 126301"/>
                <a:gd name="connsiteX577" fmla="*/ 2134654 w 2175516"/>
                <a:gd name="connsiteY577" fmla="*/ 50149 h 126301"/>
                <a:gd name="connsiteX578" fmla="*/ 2134124 w 2175516"/>
                <a:gd name="connsiteY578" fmla="*/ 44046 h 126301"/>
                <a:gd name="connsiteX579" fmla="*/ 2140757 w 2175516"/>
                <a:gd name="connsiteY579" fmla="*/ 41924 h 126301"/>
                <a:gd name="connsiteX580" fmla="*/ 2140757 w 2175516"/>
                <a:gd name="connsiteY580" fmla="*/ 37413 h 126301"/>
                <a:gd name="connsiteX581" fmla="*/ 2104671 w 2175516"/>
                <a:gd name="connsiteY581" fmla="*/ 37413 h 126301"/>
                <a:gd name="connsiteX582" fmla="*/ 2104671 w 2175516"/>
                <a:gd name="connsiteY582" fmla="*/ 41924 h 126301"/>
                <a:gd name="connsiteX583" fmla="*/ 2118469 w 2175516"/>
                <a:gd name="connsiteY583" fmla="*/ 54660 h 126301"/>
                <a:gd name="connsiteX584" fmla="*/ 2136247 w 2175516"/>
                <a:gd name="connsiteY584" fmla="*/ 92869 h 126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</a:cxnLst>
              <a:rect l="l" t="t" r="r" b="b"/>
              <a:pathLst>
                <a:path w="2175516" h="126301">
                  <a:moveTo>
                    <a:pt x="48292" y="95522"/>
                  </a:moveTo>
                  <a:lnTo>
                    <a:pt x="57579" y="95522"/>
                  </a:lnTo>
                  <a:lnTo>
                    <a:pt x="72438" y="65273"/>
                  </a:lnTo>
                  <a:lnTo>
                    <a:pt x="87297" y="95522"/>
                  </a:lnTo>
                  <a:lnTo>
                    <a:pt x="96584" y="95522"/>
                  </a:lnTo>
                  <a:lnTo>
                    <a:pt x="125240" y="25207"/>
                  </a:lnTo>
                  <a:cubicBezTo>
                    <a:pt x="127894" y="16716"/>
                    <a:pt x="132139" y="12471"/>
                    <a:pt x="138507" y="12471"/>
                  </a:cubicBezTo>
                  <a:lnTo>
                    <a:pt x="138507" y="6899"/>
                  </a:lnTo>
                  <a:lnTo>
                    <a:pt x="110381" y="6899"/>
                  </a:lnTo>
                  <a:lnTo>
                    <a:pt x="110381" y="12471"/>
                  </a:lnTo>
                  <a:cubicBezTo>
                    <a:pt x="118341" y="12471"/>
                    <a:pt x="120729" y="16186"/>
                    <a:pt x="117015" y="23881"/>
                  </a:cubicBezTo>
                  <a:lnTo>
                    <a:pt x="97910" y="73234"/>
                  </a:lnTo>
                  <a:lnTo>
                    <a:pt x="83051" y="42985"/>
                  </a:lnTo>
                  <a:lnTo>
                    <a:pt x="93399" y="22023"/>
                  </a:lnTo>
                  <a:cubicBezTo>
                    <a:pt x="96053" y="15920"/>
                    <a:pt x="99502" y="12471"/>
                    <a:pt x="103748" y="12206"/>
                  </a:cubicBezTo>
                  <a:lnTo>
                    <a:pt x="103748" y="6633"/>
                  </a:lnTo>
                  <a:lnTo>
                    <a:pt x="42189" y="6633"/>
                  </a:lnTo>
                  <a:lnTo>
                    <a:pt x="42189" y="12206"/>
                  </a:lnTo>
                  <a:cubicBezTo>
                    <a:pt x="45904" y="11940"/>
                    <a:pt x="48822" y="14859"/>
                    <a:pt x="51476" y="21492"/>
                  </a:cubicBezTo>
                  <a:lnTo>
                    <a:pt x="67927" y="56517"/>
                  </a:lnTo>
                  <a:lnTo>
                    <a:pt x="59171" y="74560"/>
                  </a:lnTo>
                  <a:lnTo>
                    <a:pt x="33433" y="20166"/>
                  </a:lnTo>
                  <a:cubicBezTo>
                    <a:pt x="31841" y="17247"/>
                    <a:pt x="31310" y="15124"/>
                    <a:pt x="31841" y="14063"/>
                  </a:cubicBezTo>
                  <a:cubicBezTo>
                    <a:pt x="32637" y="13002"/>
                    <a:pt x="34229" y="12206"/>
                    <a:pt x="36882" y="11940"/>
                  </a:cubicBezTo>
                  <a:lnTo>
                    <a:pt x="36882" y="6368"/>
                  </a:lnTo>
                  <a:lnTo>
                    <a:pt x="0" y="6368"/>
                  </a:lnTo>
                  <a:lnTo>
                    <a:pt x="0" y="11940"/>
                  </a:lnTo>
                  <a:lnTo>
                    <a:pt x="1061" y="11940"/>
                  </a:lnTo>
                  <a:cubicBezTo>
                    <a:pt x="4245" y="11940"/>
                    <a:pt x="6633" y="12736"/>
                    <a:pt x="8226" y="14063"/>
                  </a:cubicBezTo>
                  <a:cubicBezTo>
                    <a:pt x="9818" y="15124"/>
                    <a:pt x="11675" y="18308"/>
                    <a:pt x="14328" y="23350"/>
                  </a:cubicBezTo>
                  <a:lnTo>
                    <a:pt x="48292" y="95522"/>
                  </a:lnTo>
                  <a:lnTo>
                    <a:pt x="48292" y="95522"/>
                  </a:lnTo>
                  <a:close/>
                  <a:moveTo>
                    <a:pt x="78540" y="34759"/>
                  </a:moveTo>
                  <a:lnTo>
                    <a:pt x="70846" y="18839"/>
                  </a:lnTo>
                  <a:cubicBezTo>
                    <a:pt x="69784" y="16716"/>
                    <a:pt x="69519" y="15124"/>
                    <a:pt x="69784" y="13798"/>
                  </a:cubicBezTo>
                  <a:cubicBezTo>
                    <a:pt x="70580" y="13002"/>
                    <a:pt x="72172" y="12736"/>
                    <a:pt x="74826" y="12736"/>
                  </a:cubicBezTo>
                  <a:lnTo>
                    <a:pt x="82255" y="12736"/>
                  </a:lnTo>
                  <a:cubicBezTo>
                    <a:pt x="85174" y="12736"/>
                    <a:pt x="86766" y="13267"/>
                    <a:pt x="87297" y="14328"/>
                  </a:cubicBezTo>
                  <a:cubicBezTo>
                    <a:pt x="88093" y="15124"/>
                    <a:pt x="87827" y="16716"/>
                    <a:pt x="86766" y="19370"/>
                  </a:cubicBezTo>
                  <a:lnTo>
                    <a:pt x="78540" y="34759"/>
                  </a:lnTo>
                  <a:lnTo>
                    <a:pt x="78540" y="34759"/>
                  </a:lnTo>
                  <a:close/>
                  <a:moveTo>
                    <a:pt x="199800" y="94991"/>
                  </a:moveTo>
                  <a:lnTo>
                    <a:pt x="202454" y="94991"/>
                  </a:lnTo>
                  <a:lnTo>
                    <a:pt x="225008" y="90746"/>
                  </a:lnTo>
                  <a:lnTo>
                    <a:pt x="225008" y="86235"/>
                  </a:lnTo>
                  <a:cubicBezTo>
                    <a:pt x="223416" y="86501"/>
                    <a:pt x="222354" y="86766"/>
                    <a:pt x="221293" y="86766"/>
                  </a:cubicBezTo>
                  <a:cubicBezTo>
                    <a:pt x="218109" y="87562"/>
                    <a:pt x="216517" y="84643"/>
                    <a:pt x="216782" y="78540"/>
                  </a:cubicBezTo>
                  <a:lnTo>
                    <a:pt x="216782" y="35821"/>
                  </a:lnTo>
                  <a:lnTo>
                    <a:pt x="214129" y="35821"/>
                  </a:lnTo>
                  <a:lnTo>
                    <a:pt x="188391" y="40862"/>
                  </a:lnTo>
                  <a:lnTo>
                    <a:pt x="188391" y="44046"/>
                  </a:lnTo>
                  <a:lnTo>
                    <a:pt x="195024" y="46169"/>
                  </a:lnTo>
                  <a:cubicBezTo>
                    <a:pt x="198739" y="46965"/>
                    <a:pt x="200331" y="49618"/>
                    <a:pt x="200066" y="54395"/>
                  </a:cubicBezTo>
                  <a:lnTo>
                    <a:pt x="200066" y="79602"/>
                  </a:lnTo>
                  <a:cubicBezTo>
                    <a:pt x="193963" y="83316"/>
                    <a:pt x="189187" y="85174"/>
                    <a:pt x="185737" y="85174"/>
                  </a:cubicBezTo>
                  <a:cubicBezTo>
                    <a:pt x="179900" y="84909"/>
                    <a:pt x="176716" y="80132"/>
                    <a:pt x="176451" y="71376"/>
                  </a:cubicBezTo>
                  <a:lnTo>
                    <a:pt x="176451" y="35821"/>
                  </a:lnTo>
                  <a:lnTo>
                    <a:pt x="173797" y="35821"/>
                  </a:lnTo>
                  <a:lnTo>
                    <a:pt x="153631" y="40862"/>
                  </a:lnTo>
                  <a:lnTo>
                    <a:pt x="153631" y="44046"/>
                  </a:lnTo>
                  <a:lnTo>
                    <a:pt x="156816" y="45638"/>
                  </a:lnTo>
                  <a:cubicBezTo>
                    <a:pt x="158938" y="45904"/>
                    <a:pt x="160000" y="48557"/>
                    <a:pt x="159469" y="53333"/>
                  </a:cubicBezTo>
                  <a:lnTo>
                    <a:pt x="159469" y="76948"/>
                  </a:lnTo>
                  <a:cubicBezTo>
                    <a:pt x="159734" y="88623"/>
                    <a:pt x="165041" y="94726"/>
                    <a:pt x="174859" y="94991"/>
                  </a:cubicBezTo>
                  <a:cubicBezTo>
                    <a:pt x="180431" y="95257"/>
                    <a:pt x="188656" y="91807"/>
                    <a:pt x="200066" y="84643"/>
                  </a:cubicBezTo>
                  <a:lnTo>
                    <a:pt x="200066" y="94991"/>
                  </a:lnTo>
                  <a:lnTo>
                    <a:pt x="199800" y="94991"/>
                  </a:lnTo>
                  <a:close/>
                  <a:moveTo>
                    <a:pt x="266135" y="51741"/>
                  </a:moveTo>
                  <a:cubicBezTo>
                    <a:pt x="271707" y="48026"/>
                    <a:pt x="276484" y="46169"/>
                    <a:pt x="280464" y="46169"/>
                  </a:cubicBezTo>
                  <a:cubicBezTo>
                    <a:pt x="286301" y="46434"/>
                    <a:pt x="289485" y="50680"/>
                    <a:pt x="289750" y="58375"/>
                  </a:cubicBezTo>
                  <a:lnTo>
                    <a:pt x="289750" y="79867"/>
                  </a:lnTo>
                  <a:cubicBezTo>
                    <a:pt x="290547" y="87562"/>
                    <a:pt x="288158" y="91011"/>
                    <a:pt x="282586" y="90215"/>
                  </a:cubicBezTo>
                  <a:lnTo>
                    <a:pt x="281525" y="90215"/>
                  </a:lnTo>
                  <a:lnTo>
                    <a:pt x="281525" y="94726"/>
                  </a:lnTo>
                  <a:lnTo>
                    <a:pt x="314427" y="94726"/>
                  </a:lnTo>
                  <a:lnTo>
                    <a:pt x="314427" y="90215"/>
                  </a:lnTo>
                  <a:lnTo>
                    <a:pt x="313366" y="90215"/>
                  </a:lnTo>
                  <a:cubicBezTo>
                    <a:pt x="308590" y="91011"/>
                    <a:pt x="306467" y="87297"/>
                    <a:pt x="306732" y="79336"/>
                  </a:cubicBezTo>
                  <a:lnTo>
                    <a:pt x="306732" y="60763"/>
                  </a:lnTo>
                  <a:cubicBezTo>
                    <a:pt x="306732" y="44312"/>
                    <a:pt x="301691" y="36086"/>
                    <a:pt x="291343" y="36086"/>
                  </a:cubicBezTo>
                  <a:cubicBezTo>
                    <a:pt x="284709" y="36086"/>
                    <a:pt x="276484" y="39536"/>
                    <a:pt x="266135" y="46434"/>
                  </a:cubicBezTo>
                  <a:lnTo>
                    <a:pt x="266135" y="796"/>
                  </a:lnTo>
                  <a:lnTo>
                    <a:pt x="262686" y="796"/>
                  </a:lnTo>
                  <a:lnTo>
                    <a:pt x="240132" y="7430"/>
                  </a:lnTo>
                  <a:lnTo>
                    <a:pt x="240132" y="10614"/>
                  </a:lnTo>
                  <a:lnTo>
                    <a:pt x="244377" y="12206"/>
                  </a:lnTo>
                  <a:cubicBezTo>
                    <a:pt x="247562" y="13002"/>
                    <a:pt x="249154" y="14859"/>
                    <a:pt x="248888" y="18308"/>
                  </a:cubicBezTo>
                  <a:lnTo>
                    <a:pt x="248888" y="79867"/>
                  </a:lnTo>
                  <a:cubicBezTo>
                    <a:pt x="249684" y="87562"/>
                    <a:pt x="247031" y="91011"/>
                    <a:pt x="241193" y="90215"/>
                  </a:cubicBezTo>
                  <a:lnTo>
                    <a:pt x="239071" y="90215"/>
                  </a:lnTo>
                  <a:lnTo>
                    <a:pt x="239071" y="94726"/>
                  </a:lnTo>
                  <a:lnTo>
                    <a:pt x="274626" y="94726"/>
                  </a:lnTo>
                  <a:lnTo>
                    <a:pt x="274626" y="90215"/>
                  </a:lnTo>
                  <a:lnTo>
                    <a:pt x="273565" y="90215"/>
                  </a:lnTo>
                  <a:cubicBezTo>
                    <a:pt x="267993" y="91011"/>
                    <a:pt x="265605" y="87562"/>
                    <a:pt x="265870" y="80398"/>
                  </a:cubicBezTo>
                  <a:lnTo>
                    <a:pt x="265870" y="51741"/>
                  </a:lnTo>
                  <a:lnTo>
                    <a:pt x="266135" y="51741"/>
                  </a:lnTo>
                  <a:close/>
                  <a:moveTo>
                    <a:pt x="388987" y="84113"/>
                  </a:moveTo>
                  <a:cubicBezTo>
                    <a:pt x="387926" y="85174"/>
                    <a:pt x="386599" y="85705"/>
                    <a:pt x="385273" y="85705"/>
                  </a:cubicBezTo>
                  <a:cubicBezTo>
                    <a:pt x="383415" y="85970"/>
                    <a:pt x="382619" y="83847"/>
                    <a:pt x="382619" y="79071"/>
                  </a:cubicBezTo>
                  <a:lnTo>
                    <a:pt x="382619" y="52802"/>
                  </a:lnTo>
                  <a:cubicBezTo>
                    <a:pt x="381823" y="42985"/>
                    <a:pt x="374128" y="37147"/>
                    <a:pt x="359535" y="35821"/>
                  </a:cubicBezTo>
                  <a:cubicBezTo>
                    <a:pt x="349186" y="36617"/>
                    <a:pt x="341757" y="39270"/>
                    <a:pt x="336450" y="44046"/>
                  </a:cubicBezTo>
                  <a:cubicBezTo>
                    <a:pt x="332735" y="47230"/>
                    <a:pt x="331674" y="52006"/>
                    <a:pt x="333266" y="57844"/>
                  </a:cubicBezTo>
                  <a:lnTo>
                    <a:pt x="349186" y="52272"/>
                  </a:lnTo>
                  <a:cubicBezTo>
                    <a:pt x="348390" y="45373"/>
                    <a:pt x="350779" y="41658"/>
                    <a:pt x="356351" y="41393"/>
                  </a:cubicBezTo>
                  <a:cubicBezTo>
                    <a:pt x="361923" y="41658"/>
                    <a:pt x="364842" y="44842"/>
                    <a:pt x="365107" y="50680"/>
                  </a:cubicBezTo>
                  <a:lnTo>
                    <a:pt x="365107" y="56252"/>
                  </a:lnTo>
                  <a:cubicBezTo>
                    <a:pt x="361392" y="59171"/>
                    <a:pt x="356085" y="61824"/>
                    <a:pt x="348656" y="63947"/>
                  </a:cubicBezTo>
                  <a:cubicBezTo>
                    <a:pt x="342818" y="65804"/>
                    <a:pt x="338838" y="67927"/>
                    <a:pt x="336450" y="70050"/>
                  </a:cubicBezTo>
                  <a:cubicBezTo>
                    <a:pt x="333531" y="72968"/>
                    <a:pt x="331939" y="76683"/>
                    <a:pt x="331939" y="81459"/>
                  </a:cubicBezTo>
                  <a:cubicBezTo>
                    <a:pt x="332205" y="90215"/>
                    <a:pt x="337512" y="94726"/>
                    <a:pt x="347860" y="95257"/>
                  </a:cubicBezTo>
                  <a:cubicBezTo>
                    <a:pt x="354493" y="95522"/>
                    <a:pt x="360331" y="93134"/>
                    <a:pt x="365372" y="87562"/>
                  </a:cubicBezTo>
                  <a:cubicBezTo>
                    <a:pt x="366168" y="92338"/>
                    <a:pt x="369352" y="94991"/>
                    <a:pt x="375190" y="95257"/>
                  </a:cubicBezTo>
                  <a:cubicBezTo>
                    <a:pt x="381027" y="94991"/>
                    <a:pt x="386334" y="92338"/>
                    <a:pt x="391110" y="87562"/>
                  </a:cubicBezTo>
                  <a:lnTo>
                    <a:pt x="388987" y="84113"/>
                  </a:lnTo>
                  <a:lnTo>
                    <a:pt x="388987" y="84113"/>
                  </a:lnTo>
                  <a:close/>
                  <a:moveTo>
                    <a:pt x="364842" y="82521"/>
                  </a:moveTo>
                  <a:cubicBezTo>
                    <a:pt x="361127" y="86235"/>
                    <a:pt x="358208" y="88093"/>
                    <a:pt x="355555" y="88093"/>
                  </a:cubicBezTo>
                  <a:cubicBezTo>
                    <a:pt x="351309" y="87827"/>
                    <a:pt x="348656" y="84643"/>
                    <a:pt x="348390" y="78806"/>
                  </a:cubicBezTo>
                  <a:cubicBezTo>
                    <a:pt x="348125" y="73234"/>
                    <a:pt x="351044" y="69254"/>
                    <a:pt x="357677" y="66865"/>
                  </a:cubicBezTo>
                  <a:cubicBezTo>
                    <a:pt x="360861" y="65273"/>
                    <a:pt x="363249" y="63947"/>
                    <a:pt x="364842" y="62355"/>
                  </a:cubicBezTo>
                  <a:lnTo>
                    <a:pt x="364842" y="82521"/>
                  </a:lnTo>
                  <a:lnTo>
                    <a:pt x="364842" y="82521"/>
                  </a:lnTo>
                  <a:close/>
                  <a:moveTo>
                    <a:pt x="472304" y="59967"/>
                  </a:moveTo>
                  <a:cubicBezTo>
                    <a:pt x="472569" y="43516"/>
                    <a:pt x="467793" y="35555"/>
                    <a:pt x="457445" y="35821"/>
                  </a:cubicBezTo>
                  <a:cubicBezTo>
                    <a:pt x="450546" y="35821"/>
                    <a:pt x="441790" y="39536"/>
                    <a:pt x="431176" y="46700"/>
                  </a:cubicBezTo>
                  <a:lnTo>
                    <a:pt x="431176" y="33963"/>
                  </a:lnTo>
                  <a:lnTo>
                    <a:pt x="429054" y="33963"/>
                  </a:lnTo>
                  <a:lnTo>
                    <a:pt x="404908" y="42189"/>
                  </a:lnTo>
                  <a:lnTo>
                    <a:pt x="404908" y="45373"/>
                  </a:lnTo>
                  <a:lnTo>
                    <a:pt x="407561" y="45904"/>
                  </a:lnTo>
                  <a:cubicBezTo>
                    <a:pt x="412337" y="47496"/>
                    <a:pt x="414460" y="49618"/>
                    <a:pt x="414195" y="52537"/>
                  </a:cubicBezTo>
                  <a:lnTo>
                    <a:pt x="414195" y="79867"/>
                  </a:lnTo>
                  <a:cubicBezTo>
                    <a:pt x="414460" y="86766"/>
                    <a:pt x="412072" y="90215"/>
                    <a:pt x="406500" y="89685"/>
                  </a:cubicBezTo>
                  <a:lnTo>
                    <a:pt x="405438" y="89685"/>
                  </a:lnTo>
                  <a:lnTo>
                    <a:pt x="405438" y="94195"/>
                  </a:lnTo>
                  <a:lnTo>
                    <a:pt x="440994" y="94195"/>
                  </a:lnTo>
                  <a:lnTo>
                    <a:pt x="440994" y="89685"/>
                  </a:lnTo>
                  <a:lnTo>
                    <a:pt x="439933" y="89685"/>
                  </a:lnTo>
                  <a:cubicBezTo>
                    <a:pt x="434095" y="89685"/>
                    <a:pt x="431176" y="86501"/>
                    <a:pt x="431176" y="80398"/>
                  </a:cubicBezTo>
                  <a:lnTo>
                    <a:pt x="431176" y="51741"/>
                  </a:lnTo>
                  <a:cubicBezTo>
                    <a:pt x="437014" y="47761"/>
                    <a:pt x="442055" y="45638"/>
                    <a:pt x="446566" y="45638"/>
                  </a:cubicBezTo>
                  <a:cubicBezTo>
                    <a:pt x="452138" y="45373"/>
                    <a:pt x="454792" y="50680"/>
                    <a:pt x="454792" y="61559"/>
                  </a:cubicBezTo>
                  <a:lnTo>
                    <a:pt x="454792" y="73764"/>
                  </a:lnTo>
                  <a:cubicBezTo>
                    <a:pt x="455057" y="84378"/>
                    <a:pt x="452669" y="89685"/>
                    <a:pt x="447097" y="89685"/>
                  </a:cubicBezTo>
                  <a:lnTo>
                    <a:pt x="447097" y="94195"/>
                  </a:lnTo>
                  <a:lnTo>
                    <a:pt x="479999" y="94195"/>
                  </a:lnTo>
                  <a:lnTo>
                    <a:pt x="479999" y="89685"/>
                  </a:lnTo>
                  <a:cubicBezTo>
                    <a:pt x="474427" y="89950"/>
                    <a:pt x="472039" y="87297"/>
                    <a:pt x="472304" y="81459"/>
                  </a:cubicBezTo>
                  <a:lnTo>
                    <a:pt x="472304" y="59967"/>
                  </a:lnTo>
                  <a:lnTo>
                    <a:pt x="472304" y="59967"/>
                  </a:lnTo>
                  <a:close/>
                  <a:moveTo>
                    <a:pt x="532536" y="12736"/>
                  </a:moveTo>
                  <a:lnTo>
                    <a:pt x="534128" y="12736"/>
                  </a:lnTo>
                  <a:cubicBezTo>
                    <a:pt x="541557" y="12471"/>
                    <a:pt x="545007" y="15920"/>
                    <a:pt x="544476" y="23084"/>
                  </a:cubicBezTo>
                  <a:lnTo>
                    <a:pt x="544476" y="79071"/>
                  </a:lnTo>
                  <a:cubicBezTo>
                    <a:pt x="544742" y="85705"/>
                    <a:pt x="541292" y="88889"/>
                    <a:pt x="534128" y="88889"/>
                  </a:cubicBezTo>
                  <a:lnTo>
                    <a:pt x="532536" y="88889"/>
                  </a:lnTo>
                  <a:lnTo>
                    <a:pt x="532536" y="94461"/>
                  </a:lnTo>
                  <a:lnTo>
                    <a:pt x="576848" y="94461"/>
                  </a:lnTo>
                  <a:lnTo>
                    <a:pt x="576848" y="89154"/>
                  </a:lnTo>
                  <a:lnTo>
                    <a:pt x="574725" y="89154"/>
                  </a:lnTo>
                  <a:cubicBezTo>
                    <a:pt x="567030" y="89419"/>
                    <a:pt x="563315" y="85970"/>
                    <a:pt x="563846" y="78806"/>
                  </a:cubicBezTo>
                  <a:lnTo>
                    <a:pt x="563846" y="23350"/>
                  </a:lnTo>
                  <a:cubicBezTo>
                    <a:pt x="563846" y="16451"/>
                    <a:pt x="567561" y="13002"/>
                    <a:pt x="574725" y="13002"/>
                  </a:cubicBezTo>
                  <a:lnTo>
                    <a:pt x="576848" y="13002"/>
                  </a:lnTo>
                  <a:lnTo>
                    <a:pt x="576848" y="7430"/>
                  </a:lnTo>
                  <a:lnTo>
                    <a:pt x="532536" y="7430"/>
                  </a:lnTo>
                  <a:lnTo>
                    <a:pt x="532536" y="12736"/>
                  </a:lnTo>
                  <a:lnTo>
                    <a:pt x="532536" y="12736"/>
                  </a:lnTo>
                  <a:close/>
                  <a:moveTo>
                    <a:pt x="659368" y="59967"/>
                  </a:moveTo>
                  <a:cubicBezTo>
                    <a:pt x="659633" y="43516"/>
                    <a:pt x="654857" y="35555"/>
                    <a:pt x="644509" y="35821"/>
                  </a:cubicBezTo>
                  <a:cubicBezTo>
                    <a:pt x="637610" y="35821"/>
                    <a:pt x="628854" y="39536"/>
                    <a:pt x="618241" y="46700"/>
                  </a:cubicBezTo>
                  <a:lnTo>
                    <a:pt x="618241" y="33963"/>
                  </a:lnTo>
                  <a:lnTo>
                    <a:pt x="616118" y="33963"/>
                  </a:lnTo>
                  <a:lnTo>
                    <a:pt x="591972" y="42189"/>
                  </a:lnTo>
                  <a:lnTo>
                    <a:pt x="591972" y="45373"/>
                  </a:lnTo>
                  <a:lnTo>
                    <a:pt x="594625" y="45904"/>
                  </a:lnTo>
                  <a:cubicBezTo>
                    <a:pt x="599401" y="47496"/>
                    <a:pt x="601524" y="49618"/>
                    <a:pt x="601259" y="52537"/>
                  </a:cubicBezTo>
                  <a:lnTo>
                    <a:pt x="601259" y="79867"/>
                  </a:lnTo>
                  <a:cubicBezTo>
                    <a:pt x="601524" y="86766"/>
                    <a:pt x="599136" y="90215"/>
                    <a:pt x="593564" y="89685"/>
                  </a:cubicBezTo>
                  <a:lnTo>
                    <a:pt x="592503" y="89685"/>
                  </a:lnTo>
                  <a:lnTo>
                    <a:pt x="592503" y="94195"/>
                  </a:lnTo>
                  <a:lnTo>
                    <a:pt x="628058" y="94195"/>
                  </a:lnTo>
                  <a:lnTo>
                    <a:pt x="628058" y="89685"/>
                  </a:lnTo>
                  <a:lnTo>
                    <a:pt x="626997" y="89685"/>
                  </a:lnTo>
                  <a:cubicBezTo>
                    <a:pt x="621159" y="89685"/>
                    <a:pt x="618241" y="86501"/>
                    <a:pt x="618241" y="80398"/>
                  </a:cubicBezTo>
                  <a:lnTo>
                    <a:pt x="618241" y="51741"/>
                  </a:lnTo>
                  <a:cubicBezTo>
                    <a:pt x="624078" y="47761"/>
                    <a:pt x="629119" y="45638"/>
                    <a:pt x="633630" y="45638"/>
                  </a:cubicBezTo>
                  <a:cubicBezTo>
                    <a:pt x="639202" y="45373"/>
                    <a:pt x="641856" y="50680"/>
                    <a:pt x="641856" y="61559"/>
                  </a:cubicBezTo>
                  <a:lnTo>
                    <a:pt x="641856" y="73764"/>
                  </a:lnTo>
                  <a:cubicBezTo>
                    <a:pt x="642121" y="84378"/>
                    <a:pt x="639733" y="89685"/>
                    <a:pt x="634161" y="89685"/>
                  </a:cubicBezTo>
                  <a:lnTo>
                    <a:pt x="634161" y="94195"/>
                  </a:lnTo>
                  <a:lnTo>
                    <a:pt x="667063" y="94195"/>
                  </a:lnTo>
                  <a:lnTo>
                    <a:pt x="667063" y="89685"/>
                  </a:lnTo>
                  <a:cubicBezTo>
                    <a:pt x="661491" y="89950"/>
                    <a:pt x="659103" y="87297"/>
                    <a:pt x="659368" y="81459"/>
                  </a:cubicBezTo>
                  <a:lnTo>
                    <a:pt x="659368" y="59967"/>
                  </a:lnTo>
                  <a:lnTo>
                    <a:pt x="659368" y="59967"/>
                  </a:lnTo>
                  <a:close/>
                  <a:moveTo>
                    <a:pt x="686698" y="94461"/>
                  </a:moveTo>
                  <a:lnTo>
                    <a:pt x="690413" y="94461"/>
                  </a:lnTo>
                  <a:cubicBezTo>
                    <a:pt x="691474" y="94195"/>
                    <a:pt x="692536" y="93930"/>
                    <a:pt x="693066" y="93930"/>
                  </a:cubicBezTo>
                  <a:cubicBezTo>
                    <a:pt x="693332" y="93930"/>
                    <a:pt x="694393" y="94195"/>
                    <a:pt x="695720" y="94461"/>
                  </a:cubicBezTo>
                  <a:cubicBezTo>
                    <a:pt x="699700" y="94726"/>
                    <a:pt x="703680" y="94991"/>
                    <a:pt x="707660" y="94991"/>
                  </a:cubicBezTo>
                  <a:cubicBezTo>
                    <a:pt x="719335" y="94726"/>
                    <a:pt x="725703" y="88889"/>
                    <a:pt x="726234" y="78010"/>
                  </a:cubicBezTo>
                  <a:cubicBezTo>
                    <a:pt x="726234" y="70580"/>
                    <a:pt x="720661" y="64212"/>
                    <a:pt x="709783" y="58375"/>
                  </a:cubicBezTo>
                  <a:cubicBezTo>
                    <a:pt x="702088" y="54129"/>
                    <a:pt x="698373" y="50149"/>
                    <a:pt x="698373" y="46965"/>
                  </a:cubicBezTo>
                  <a:cubicBezTo>
                    <a:pt x="698638" y="44046"/>
                    <a:pt x="701026" y="42454"/>
                    <a:pt x="705006" y="41924"/>
                  </a:cubicBezTo>
                  <a:cubicBezTo>
                    <a:pt x="711109" y="41924"/>
                    <a:pt x="715620" y="45904"/>
                    <a:pt x="718273" y="54129"/>
                  </a:cubicBezTo>
                  <a:lnTo>
                    <a:pt x="722784" y="54129"/>
                  </a:lnTo>
                  <a:lnTo>
                    <a:pt x="722784" y="38739"/>
                  </a:lnTo>
                  <a:cubicBezTo>
                    <a:pt x="717743" y="36882"/>
                    <a:pt x="712436" y="36086"/>
                    <a:pt x="706864" y="36086"/>
                  </a:cubicBezTo>
                  <a:cubicBezTo>
                    <a:pt x="693066" y="36882"/>
                    <a:pt x="685637" y="42720"/>
                    <a:pt x="684841" y="53599"/>
                  </a:cubicBezTo>
                  <a:cubicBezTo>
                    <a:pt x="684841" y="60232"/>
                    <a:pt x="690147" y="66600"/>
                    <a:pt x="700761" y="72703"/>
                  </a:cubicBezTo>
                  <a:cubicBezTo>
                    <a:pt x="707660" y="77214"/>
                    <a:pt x="711109" y="80663"/>
                    <a:pt x="711109" y="83582"/>
                  </a:cubicBezTo>
                  <a:cubicBezTo>
                    <a:pt x="710313" y="87562"/>
                    <a:pt x="707925" y="89685"/>
                    <a:pt x="703945" y="90215"/>
                  </a:cubicBezTo>
                  <a:cubicBezTo>
                    <a:pt x="696516" y="89419"/>
                    <a:pt x="691739" y="85439"/>
                    <a:pt x="689086" y="78275"/>
                  </a:cubicBezTo>
                  <a:lnTo>
                    <a:pt x="684841" y="78275"/>
                  </a:lnTo>
                  <a:lnTo>
                    <a:pt x="686698" y="94461"/>
                  </a:lnTo>
                  <a:lnTo>
                    <a:pt x="686698" y="94461"/>
                  </a:lnTo>
                  <a:close/>
                  <a:moveTo>
                    <a:pt x="769219" y="45108"/>
                  </a:moveTo>
                  <a:lnTo>
                    <a:pt x="785670" y="45108"/>
                  </a:lnTo>
                  <a:lnTo>
                    <a:pt x="787262" y="37413"/>
                  </a:lnTo>
                  <a:lnTo>
                    <a:pt x="769219" y="37413"/>
                  </a:lnTo>
                  <a:lnTo>
                    <a:pt x="769219" y="19900"/>
                  </a:lnTo>
                  <a:lnTo>
                    <a:pt x="765504" y="19900"/>
                  </a:lnTo>
                  <a:cubicBezTo>
                    <a:pt x="760993" y="29718"/>
                    <a:pt x="754094" y="36882"/>
                    <a:pt x="744807" y="41393"/>
                  </a:cubicBezTo>
                  <a:lnTo>
                    <a:pt x="744807" y="45108"/>
                  </a:lnTo>
                  <a:lnTo>
                    <a:pt x="752502" y="45108"/>
                  </a:lnTo>
                  <a:lnTo>
                    <a:pt x="752502" y="78540"/>
                  </a:lnTo>
                  <a:cubicBezTo>
                    <a:pt x="752502" y="89419"/>
                    <a:pt x="757809" y="94991"/>
                    <a:pt x="768423" y="94991"/>
                  </a:cubicBezTo>
                  <a:cubicBezTo>
                    <a:pt x="776913" y="94726"/>
                    <a:pt x="783547" y="90746"/>
                    <a:pt x="788854" y="83582"/>
                  </a:cubicBezTo>
                  <a:lnTo>
                    <a:pt x="786731" y="79336"/>
                  </a:lnTo>
                  <a:cubicBezTo>
                    <a:pt x="783016" y="84113"/>
                    <a:pt x="779567" y="86501"/>
                    <a:pt x="776383" y="86501"/>
                  </a:cubicBezTo>
                  <a:cubicBezTo>
                    <a:pt x="771872" y="86501"/>
                    <a:pt x="769749" y="84113"/>
                    <a:pt x="769749" y="79336"/>
                  </a:cubicBezTo>
                  <a:lnTo>
                    <a:pt x="769749" y="45108"/>
                  </a:lnTo>
                  <a:lnTo>
                    <a:pt x="769219" y="45108"/>
                  </a:lnTo>
                  <a:close/>
                  <a:moveTo>
                    <a:pt x="836084" y="90215"/>
                  </a:moveTo>
                  <a:cubicBezTo>
                    <a:pt x="830247" y="89950"/>
                    <a:pt x="827328" y="87031"/>
                    <a:pt x="827328" y="81459"/>
                  </a:cubicBezTo>
                  <a:lnTo>
                    <a:pt x="827328" y="34229"/>
                  </a:lnTo>
                  <a:lnTo>
                    <a:pt x="825205" y="34229"/>
                  </a:lnTo>
                  <a:lnTo>
                    <a:pt x="801059" y="42454"/>
                  </a:lnTo>
                  <a:lnTo>
                    <a:pt x="801059" y="45638"/>
                  </a:lnTo>
                  <a:lnTo>
                    <a:pt x="805305" y="47230"/>
                  </a:lnTo>
                  <a:cubicBezTo>
                    <a:pt x="809019" y="48026"/>
                    <a:pt x="810611" y="49884"/>
                    <a:pt x="810346" y="53333"/>
                  </a:cubicBezTo>
                  <a:lnTo>
                    <a:pt x="810346" y="80132"/>
                  </a:lnTo>
                  <a:cubicBezTo>
                    <a:pt x="810611" y="87031"/>
                    <a:pt x="808223" y="90481"/>
                    <a:pt x="802651" y="89950"/>
                  </a:cubicBezTo>
                  <a:lnTo>
                    <a:pt x="801059" y="89950"/>
                  </a:lnTo>
                  <a:lnTo>
                    <a:pt x="801059" y="94461"/>
                  </a:lnTo>
                  <a:lnTo>
                    <a:pt x="836084" y="94461"/>
                  </a:lnTo>
                  <a:lnTo>
                    <a:pt x="836084" y="90215"/>
                  </a:lnTo>
                  <a:lnTo>
                    <a:pt x="836084" y="90215"/>
                  </a:lnTo>
                  <a:close/>
                  <a:moveTo>
                    <a:pt x="818572" y="2388"/>
                  </a:moveTo>
                  <a:cubicBezTo>
                    <a:pt x="811673" y="3184"/>
                    <a:pt x="807693" y="6368"/>
                    <a:pt x="807162" y="11675"/>
                  </a:cubicBezTo>
                  <a:cubicBezTo>
                    <a:pt x="807958" y="17778"/>
                    <a:pt x="811673" y="21227"/>
                    <a:pt x="818572" y="21492"/>
                  </a:cubicBezTo>
                  <a:cubicBezTo>
                    <a:pt x="825205" y="20696"/>
                    <a:pt x="828920" y="17512"/>
                    <a:pt x="829451" y="11675"/>
                  </a:cubicBezTo>
                  <a:cubicBezTo>
                    <a:pt x="829185" y="5837"/>
                    <a:pt x="825471" y="2653"/>
                    <a:pt x="818572" y="2388"/>
                  </a:cubicBezTo>
                  <a:lnTo>
                    <a:pt x="818572" y="2388"/>
                  </a:lnTo>
                  <a:close/>
                  <a:moveTo>
                    <a:pt x="876681" y="45108"/>
                  </a:moveTo>
                  <a:lnTo>
                    <a:pt x="893132" y="45108"/>
                  </a:lnTo>
                  <a:lnTo>
                    <a:pt x="894724" y="37413"/>
                  </a:lnTo>
                  <a:lnTo>
                    <a:pt x="876681" y="37413"/>
                  </a:lnTo>
                  <a:lnTo>
                    <a:pt x="876681" y="19900"/>
                  </a:lnTo>
                  <a:lnTo>
                    <a:pt x="872966" y="19900"/>
                  </a:lnTo>
                  <a:cubicBezTo>
                    <a:pt x="868455" y="29718"/>
                    <a:pt x="861557" y="36882"/>
                    <a:pt x="852004" y="41393"/>
                  </a:cubicBezTo>
                  <a:lnTo>
                    <a:pt x="852004" y="45108"/>
                  </a:lnTo>
                  <a:lnTo>
                    <a:pt x="859699" y="45108"/>
                  </a:lnTo>
                  <a:lnTo>
                    <a:pt x="859699" y="78540"/>
                  </a:lnTo>
                  <a:cubicBezTo>
                    <a:pt x="859699" y="89419"/>
                    <a:pt x="865006" y="94991"/>
                    <a:pt x="875620" y="94991"/>
                  </a:cubicBezTo>
                  <a:cubicBezTo>
                    <a:pt x="884110" y="94726"/>
                    <a:pt x="890744" y="90746"/>
                    <a:pt x="896051" y="83582"/>
                  </a:cubicBezTo>
                  <a:lnTo>
                    <a:pt x="893928" y="79336"/>
                  </a:lnTo>
                  <a:cubicBezTo>
                    <a:pt x="890213" y="84113"/>
                    <a:pt x="886764" y="86501"/>
                    <a:pt x="883580" y="86501"/>
                  </a:cubicBezTo>
                  <a:cubicBezTo>
                    <a:pt x="879069" y="86501"/>
                    <a:pt x="876946" y="84113"/>
                    <a:pt x="876946" y="79336"/>
                  </a:cubicBezTo>
                  <a:lnTo>
                    <a:pt x="876946" y="45108"/>
                  </a:lnTo>
                  <a:lnTo>
                    <a:pt x="876681" y="45108"/>
                  </a:lnTo>
                  <a:close/>
                  <a:moveTo>
                    <a:pt x="957344" y="94991"/>
                  </a:moveTo>
                  <a:lnTo>
                    <a:pt x="959998" y="94991"/>
                  </a:lnTo>
                  <a:lnTo>
                    <a:pt x="982551" y="90746"/>
                  </a:lnTo>
                  <a:lnTo>
                    <a:pt x="982551" y="86235"/>
                  </a:lnTo>
                  <a:cubicBezTo>
                    <a:pt x="980959" y="86501"/>
                    <a:pt x="979898" y="86766"/>
                    <a:pt x="978837" y="86766"/>
                  </a:cubicBezTo>
                  <a:cubicBezTo>
                    <a:pt x="975653" y="87562"/>
                    <a:pt x="974060" y="84643"/>
                    <a:pt x="974326" y="78540"/>
                  </a:cubicBezTo>
                  <a:lnTo>
                    <a:pt x="974326" y="35821"/>
                  </a:lnTo>
                  <a:lnTo>
                    <a:pt x="971672" y="35821"/>
                  </a:lnTo>
                  <a:lnTo>
                    <a:pt x="945935" y="40862"/>
                  </a:lnTo>
                  <a:lnTo>
                    <a:pt x="945935" y="44046"/>
                  </a:lnTo>
                  <a:lnTo>
                    <a:pt x="952568" y="46169"/>
                  </a:lnTo>
                  <a:cubicBezTo>
                    <a:pt x="956283" y="46965"/>
                    <a:pt x="957875" y="49618"/>
                    <a:pt x="957609" y="54395"/>
                  </a:cubicBezTo>
                  <a:lnTo>
                    <a:pt x="957609" y="79602"/>
                  </a:lnTo>
                  <a:cubicBezTo>
                    <a:pt x="951507" y="83316"/>
                    <a:pt x="946731" y="85174"/>
                    <a:pt x="943281" y="85174"/>
                  </a:cubicBezTo>
                  <a:cubicBezTo>
                    <a:pt x="937444" y="84909"/>
                    <a:pt x="934260" y="80132"/>
                    <a:pt x="933994" y="71376"/>
                  </a:cubicBezTo>
                  <a:lnTo>
                    <a:pt x="933994" y="35821"/>
                  </a:lnTo>
                  <a:lnTo>
                    <a:pt x="931341" y="35821"/>
                  </a:lnTo>
                  <a:lnTo>
                    <a:pt x="911175" y="40862"/>
                  </a:lnTo>
                  <a:lnTo>
                    <a:pt x="911175" y="44046"/>
                  </a:lnTo>
                  <a:lnTo>
                    <a:pt x="914359" y="45638"/>
                  </a:lnTo>
                  <a:cubicBezTo>
                    <a:pt x="916482" y="45904"/>
                    <a:pt x="917543" y="48557"/>
                    <a:pt x="917013" y="53333"/>
                  </a:cubicBezTo>
                  <a:lnTo>
                    <a:pt x="917013" y="76948"/>
                  </a:lnTo>
                  <a:cubicBezTo>
                    <a:pt x="917278" y="88623"/>
                    <a:pt x="922585" y="94726"/>
                    <a:pt x="932402" y="94991"/>
                  </a:cubicBezTo>
                  <a:cubicBezTo>
                    <a:pt x="937974" y="95257"/>
                    <a:pt x="946200" y="91807"/>
                    <a:pt x="957609" y="84643"/>
                  </a:cubicBezTo>
                  <a:lnTo>
                    <a:pt x="957609" y="94991"/>
                  </a:lnTo>
                  <a:lnTo>
                    <a:pt x="957344" y="94991"/>
                  </a:lnTo>
                  <a:close/>
                  <a:moveTo>
                    <a:pt x="1023679" y="45108"/>
                  </a:moveTo>
                  <a:lnTo>
                    <a:pt x="1040130" y="45108"/>
                  </a:lnTo>
                  <a:lnTo>
                    <a:pt x="1041722" y="37413"/>
                  </a:lnTo>
                  <a:lnTo>
                    <a:pt x="1023679" y="37413"/>
                  </a:lnTo>
                  <a:lnTo>
                    <a:pt x="1023679" y="19900"/>
                  </a:lnTo>
                  <a:lnTo>
                    <a:pt x="1019964" y="19900"/>
                  </a:lnTo>
                  <a:cubicBezTo>
                    <a:pt x="1015453" y="29718"/>
                    <a:pt x="1008555" y="36882"/>
                    <a:pt x="999002" y="41393"/>
                  </a:cubicBezTo>
                  <a:lnTo>
                    <a:pt x="999002" y="45108"/>
                  </a:lnTo>
                  <a:lnTo>
                    <a:pt x="1006697" y="45108"/>
                  </a:lnTo>
                  <a:lnTo>
                    <a:pt x="1006697" y="78540"/>
                  </a:lnTo>
                  <a:cubicBezTo>
                    <a:pt x="1006697" y="89419"/>
                    <a:pt x="1012004" y="94991"/>
                    <a:pt x="1022618" y="94991"/>
                  </a:cubicBezTo>
                  <a:cubicBezTo>
                    <a:pt x="1031108" y="94726"/>
                    <a:pt x="1037742" y="90746"/>
                    <a:pt x="1043049" y="83582"/>
                  </a:cubicBezTo>
                  <a:lnTo>
                    <a:pt x="1040926" y="79336"/>
                  </a:lnTo>
                  <a:cubicBezTo>
                    <a:pt x="1037211" y="84113"/>
                    <a:pt x="1033762" y="86501"/>
                    <a:pt x="1030578" y="86501"/>
                  </a:cubicBezTo>
                  <a:cubicBezTo>
                    <a:pt x="1026067" y="86501"/>
                    <a:pt x="1023944" y="84113"/>
                    <a:pt x="1023944" y="79336"/>
                  </a:cubicBezTo>
                  <a:lnTo>
                    <a:pt x="1023944" y="45108"/>
                  </a:lnTo>
                  <a:lnTo>
                    <a:pt x="1023679" y="45108"/>
                  </a:lnTo>
                  <a:close/>
                  <a:moveTo>
                    <a:pt x="1111506" y="75356"/>
                  </a:moveTo>
                  <a:cubicBezTo>
                    <a:pt x="1104873" y="82786"/>
                    <a:pt x="1099301" y="86235"/>
                    <a:pt x="1094525" y="85705"/>
                  </a:cubicBezTo>
                  <a:cubicBezTo>
                    <a:pt x="1084972" y="84643"/>
                    <a:pt x="1079400" y="77744"/>
                    <a:pt x="1077543" y="64743"/>
                  </a:cubicBezTo>
                  <a:lnTo>
                    <a:pt x="1116548" y="64743"/>
                  </a:lnTo>
                  <a:lnTo>
                    <a:pt x="1116548" y="61028"/>
                  </a:lnTo>
                  <a:cubicBezTo>
                    <a:pt x="1115221" y="60232"/>
                    <a:pt x="1113894" y="58375"/>
                    <a:pt x="1113364" y="54925"/>
                  </a:cubicBezTo>
                  <a:cubicBezTo>
                    <a:pt x="1112302" y="49353"/>
                    <a:pt x="1110180" y="45108"/>
                    <a:pt x="1107261" y="42189"/>
                  </a:cubicBezTo>
                  <a:cubicBezTo>
                    <a:pt x="1102750" y="37944"/>
                    <a:pt x="1096913" y="35555"/>
                    <a:pt x="1089748" y="35555"/>
                  </a:cubicBezTo>
                  <a:cubicBezTo>
                    <a:pt x="1071175" y="37147"/>
                    <a:pt x="1061092" y="47496"/>
                    <a:pt x="1059500" y="66865"/>
                  </a:cubicBezTo>
                  <a:cubicBezTo>
                    <a:pt x="1060296" y="84909"/>
                    <a:pt x="1068787" y="94195"/>
                    <a:pt x="1085238" y="94726"/>
                  </a:cubicBezTo>
                  <a:cubicBezTo>
                    <a:pt x="1096913" y="94461"/>
                    <a:pt x="1106730" y="88623"/>
                    <a:pt x="1114956" y="77744"/>
                  </a:cubicBezTo>
                  <a:lnTo>
                    <a:pt x="1111506" y="75356"/>
                  </a:lnTo>
                  <a:lnTo>
                    <a:pt x="1111506" y="75356"/>
                  </a:lnTo>
                  <a:close/>
                  <a:moveTo>
                    <a:pt x="1076747" y="59967"/>
                  </a:moveTo>
                  <a:cubicBezTo>
                    <a:pt x="1076481" y="49618"/>
                    <a:pt x="1079666" y="43781"/>
                    <a:pt x="1086564" y="42454"/>
                  </a:cubicBezTo>
                  <a:cubicBezTo>
                    <a:pt x="1092667" y="42720"/>
                    <a:pt x="1096117" y="48557"/>
                    <a:pt x="1096382" y="59967"/>
                  </a:cubicBezTo>
                  <a:lnTo>
                    <a:pt x="1076747" y="59967"/>
                  </a:lnTo>
                  <a:lnTo>
                    <a:pt x="1076747" y="59967"/>
                  </a:lnTo>
                  <a:close/>
                  <a:moveTo>
                    <a:pt x="1172800" y="66600"/>
                  </a:moveTo>
                  <a:cubicBezTo>
                    <a:pt x="1173861" y="84909"/>
                    <a:pt x="1184740" y="94461"/>
                    <a:pt x="1205702" y="94991"/>
                  </a:cubicBezTo>
                  <a:cubicBezTo>
                    <a:pt x="1227725" y="93930"/>
                    <a:pt x="1239400" y="83847"/>
                    <a:pt x="1241257" y="64743"/>
                  </a:cubicBezTo>
                  <a:cubicBezTo>
                    <a:pt x="1239665" y="46965"/>
                    <a:pt x="1228521" y="37147"/>
                    <a:pt x="1207824" y="35555"/>
                  </a:cubicBezTo>
                  <a:cubicBezTo>
                    <a:pt x="1186332" y="37147"/>
                    <a:pt x="1174657" y="47496"/>
                    <a:pt x="1172800" y="66600"/>
                  </a:cubicBezTo>
                  <a:lnTo>
                    <a:pt x="1172800" y="66600"/>
                  </a:lnTo>
                  <a:close/>
                  <a:moveTo>
                    <a:pt x="1191639" y="58375"/>
                  </a:moveTo>
                  <a:cubicBezTo>
                    <a:pt x="1191904" y="47761"/>
                    <a:pt x="1196415" y="42189"/>
                    <a:pt x="1204906" y="41924"/>
                  </a:cubicBezTo>
                  <a:cubicBezTo>
                    <a:pt x="1216315" y="43250"/>
                    <a:pt x="1222153" y="53599"/>
                    <a:pt x="1222949" y="72703"/>
                  </a:cubicBezTo>
                  <a:cubicBezTo>
                    <a:pt x="1222683" y="84113"/>
                    <a:pt x="1218438" y="89950"/>
                    <a:pt x="1210212" y="90215"/>
                  </a:cubicBezTo>
                  <a:cubicBezTo>
                    <a:pt x="1198803" y="89419"/>
                    <a:pt x="1192700" y="78806"/>
                    <a:pt x="1191639" y="58375"/>
                  </a:cubicBezTo>
                  <a:lnTo>
                    <a:pt x="1191639" y="58375"/>
                  </a:lnTo>
                  <a:close/>
                  <a:moveTo>
                    <a:pt x="1284773" y="44577"/>
                  </a:moveTo>
                  <a:lnTo>
                    <a:pt x="1298040" y="44577"/>
                  </a:lnTo>
                  <a:lnTo>
                    <a:pt x="1299101" y="37413"/>
                  </a:lnTo>
                  <a:lnTo>
                    <a:pt x="1284773" y="37413"/>
                  </a:lnTo>
                  <a:lnTo>
                    <a:pt x="1284773" y="23084"/>
                  </a:lnTo>
                  <a:cubicBezTo>
                    <a:pt x="1284773" y="13267"/>
                    <a:pt x="1288488" y="8226"/>
                    <a:pt x="1296182" y="8226"/>
                  </a:cubicBezTo>
                  <a:cubicBezTo>
                    <a:pt x="1299366" y="8226"/>
                    <a:pt x="1303612" y="10348"/>
                    <a:pt x="1308388" y="14859"/>
                  </a:cubicBezTo>
                  <a:cubicBezTo>
                    <a:pt x="1311307" y="17512"/>
                    <a:pt x="1313429" y="18574"/>
                    <a:pt x="1314491" y="18574"/>
                  </a:cubicBezTo>
                  <a:cubicBezTo>
                    <a:pt x="1315552" y="18574"/>
                    <a:pt x="1316613" y="17778"/>
                    <a:pt x="1317144" y="16451"/>
                  </a:cubicBezTo>
                  <a:lnTo>
                    <a:pt x="1321655" y="10879"/>
                  </a:lnTo>
                  <a:cubicBezTo>
                    <a:pt x="1322716" y="9818"/>
                    <a:pt x="1323247" y="9022"/>
                    <a:pt x="1322716" y="8756"/>
                  </a:cubicBezTo>
                  <a:cubicBezTo>
                    <a:pt x="1320859" y="3715"/>
                    <a:pt x="1314756" y="796"/>
                    <a:pt x="1304673" y="0"/>
                  </a:cubicBezTo>
                  <a:cubicBezTo>
                    <a:pt x="1282119" y="3184"/>
                    <a:pt x="1269914" y="15655"/>
                    <a:pt x="1268587" y="37413"/>
                  </a:cubicBezTo>
                  <a:lnTo>
                    <a:pt x="1257708" y="41924"/>
                  </a:lnTo>
                  <a:lnTo>
                    <a:pt x="1257708" y="44577"/>
                  </a:lnTo>
                  <a:lnTo>
                    <a:pt x="1268056" y="44577"/>
                  </a:lnTo>
                  <a:lnTo>
                    <a:pt x="1268056" y="80132"/>
                  </a:lnTo>
                  <a:cubicBezTo>
                    <a:pt x="1268322" y="87031"/>
                    <a:pt x="1265934" y="90481"/>
                    <a:pt x="1260362" y="89950"/>
                  </a:cubicBezTo>
                  <a:lnTo>
                    <a:pt x="1257708" y="89950"/>
                  </a:lnTo>
                  <a:lnTo>
                    <a:pt x="1257708" y="94461"/>
                  </a:lnTo>
                  <a:lnTo>
                    <a:pt x="1300162" y="94461"/>
                  </a:lnTo>
                  <a:lnTo>
                    <a:pt x="1300162" y="89950"/>
                  </a:lnTo>
                  <a:lnTo>
                    <a:pt x="1296978" y="89950"/>
                  </a:lnTo>
                  <a:cubicBezTo>
                    <a:pt x="1288488" y="90215"/>
                    <a:pt x="1284507" y="86766"/>
                    <a:pt x="1285038" y="79071"/>
                  </a:cubicBezTo>
                  <a:lnTo>
                    <a:pt x="1285038" y="44577"/>
                  </a:lnTo>
                  <a:lnTo>
                    <a:pt x="1284773" y="44577"/>
                  </a:lnTo>
                  <a:close/>
                  <a:moveTo>
                    <a:pt x="1408686" y="14328"/>
                  </a:moveTo>
                  <a:lnTo>
                    <a:pt x="1425137" y="14328"/>
                  </a:lnTo>
                  <a:cubicBezTo>
                    <a:pt x="1430975" y="14328"/>
                    <a:pt x="1434689" y="15124"/>
                    <a:pt x="1436016" y="16982"/>
                  </a:cubicBezTo>
                  <a:cubicBezTo>
                    <a:pt x="1437608" y="18574"/>
                    <a:pt x="1438935" y="23084"/>
                    <a:pt x="1440527" y="30779"/>
                  </a:cubicBezTo>
                  <a:lnTo>
                    <a:pt x="1446099" y="30779"/>
                  </a:lnTo>
                  <a:lnTo>
                    <a:pt x="1443976" y="4511"/>
                  </a:lnTo>
                  <a:lnTo>
                    <a:pt x="1438935" y="4511"/>
                  </a:lnTo>
                  <a:cubicBezTo>
                    <a:pt x="1437343" y="6633"/>
                    <a:pt x="1435220" y="7695"/>
                    <a:pt x="1432301" y="7164"/>
                  </a:cubicBezTo>
                  <a:lnTo>
                    <a:pt x="1365436" y="7164"/>
                  </a:lnTo>
                  <a:cubicBezTo>
                    <a:pt x="1364109" y="7164"/>
                    <a:pt x="1362783" y="6899"/>
                    <a:pt x="1361721" y="6633"/>
                  </a:cubicBezTo>
                  <a:cubicBezTo>
                    <a:pt x="1360925" y="6368"/>
                    <a:pt x="1360129" y="5572"/>
                    <a:pt x="1359068" y="4511"/>
                  </a:cubicBezTo>
                  <a:lnTo>
                    <a:pt x="1354557" y="4511"/>
                  </a:lnTo>
                  <a:lnTo>
                    <a:pt x="1351904" y="30779"/>
                  </a:lnTo>
                  <a:lnTo>
                    <a:pt x="1358006" y="30779"/>
                  </a:lnTo>
                  <a:cubicBezTo>
                    <a:pt x="1359333" y="23084"/>
                    <a:pt x="1360925" y="18574"/>
                    <a:pt x="1362517" y="16982"/>
                  </a:cubicBezTo>
                  <a:cubicBezTo>
                    <a:pt x="1364109" y="15124"/>
                    <a:pt x="1367559" y="14328"/>
                    <a:pt x="1372865" y="14328"/>
                  </a:cubicBezTo>
                  <a:lnTo>
                    <a:pt x="1389847" y="14328"/>
                  </a:lnTo>
                  <a:lnTo>
                    <a:pt x="1389847" y="78540"/>
                  </a:lnTo>
                  <a:cubicBezTo>
                    <a:pt x="1390112" y="85439"/>
                    <a:pt x="1386663" y="88889"/>
                    <a:pt x="1378968" y="88889"/>
                  </a:cubicBezTo>
                  <a:lnTo>
                    <a:pt x="1373927" y="88889"/>
                  </a:lnTo>
                  <a:lnTo>
                    <a:pt x="1373927" y="94461"/>
                  </a:lnTo>
                  <a:lnTo>
                    <a:pt x="1424341" y="94461"/>
                  </a:lnTo>
                  <a:lnTo>
                    <a:pt x="1424341" y="89154"/>
                  </a:lnTo>
                  <a:lnTo>
                    <a:pt x="1421157" y="89154"/>
                  </a:lnTo>
                  <a:cubicBezTo>
                    <a:pt x="1412401" y="89419"/>
                    <a:pt x="1408421" y="85970"/>
                    <a:pt x="1409217" y="78806"/>
                  </a:cubicBezTo>
                  <a:lnTo>
                    <a:pt x="1409217" y="14328"/>
                  </a:lnTo>
                  <a:lnTo>
                    <a:pt x="1408686" y="14328"/>
                  </a:lnTo>
                  <a:close/>
                  <a:moveTo>
                    <a:pt x="1517475" y="75356"/>
                  </a:moveTo>
                  <a:cubicBezTo>
                    <a:pt x="1510842" y="82786"/>
                    <a:pt x="1505270" y="86235"/>
                    <a:pt x="1500494" y="85705"/>
                  </a:cubicBezTo>
                  <a:cubicBezTo>
                    <a:pt x="1490941" y="84643"/>
                    <a:pt x="1485369" y="77744"/>
                    <a:pt x="1483512" y="64743"/>
                  </a:cubicBezTo>
                  <a:lnTo>
                    <a:pt x="1522517" y="64743"/>
                  </a:lnTo>
                  <a:lnTo>
                    <a:pt x="1522517" y="61028"/>
                  </a:lnTo>
                  <a:cubicBezTo>
                    <a:pt x="1521190" y="60232"/>
                    <a:pt x="1519863" y="58375"/>
                    <a:pt x="1519333" y="54925"/>
                  </a:cubicBezTo>
                  <a:cubicBezTo>
                    <a:pt x="1518271" y="49353"/>
                    <a:pt x="1516149" y="45108"/>
                    <a:pt x="1513230" y="42189"/>
                  </a:cubicBezTo>
                  <a:cubicBezTo>
                    <a:pt x="1508719" y="37944"/>
                    <a:pt x="1502882" y="35555"/>
                    <a:pt x="1495717" y="35555"/>
                  </a:cubicBezTo>
                  <a:cubicBezTo>
                    <a:pt x="1477144" y="37147"/>
                    <a:pt x="1467061" y="47496"/>
                    <a:pt x="1465469" y="66865"/>
                  </a:cubicBezTo>
                  <a:cubicBezTo>
                    <a:pt x="1466265" y="84909"/>
                    <a:pt x="1474756" y="94195"/>
                    <a:pt x="1491207" y="94726"/>
                  </a:cubicBezTo>
                  <a:cubicBezTo>
                    <a:pt x="1502882" y="94461"/>
                    <a:pt x="1512699" y="88623"/>
                    <a:pt x="1520925" y="77744"/>
                  </a:cubicBezTo>
                  <a:lnTo>
                    <a:pt x="1517475" y="75356"/>
                  </a:lnTo>
                  <a:lnTo>
                    <a:pt x="1517475" y="75356"/>
                  </a:lnTo>
                  <a:close/>
                  <a:moveTo>
                    <a:pt x="1482716" y="59967"/>
                  </a:moveTo>
                  <a:cubicBezTo>
                    <a:pt x="1482451" y="49618"/>
                    <a:pt x="1485635" y="43781"/>
                    <a:pt x="1492533" y="42454"/>
                  </a:cubicBezTo>
                  <a:cubicBezTo>
                    <a:pt x="1498636" y="42720"/>
                    <a:pt x="1502086" y="48557"/>
                    <a:pt x="1502351" y="59967"/>
                  </a:cubicBezTo>
                  <a:lnTo>
                    <a:pt x="1482716" y="59967"/>
                  </a:lnTo>
                  <a:lnTo>
                    <a:pt x="1482716" y="59967"/>
                  </a:lnTo>
                  <a:close/>
                  <a:moveTo>
                    <a:pt x="1595750" y="78540"/>
                  </a:moveTo>
                  <a:cubicBezTo>
                    <a:pt x="1589913" y="85439"/>
                    <a:pt x="1583810" y="88889"/>
                    <a:pt x="1577707" y="88889"/>
                  </a:cubicBezTo>
                  <a:cubicBezTo>
                    <a:pt x="1566828" y="87827"/>
                    <a:pt x="1560991" y="79071"/>
                    <a:pt x="1560195" y="63151"/>
                  </a:cubicBezTo>
                  <a:cubicBezTo>
                    <a:pt x="1560460" y="49884"/>
                    <a:pt x="1564706" y="42985"/>
                    <a:pt x="1572135" y="42189"/>
                  </a:cubicBezTo>
                  <a:cubicBezTo>
                    <a:pt x="1574789" y="42189"/>
                    <a:pt x="1577707" y="44046"/>
                    <a:pt x="1580891" y="47761"/>
                  </a:cubicBezTo>
                  <a:cubicBezTo>
                    <a:pt x="1584606" y="52006"/>
                    <a:pt x="1588321" y="54395"/>
                    <a:pt x="1591770" y="54395"/>
                  </a:cubicBezTo>
                  <a:cubicBezTo>
                    <a:pt x="1596546" y="54129"/>
                    <a:pt x="1598934" y="51741"/>
                    <a:pt x="1598934" y="47230"/>
                  </a:cubicBezTo>
                  <a:cubicBezTo>
                    <a:pt x="1597873" y="39801"/>
                    <a:pt x="1590974" y="36086"/>
                    <a:pt x="1577973" y="35821"/>
                  </a:cubicBezTo>
                  <a:cubicBezTo>
                    <a:pt x="1555419" y="37678"/>
                    <a:pt x="1542948" y="48557"/>
                    <a:pt x="1541356" y="68192"/>
                  </a:cubicBezTo>
                  <a:cubicBezTo>
                    <a:pt x="1542417" y="85439"/>
                    <a:pt x="1552235" y="94461"/>
                    <a:pt x="1571074" y="94991"/>
                  </a:cubicBezTo>
                  <a:cubicBezTo>
                    <a:pt x="1583545" y="94991"/>
                    <a:pt x="1593097" y="90215"/>
                    <a:pt x="1599731" y="80663"/>
                  </a:cubicBezTo>
                  <a:lnTo>
                    <a:pt x="1595750" y="78540"/>
                  </a:lnTo>
                  <a:lnTo>
                    <a:pt x="1595750" y="78540"/>
                  </a:lnTo>
                  <a:close/>
                  <a:moveTo>
                    <a:pt x="1641389" y="51741"/>
                  </a:moveTo>
                  <a:cubicBezTo>
                    <a:pt x="1646961" y="48026"/>
                    <a:pt x="1651737" y="46169"/>
                    <a:pt x="1655717" y="46169"/>
                  </a:cubicBezTo>
                  <a:cubicBezTo>
                    <a:pt x="1661555" y="46434"/>
                    <a:pt x="1664739" y="50680"/>
                    <a:pt x="1665004" y="58375"/>
                  </a:cubicBezTo>
                  <a:lnTo>
                    <a:pt x="1665004" y="79867"/>
                  </a:lnTo>
                  <a:cubicBezTo>
                    <a:pt x="1665800" y="87562"/>
                    <a:pt x="1663412" y="91011"/>
                    <a:pt x="1657840" y="90215"/>
                  </a:cubicBezTo>
                  <a:lnTo>
                    <a:pt x="1656778" y="90215"/>
                  </a:lnTo>
                  <a:lnTo>
                    <a:pt x="1656778" y="94726"/>
                  </a:lnTo>
                  <a:lnTo>
                    <a:pt x="1689681" y="94726"/>
                  </a:lnTo>
                  <a:lnTo>
                    <a:pt x="1689681" y="90215"/>
                  </a:lnTo>
                  <a:lnTo>
                    <a:pt x="1688619" y="90215"/>
                  </a:lnTo>
                  <a:cubicBezTo>
                    <a:pt x="1683843" y="91011"/>
                    <a:pt x="1681720" y="87297"/>
                    <a:pt x="1681986" y="79336"/>
                  </a:cubicBezTo>
                  <a:lnTo>
                    <a:pt x="1681986" y="60763"/>
                  </a:lnTo>
                  <a:cubicBezTo>
                    <a:pt x="1681986" y="44312"/>
                    <a:pt x="1676944" y="36086"/>
                    <a:pt x="1666596" y="36086"/>
                  </a:cubicBezTo>
                  <a:cubicBezTo>
                    <a:pt x="1659963" y="36086"/>
                    <a:pt x="1651737" y="39536"/>
                    <a:pt x="1641389" y="46434"/>
                  </a:cubicBezTo>
                  <a:lnTo>
                    <a:pt x="1641389" y="796"/>
                  </a:lnTo>
                  <a:lnTo>
                    <a:pt x="1638205" y="796"/>
                  </a:lnTo>
                  <a:lnTo>
                    <a:pt x="1615651" y="7430"/>
                  </a:lnTo>
                  <a:lnTo>
                    <a:pt x="1615651" y="10614"/>
                  </a:lnTo>
                  <a:lnTo>
                    <a:pt x="1619896" y="12206"/>
                  </a:lnTo>
                  <a:cubicBezTo>
                    <a:pt x="1623080" y="13002"/>
                    <a:pt x="1624672" y="14859"/>
                    <a:pt x="1624407" y="18308"/>
                  </a:cubicBezTo>
                  <a:lnTo>
                    <a:pt x="1624407" y="79867"/>
                  </a:lnTo>
                  <a:cubicBezTo>
                    <a:pt x="1625203" y="87562"/>
                    <a:pt x="1622550" y="91011"/>
                    <a:pt x="1616712" y="90215"/>
                  </a:cubicBezTo>
                  <a:lnTo>
                    <a:pt x="1614589" y="90215"/>
                  </a:lnTo>
                  <a:lnTo>
                    <a:pt x="1614589" y="94726"/>
                  </a:lnTo>
                  <a:lnTo>
                    <a:pt x="1650145" y="94726"/>
                  </a:lnTo>
                  <a:lnTo>
                    <a:pt x="1650145" y="90215"/>
                  </a:lnTo>
                  <a:lnTo>
                    <a:pt x="1649084" y="90215"/>
                  </a:lnTo>
                  <a:cubicBezTo>
                    <a:pt x="1643511" y="91011"/>
                    <a:pt x="1641123" y="87562"/>
                    <a:pt x="1641389" y="80398"/>
                  </a:cubicBezTo>
                  <a:lnTo>
                    <a:pt x="1641389" y="51741"/>
                  </a:lnTo>
                  <a:lnTo>
                    <a:pt x="1641389" y="51741"/>
                  </a:lnTo>
                  <a:close/>
                  <a:moveTo>
                    <a:pt x="1771405" y="59967"/>
                  </a:moveTo>
                  <a:cubicBezTo>
                    <a:pt x="1771670" y="43516"/>
                    <a:pt x="1766894" y="35555"/>
                    <a:pt x="1756546" y="35821"/>
                  </a:cubicBezTo>
                  <a:cubicBezTo>
                    <a:pt x="1749647" y="35821"/>
                    <a:pt x="1740891" y="39536"/>
                    <a:pt x="1730277" y="46700"/>
                  </a:cubicBezTo>
                  <a:lnTo>
                    <a:pt x="1730277" y="33963"/>
                  </a:lnTo>
                  <a:lnTo>
                    <a:pt x="1728155" y="33963"/>
                  </a:lnTo>
                  <a:lnTo>
                    <a:pt x="1704009" y="42189"/>
                  </a:lnTo>
                  <a:lnTo>
                    <a:pt x="1704009" y="45373"/>
                  </a:lnTo>
                  <a:lnTo>
                    <a:pt x="1706662" y="45904"/>
                  </a:lnTo>
                  <a:cubicBezTo>
                    <a:pt x="1711438" y="47496"/>
                    <a:pt x="1713561" y="49618"/>
                    <a:pt x="1713296" y="52537"/>
                  </a:cubicBezTo>
                  <a:lnTo>
                    <a:pt x="1713296" y="79867"/>
                  </a:lnTo>
                  <a:cubicBezTo>
                    <a:pt x="1713561" y="86766"/>
                    <a:pt x="1711173" y="90215"/>
                    <a:pt x="1705601" y="89685"/>
                  </a:cubicBezTo>
                  <a:lnTo>
                    <a:pt x="1704539" y="89685"/>
                  </a:lnTo>
                  <a:lnTo>
                    <a:pt x="1704539" y="94195"/>
                  </a:lnTo>
                  <a:lnTo>
                    <a:pt x="1740095" y="94195"/>
                  </a:lnTo>
                  <a:lnTo>
                    <a:pt x="1740095" y="89685"/>
                  </a:lnTo>
                  <a:lnTo>
                    <a:pt x="1739034" y="89685"/>
                  </a:lnTo>
                  <a:cubicBezTo>
                    <a:pt x="1733196" y="89685"/>
                    <a:pt x="1730277" y="86501"/>
                    <a:pt x="1730277" y="80398"/>
                  </a:cubicBezTo>
                  <a:lnTo>
                    <a:pt x="1730277" y="51741"/>
                  </a:lnTo>
                  <a:cubicBezTo>
                    <a:pt x="1736115" y="47761"/>
                    <a:pt x="1741156" y="45638"/>
                    <a:pt x="1745667" y="45638"/>
                  </a:cubicBezTo>
                  <a:cubicBezTo>
                    <a:pt x="1751239" y="45373"/>
                    <a:pt x="1753893" y="50680"/>
                    <a:pt x="1753893" y="61559"/>
                  </a:cubicBezTo>
                  <a:lnTo>
                    <a:pt x="1753893" y="73764"/>
                  </a:lnTo>
                  <a:cubicBezTo>
                    <a:pt x="1754158" y="84378"/>
                    <a:pt x="1751770" y="89685"/>
                    <a:pt x="1746198" y="89685"/>
                  </a:cubicBezTo>
                  <a:lnTo>
                    <a:pt x="1746198" y="94195"/>
                  </a:lnTo>
                  <a:lnTo>
                    <a:pt x="1779100" y="94195"/>
                  </a:lnTo>
                  <a:lnTo>
                    <a:pt x="1779100" y="89685"/>
                  </a:lnTo>
                  <a:cubicBezTo>
                    <a:pt x="1773528" y="89950"/>
                    <a:pt x="1771140" y="87297"/>
                    <a:pt x="1771405" y="81459"/>
                  </a:cubicBezTo>
                  <a:lnTo>
                    <a:pt x="1771405" y="59967"/>
                  </a:lnTo>
                  <a:lnTo>
                    <a:pt x="1771405" y="59967"/>
                  </a:lnTo>
                  <a:close/>
                  <a:moveTo>
                    <a:pt x="1797143" y="66600"/>
                  </a:moveTo>
                  <a:cubicBezTo>
                    <a:pt x="1798204" y="84909"/>
                    <a:pt x="1809083" y="94461"/>
                    <a:pt x="1830045" y="94991"/>
                  </a:cubicBezTo>
                  <a:cubicBezTo>
                    <a:pt x="1852068" y="93930"/>
                    <a:pt x="1863743" y="83847"/>
                    <a:pt x="1865600" y="64743"/>
                  </a:cubicBezTo>
                  <a:cubicBezTo>
                    <a:pt x="1864008" y="46965"/>
                    <a:pt x="1852864" y="37147"/>
                    <a:pt x="1832168" y="35555"/>
                  </a:cubicBezTo>
                  <a:cubicBezTo>
                    <a:pt x="1810675" y="37147"/>
                    <a:pt x="1799000" y="47496"/>
                    <a:pt x="1797143" y="66600"/>
                  </a:cubicBezTo>
                  <a:lnTo>
                    <a:pt x="1797143" y="66600"/>
                  </a:lnTo>
                  <a:close/>
                  <a:moveTo>
                    <a:pt x="1815717" y="58375"/>
                  </a:moveTo>
                  <a:cubicBezTo>
                    <a:pt x="1815982" y="47761"/>
                    <a:pt x="1820493" y="42189"/>
                    <a:pt x="1828984" y="41924"/>
                  </a:cubicBezTo>
                  <a:cubicBezTo>
                    <a:pt x="1840393" y="43250"/>
                    <a:pt x="1846231" y="53599"/>
                    <a:pt x="1847027" y="72703"/>
                  </a:cubicBezTo>
                  <a:cubicBezTo>
                    <a:pt x="1846761" y="84113"/>
                    <a:pt x="1842516" y="89950"/>
                    <a:pt x="1834290" y="90215"/>
                  </a:cubicBezTo>
                  <a:cubicBezTo>
                    <a:pt x="1823146" y="89419"/>
                    <a:pt x="1816778" y="78806"/>
                    <a:pt x="1815717" y="58375"/>
                  </a:cubicBezTo>
                  <a:lnTo>
                    <a:pt x="1815717" y="58375"/>
                  </a:lnTo>
                  <a:close/>
                  <a:moveTo>
                    <a:pt x="1908055" y="796"/>
                  </a:moveTo>
                  <a:lnTo>
                    <a:pt x="1905401" y="796"/>
                  </a:lnTo>
                  <a:lnTo>
                    <a:pt x="1881256" y="7960"/>
                  </a:lnTo>
                  <a:lnTo>
                    <a:pt x="1881256" y="11675"/>
                  </a:lnTo>
                  <a:lnTo>
                    <a:pt x="1887358" y="13798"/>
                  </a:lnTo>
                  <a:cubicBezTo>
                    <a:pt x="1890277" y="14063"/>
                    <a:pt x="1891604" y="16982"/>
                    <a:pt x="1891073" y="22023"/>
                  </a:cubicBezTo>
                  <a:lnTo>
                    <a:pt x="1891073" y="80132"/>
                  </a:lnTo>
                  <a:cubicBezTo>
                    <a:pt x="1891338" y="87031"/>
                    <a:pt x="1888685" y="90481"/>
                    <a:pt x="1882847" y="89950"/>
                  </a:cubicBezTo>
                  <a:lnTo>
                    <a:pt x="1881786" y="89950"/>
                  </a:lnTo>
                  <a:lnTo>
                    <a:pt x="1881786" y="94461"/>
                  </a:lnTo>
                  <a:lnTo>
                    <a:pt x="1916280" y="94461"/>
                  </a:lnTo>
                  <a:lnTo>
                    <a:pt x="1916280" y="89950"/>
                  </a:lnTo>
                  <a:cubicBezTo>
                    <a:pt x="1910708" y="89950"/>
                    <a:pt x="1908055" y="86766"/>
                    <a:pt x="1908055" y="80132"/>
                  </a:cubicBezTo>
                  <a:lnTo>
                    <a:pt x="1908055" y="796"/>
                  </a:lnTo>
                  <a:lnTo>
                    <a:pt x="1908055" y="796"/>
                  </a:lnTo>
                  <a:close/>
                  <a:moveTo>
                    <a:pt x="1933793" y="66600"/>
                  </a:moveTo>
                  <a:cubicBezTo>
                    <a:pt x="1934854" y="84909"/>
                    <a:pt x="1945733" y="94461"/>
                    <a:pt x="1966695" y="94991"/>
                  </a:cubicBezTo>
                  <a:cubicBezTo>
                    <a:pt x="1988718" y="93930"/>
                    <a:pt x="2000393" y="83847"/>
                    <a:pt x="2002250" y="64743"/>
                  </a:cubicBezTo>
                  <a:cubicBezTo>
                    <a:pt x="2000658" y="46965"/>
                    <a:pt x="1989514" y="37147"/>
                    <a:pt x="1968817" y="35555"/>
                  </a:cubicBezTo>
                  <a:cubicBezTo>
                    <a:pt x="1947325" y="37147"/>
                    <a:pt x="1935650" y="47496"/>
                    <a:pt x="1933793" y="66600"/>
                  </a:cubicBezTo>
                  <a:lnTo>
                    <a:pt x="1933793" y="66600"/>
                  </a:lnTo>
                  <a:close/>
                  <a:moveTo>
                    <a:pt x="1952366" y="58375"/>
                  </a:moveTo>
                  <a:cubicBezTo>
                    <a:pt x="1952632" y="47761"/>
                    <a:pt x="1957143" y="42189"/>
                    <a:pt x="1965633" y="41924"/>
                  </a:cubicBezTo>
                  <a:cubicBezTo>
                    <a:pt x="1977043" y="43250"/>
                    <a:pt x="1982881" y="53599"/>
                    <a:pt x="1983676" y="72703"/>
                  </a:cubicBezTo>
                  <a:cubicBezTo>
                    <a:pt x="1983411" y="84113"/>
                    <a:pt x="1979166" y="89950"/>
                    <a:pt x="1970940" y="90215"/>
                  </a:cubicBezTo>
                  <a:cubicBezTo>
                    <a:pt x="1959796" y="89419"/>
                    <a:pt x="1953428" y="78806"/>
                    <a:pt x="1952366" y="58375"/>
                  </a:cubicBezTo>
                  <a:lnTo>
                    <a:pt x="1952366" y="58375"/>
                  </a:lnTo>
                  <a:close/>
                  <a:moveTo>
                    <a:pt x="2092731" y="36351"/>
                  </a:moveTo>
                  <a:lnTo>
                    <a:pt x="2073096" y="41393"/>
                  </a:lnTo>
                  <a:cubicBezTo>
                    <a:pt x="2068054" y="37678"/>
                    <a:pt x="2061686" y="35821"/>
                    <a:pt x="2053991" y="35821"/>
                  </a:cubicBezTo>
                  <a:cubicBezTo>
                    <a:pt x="2036479" y="36882"/>
                    <a:pt x="2026927" y="44046"/>
                    <a:pt x="2025600" y="57313"/>
                  </a:cubicBezTo>
                  <a:cubicBezTo>
                    <a:pt x="2026661" y="66865"/>
                    <a:pt x="2032764" y="72438"/>
                    <a:pt x="2043643" y="74295"/>
                  </a:cubicBezTo>
                  <a:lnTo>
                    <a:pt x="2043643" y="74826"/>
                  </a:lnTo>
                  <a:cubicBezTo>
                    <a:pt x="2030111" y="77744"/>
                    <a:pt x="2024008" y="81724"/>
                    <a:pt x="2025069" y="86235"/>
                  </a:cubicBezTo>
                  <a:cubicBezTo>
                    <a:pt x="2025335" y="92073"/>
                    <a:pt x="2029580" y="96053"/>
                    <a:pt x="2037275" y="98176"/>
                  </a:cubicBezTo>
                  <a:cubicBezTo>
                    <a:pt x="2036479" y="99768"/>
                    <a:pt x="2034356" y="101094"/>
                    <a:pt x="2030641" y="102686"/>
                  </a:cubicBezTo>
                  <a:cubicBezTo>
                    <a:pt x="2025600" y="105340"/>
                    <a:pt x="2022947" y="108258"/>
                    <a:pt x="2022947" y="111973"/>
                  </a:cubicBezTo>
                  <a:cubicBezTo>
                    <a:pt x="2024539" y="120464"/>
                    <a:pt x="2034091" y="124975"/>
                    <a:pt x="2052134" y="125771"/>
                  </a:cubicBezTo>
                  <a:cubicBezTo>
                    <a:pt x="2076545" y="124709"/>
                    <a:pt x="2089812" y="116749"/>
                    <a:pt x="2091670" y="102156"/>
                  </a:cubicBezTo>
                  <a:cubicBezTo>
                    <a:pt x="2090874" y="92603"/>
                    <a:pt x="2083709" y="87827"/>
                    <a:pt x="2070177" y="87297"/>
                  </a:cubicBezTo>
                  <a:lnTo>
                    <a:pt x="2057971" y="87297"/>
                  </a:lnTo>
                  <a:cubicBezTo>
                    <a:pt x="2046297" y="87297"/>
                    <a:pt x="2040459" y="85705"/>
                    <a:pt x="2040459" y="82255"/>
                  </a:cubicBezTo>
                  <a:cubicBezTo>
                    <a:pt x="2040194" y="80928"/>
                    <a:pt x="2043908" y="78540"/>
                    <a:pt x="2051869" y="75622"/>
                  </a:cubicBezTo>
                  <a:cubicBezTo>
                    <a:pt x="2070442" y="75356"/>
                    <a:pt x="2080260" y="68723"/>
                    <a:pt x="2081587" y="56517"/>
                  </a:cubicBezTo>
                  <a:cubicBezTo>
                    <a:pt x="2081852" y="52802"/>
                    <a:pt x="2081056" y="49884"/>
                    <a:pt x="2078933" y="47230"/>
                  </a:cubicBezTo>
                  <a:lnTo>
                    <a:pt x="2093262" y="50414"/>
                  </a:lnTo>
                  <a:lnTo>
                    <a:pt x="2093262" y="36351"/>
                  </a:lnTo>
                  <a:lnTo>
                    <a:pt x="2092731" y="36351"/>
                  </a:lnTo>
                  <a:close/>
                  <a:moveTo>
                    <a:pt x="2066993" y="101094"/>
                  </a:moveTo>
                  <a:cubicBezTo>
                    <a:pt x="2074688" y="101094"/>
                    <a:pt x="2078403" y="103482"/>
                    <a:pt x="2078403" y="108258"/>
                  </a:cubicBezTo>
                  <a:cubicBezTo>
                    <a:pt x="2077607" y="115423"/>
                    <a:pt x="2071238" y="119403"/>
                    <a:pt x="2058767" y="119668"/>
                  </a:cubicBezTo>
                  <a:cubicBezTo>
                    <a:pt x="2046031" y="118872"/>
                    <a:pt x="2039132" y="114892"/>
                    <a:pt x="2038071" y="107462"/>
                  </a:cubicBezTo>
                  <a:cubicBezTo>
                    <a:pt x="2038336" y="104544"/>
                    <a:pt x="2040194" y="101890"/>
                    <a:pt x="2043643" y="99768"/>
                  </a:cubicBezTo>
                  <a:cubicBezTo>
                    <a:pt x="2047358" y="100564"/>
                    <a:pt x="2051338" y="100829"/>
                    <a:pt x="2055849" y="100829"/>
                  </a:cubicBezTo>
                  <a:lnTo>
                    <a:pt x="2066993" y="100829"/>
                  </a:lnTo>
                  <a:lnTo>
                    <a:pt x="2066993" y="101094"/>
                  </a:lnTo>
                  <a:close/>
                  <a:moveTo>
                    <a:pt x="2042316" y="54925"/>
                  </a:moveTo>
                  <a:cubicBezTo>
                    <a:pt x="2042582" y="46434"/>
                    <a:pt x="2046031" y="42189"/>
                    <a:pt x="2052665" y="41658"/>
                  </a:cubicBezTo>
                  <a:cubicBezTo>
                    <a:pt x="2060094" y="41924"/>
                    <a:pt x="2063809" y="47496"/>
                    <a:pt x="2064074" y="58109"/>
                  </a:cubicBezTo>
                  <a:cubicBezTo>
                    <a:pt x="2063809" y="65804"/>
                    <a:pt x="2060360" y="69784"/>
                    <a:pt x="2054257" y="70315"/>
                  </a:cubicBezTo>
                  <a:cubicBezTo>
                    <a:pt x="2046827" y="70050"/>
                    <a:pt x="2042582" y="64743"/>
                    <a:pt x="2042316" y="54925"/>
                  </a:cubicBezTo>
                  <a:lnTo>
                    <a:pt x="2042316" y="54925"/>
                  </a:lnTo>
                  <a:close/>
                  <a:moveTo>
                    <a:pt x="2136247" y="92869"/>
                  </a:moveTo>
                  <a:lnTo>
                    <a:pt x="2133593" y="98441"/>
                  </a:lnTo>
                  <a:cubicBezTo>
                    <a:pt x="2130409" y="105074"/>
                    <a:pt x="2125633" y="108789"/>
                    <a:pt x="2119796" y="109320"/>
                  </a:cubicBezTo>
                  <a:cubicBezTo>
                    <a:pt x="2116081" y="109585"/>
                    <a:pt x="2113693" y="110646"/>
                    <a:pt x="2112101" y="111973"/>
                  </a:cubicBezTo>
                  <a:cubicBezTo>
                    <a:pt x="2111039" y="113830"/>
                    <a:pt x="2110243" y="115688"/>
                    <a:pt x="2109978" y="118076"/>
                  </a:cubicBezTo>
                  <a:cubicBezTo>
                    <a:pt x="2110243" y="123117"/>
                    <a:pt x="2113162" y="126036"/>
                    <a:pt x="2118734" y="126301"/>
                  </a:cubicBezTo>
                  <a:cubicBezTo>
                    <a:pt x="2123776" y="126301"/>
                    <a:pt x="2128286" y="122852"/>
                    <a:pt x="2132001" y="115953"/>
                  </a:cubicBezTo>
                  <a:lnTo>
                    <a:pt x="2163311" y="52802"/>
                  </a:lnTo>
                  <a:cubicBezTo>
                    <a:pt x="2166230" y="45904"/>
                    <a:pt x="2170210" y="42189"/>
                    <a:pt x="2175517" y="41924"/>
                  </a:cubicBezTo>
                  <a:lnTo>
                    <a:pt x="2175517" y="37413"/>
                  </a:lnTo>
                  <a:lnTo>
                    <a:pt x="2149248" y="37413"/>
                  </a:lnTo>
                  <a:lnTo>
                    <a:pt x="2149248" y="41924"/>
                  </a:lnTo>
                  <a:cubicBezTo>
                    <a:pt x="2157208" y="42189"/>
                    <a:pt x="2159862" y="45904"/>
                    <a:pt x="2156943" y="52802"/>
                  </a:cubicBezTo>
                  <a:lnTo>
                    <a:pt x="2146064" y="74295"/>
                  </a:lnTo>
                  <a:lnTo>
                    <a:pt x="2134654" y="50149"/>
                  </a:lnTo>
                  <a:cubicBezTo>
                    <a:pt x="2133328" y="47230"/>
                    <a:pt x="2133062" y="45108"/>
                    <a:pt x="2134124" y="44046"/>
                  </a:cubicBezTo>
                  <a:cubicBezTo>
                    <a:pt x="2134920" y="42454"/>
                    <a:pt x="2137043" y="41924"/>
                    <a:pt x="2140757" y="41924"/>
                  </a:cubicBezTo>
                  <a:lnTo>
                    <a:pt x="2140757" y="37413"/>
                  </a:lnTo>
                  <a:lnTo>
                    <a:pt x="2104671" y="37413"/>
                  </a:lnTo>
                  <a:lnTo>
                    <a:pt x="2104671" y="41924"/>
                  </a:lnTo>
                  <a:cubicBezTo>
                    <a:pt x="2109713" y="41128"/>
                    <a:pt x="2114489" y="45373"/>
                    <a:pt x="2118469" y="54660"/>
                  </a:cubicBezTo>
                  <a:lnTo>
                    <a:pt x="2136247" y="92869"/>
                  </a:lnTo>
                  <a:close/>
                </a:path>
              </a:pathLst>
            </a:custGeom>
            <a:solidFill>
              <a:srgbClr val="0049A0"/>
            </a:solidFill>
            <a:ln w="264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4.emf"/><Relationship Id="rId2" Type="http://schemas.openxmlformats.org/officeDocument/2006/relationships/tags" Target="../tags/tag2.x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ľî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ślîdê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işlîdê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îṥlîḍè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24" name="ï$1ïḑè">
            <a:extLst>
              <a:ext uri="{FF2B5EF4-FFF2-40B4-BE49-F238E27FC236}">
                <a16:creationId xmlns:a16="http://schemas.microsoft.com/office/drawing/2014/main" id="{990C2991-351A-4CF6-8E63-DCB6E299039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ctr"/>
            <a:r>
              <a:rPr lang="en-US" altLang="zh-CN" sz="1200" b="0" i="0" dirty="0">
                <a:solidFill>
                  <a:schemeClr val="accent1">
                    <a:lumMod val="40000"/>
                    <a:lumOff val="60000"/>
                  </a:schemeClr>
                </a:solidFill>
                <a:effectLst/>
                <a:latin typeface="arial" panose="020B0604020202020204" pitchFamily="34" charset="0"/>
              </a:rPr>
              <a:t>Wuhan Institute of Technology</a:t>
            </a:r>
            <a:endParaRPr lang="zh-CN" altLang="en-US" sz="1200" dirty="0">
              <a:solidFill>
                <a:schemeClr val="accent1">
                  <a:lumMod val="40000"/>
                  <a:lumOff val="60000"/>
                </a:schemeClr>
              </a:solidFill>
            </a:endParaRPr>
          </a:p>
          <a:p>
            <a:pPr algn="ctr"/>
            <a:endParaRPr lang="zh-CN" altLang="en-US" dirty="0"/>
          </a:p>
        </p:txBody>
      </p:sp>
      <p:sp>
        <p:nvSpPr>
          <p:cNvPr id="4" name="íṥļîdê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CN" altLang="en-US" dirty="0"/>
              <a:t>武汉工程大学</a:t>
            </a:r>
            <a:br>
              <a:rPr lang="en-US" altLang="zh-CN" dirty="0"/>
            </a:br>
            <a:r>
              <a:rPr lang="zh-CN" altLang="en-US" b="0" dirty="0"/>
              <a:t>汇报答辩通用模板</a:t>
            </a:r>
          </a:p>
        </p:txBody>
      </p:sp>
      <p:sp>
        <p:nvSpPr>
          <p:cNvPr id="6" name="íšliḓè"/>
          <p:cNvSpPr>
            <a:spLocks noGrp="1"/>
          </p:cNvSpPr>
          <p:nvPr>
            <p:ph type="body" sz="quarter" idx="10"/>
          </p:nvPr>
        </p:nvSpPr>
        <p:spPr>
          <a:xfrm>
            <a:off x="1689099" y="4927101"/>
            <a:ext cx="2153558" cy="296271"/>
          </a:xfrm>
        </p:spPr>
        <p:txBody>
          <a:bodyPr/>
          <a:lstStyle/>
          <a:p>
            <a:pPr algn="l"/>
            <a:r>
              <a:rPr lang="zh-CN" altLang="en-US" dirty="0"/>
              <a:t>指导老师：周小新</a:t>
            </a:r>
            <a:endParaRPr lang="en-US" altLang="zh-CN" dirty="0"/>
          </a:p>
        </p:txBody>
      </p:sp>
      <p:sp>
        <p:nvSpPr>
          <p:cNvPr id="7" name="iSlîḋe"/>
          <p:cNvSpPr>
            <a:spLocks noGrp="1"/>
          </p:cNvSpPr>
          <p:nvPr>
            <p:ph type="body" sz="quarter" idx="11"/>
          </p:nvPr>
        </p:nvSpPr>
        <p:spPr>
          <a:xfrm>
            <a:off x="1689099" y="5223372"/>
            <a:ext cx="2153558" cy="296271"/>
          </a:xfrm>
        </p:spPr>
        <p:txBody>
          <a:bodyPr/>
          <a:lstStyle/>
          <a:p>
            <a:pPr algn="l"/>
            <a:r>
              <a:rPr lang="zh-CN" altLang="en-US" dirty="0"/>
              <a:t>答辩学生：林一一</a:t>
            </a:r>
            <a:endParaRPr lang="en-US" altLang="en-US" dirty="0"/>
          </a:p>
        </p:txBody>
      </p:sp>
      <p:sp>
        <p:nvSpPr>
          <p:cNvPr id="315" name="iṣlîdé">
            <a:extLst>
              <a:ext uri="{FF2B5EF4-FFF2-40B4-BE49-F238E27FC236}">
                <a16:creationId xmlns:a16="http://schemas.microsoft.com/office/drawing/2014/main" id="{73284166-517E-4DA3-B547-087B1DC3D9E4}"/>
              </a:ext>
            </a:extLst>
          </p:cNvPr>
          <p:cNvSpPr txBox="1"/>
          <p:nvPr/>
        </p:nvSpPr>
        <p:spPr>
          <a:xfrm>
            <a:off x="9475116" y="827328"/>
            <a:ext cx="192042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zh-CN" altLang="en-US" sz="1400" dirty="0">
                <a:solidFill>
                  <a:schemeClr val="accent3"/>
                </a:solidFill>
              </a:rPr>
              <a:t>www.wit.edu.cn</a:t>
            </a:r>
          </a:p>
        </p:txBody>
      </p:sp>
      <p:grpSp>
        <p:nvGrpSpPr>
          <p:cNvPr id="23" name="íśḷïďé">
            <a:extLst>
              <a:ext uri="{FF2B5EF4-FFF2-40B4-BE49-F238E27FC236}">
                <a16:creationId xmlns:a16="http://schemas.microsoft.com/office/drawing/2014/main" id="{AE0E7793-8319-41B7-8331-461660D8999A}"/>
              </a:ext>
            </a:extLst>
          </p:cNvPr>
          <p:cNvGrpSpPr/>
          <p:nvPr/>
        </p:nvGrpSpPr>
        <p:grpSpPr>
          <a:xfrm>
            <a:off x="1591217" y="5062537"/>
            <a:ext cx="124422" cy="309563"/>
            <a:chOff x="1515017" y="5100637"/>
            <a:chExt cx="164294" cy="309563"/>
          </a:xfrm>
        </p:grpSpPr>
        <p:cxnSp>
          <p:nvCxnSpPr>
            <p:cNvPr id="22" name="iṥļïdé">
              <a:extLst>
                <a:ext uri="{FF2B5EF4-FFF2-40B4-BE49-F238E27FC236}">
                  <a16:creationId xmlns:a16="http://schemas.microsoft.com/office/drawing/2014/main" id="{3E4BBCC1-2002-46A0-8730-B1AA916FD284}"/>
                </a:ext>
              </a:extLst>
            </p:cNvPr>
            <p:cNvCxnSpPr/>
            <p:nvPr/>
          </p:nvCxnSpPr>
          <p:spPr>
            <a:xfrm>
              <a:off x="1515017" y="5100637"/>
              <a:ext cx="164294" cy="0"/>
            </a:xfrm>
            <a:prstGeom prst="line">
              <a:avLst/>
            </a:prstGeom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íṩḻíḍe">
              <a:extLst>
                <a:ext uri="{FF2B5EF4-FFF2-40B4-BE49-F238E27FC236}">
                  <a16:creationId xmlns:a16="http://schemas.microsoft.com/office/drawing/2014/main" id="{A02DEB4B-3028-4A23-B6BA-5B63D5345215}"/>
                </a:ext>
              </a:extLst>
            </p:cNvPr>
            <p:cNvCxnSpPr/>
            <p:nvPr/>
          </p:nvCxnSpPr>
          <p:spPr>
            <a:xfrm>
              <a:off x="1515017" y="5410200"/>
              <a:ext cx="164294" cy="0"/>
            </a:xfrm>
            <a:prstGeom prst="line">
              <a:avLst/>
            </a:prstGeom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5" name="îṥḷïḍè">
            <a:extLst>
              <a:ext uri="{FF2B5EF4-FFF2-40B4-BE49-F238E27FC236}">
                <a16:creationId xmlns:a16="http://schemas.microsoft.com/office/drawing/2014/main" id="{4BF5D6BD-38A4-4AC3-A88A-120ABF2DE49C}"/>
              </a:ext>
            </a:extLst>
          </p:cNvPr>
          <p:cNvCxnSpPr>
            <a:cxnSpLocks/>
          </p:cNvCxnSpPr>
          <p:nvPr/>
        </p:nvCxnSpPr>
        <p:spPr>
          <a:xfrm flipH="1">
            <a:off x="11099800" y="718824"/>
            <a:ext cx="18505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íśḻiḓe">
            <a:extLst>
              <a:ext uri="{FF2B5EF4-FFF2-40B4-BE49-F238E27FC236}">
                <a16:creationId xmlns:a16="http://schemas.microsoft.com/office/drawing/2014/main" id="{C56B5671-6BE9-4B59-B39D-975B614330BD}"/>
              </a:ext>
            </a:extLst>
          </p:cNvPr>
          <p:cNvSpPr txBox="1"/>
          <p:nvPr/>
        </p:nvSpPr>
        <p:spPr>
          <a:xfrm>
            <a:off x="7360566" y="5831399"/>
            <a:ext cx="41783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zh-CN" altLang="en-US" sz="1400" b="0" i="0" spc="600" dirty="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格</a:t>
            </a:r>
            <a:r>
              <a:rPr lang="en-US" altLang="zh-CN" sz="1400" b="0" i="0" spc="600" dirty="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lang="zh-CN" altLang="en-US" sz="1400" b="0" i="0" spc="600" dirty="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物</a:t>
            </a:r>
            <a:r>
              <a:rPr lang="en-US" altLang="zh-CN" sz="1400" b="0" i="0" spc="600" dirty="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lang="zh-CN" altLang="en-US" sz="1400" b="0" i="0" spc="600" dirty="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明</a:t>
            </a:r>
            <a:r>
              <a:rPr lang="en-US" altLang="zh-CN" sz="1400" b="0" i="0" spc="600" dirty="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lang="zh-CN" altLang="en-US" sz="1400" b="0" i="0" spc="600" dirty="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理  致</a:t>
            </a:r>
            <a:r>
              <a:rPr lang="en-US" altLang="zh-CN" sz="1400" b="0" i="0" spc="600" dirty="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lang="zh-CN" altLang="en-US" sz="1400" b="0" i="0" spc="600" dirty="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知</a:t>
            </a:r>
            <a:r>
              <a:rPr lang="en-US" altLang="zh-CN" sz="1400" b="0" i="0" spc="600" dirty="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lang="zh-CN" altLang="en-US" sz="1400" b="0" i="0" spc="600" dirty="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笃</a:t>
            </a:r>
            <a:r>
              <a:rPr lang="en-US" altLang="zh-CN" sz="1400" b="0" i="0" spc="600" dirty="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lang="zh-CN" altLang="en-US" sz="1400" b="0" i="0" spc="600" dirty="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行</a:t>
            </a:r>
            <a:endParaRPr lang="en-US" altLang="zh-CN" sz="1400" spc="600" dirty="0">
              <a:solidFill>
                <a:schemeClr val="accent3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Sḷíd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iŝ1ïḍê">
            <a:extLst>
              <a:ext uri="{FF2B5EF4-FFF2-40B4-BE49-F238E27FC236}">
                <a16:creationId xmlns:a16="http://schemas.microsoft.com/office/drawing/2014/main" id="{E56D7EFA-7DB9-4003-A107-B2CCA1238814}"/>
              </a:ext>
            </a:extLst>
          </p:cNvPr>
          <p:cNvCxnSpPr>
            <a:cxnSpLocks/>
          </p:cNvCxnSpPr>
          <p:nvPr/>
        </p:nvCxnSpPr>
        <p:spPr>
          <a:xfrm>
            <a:off x="660400" y="3060382"/>
            <a:ext cx="10856824" cy="0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îšľíḋè">
            <a:extLst>
              <a:ext uri="{FF2B5EF4-FFF2-40B4-BE49-F238E27FC236}">
                <a16:creationId xmlns:a16="http://schemas.microsoft.com/office/drawing/2014/main" id="{CEF3BBC9-F045-40EB-BDB4-1C3DB7034DE8}"/>
              </a:ext>
            </a:extLst>
          </p:cNvPr>
          <p:cNvSpPr/>
          <p:nvPr/>
        </p:nvSpPr>
        <p:spPr bwMode="auto">
          <a:xfrm>
            <a:off x="660400" y="4068058"/>
            <a:ext cx="2582713" cy="9666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 dirty="0"/>
              <a:t>Copy paste fonts. Choose the only option to retain text. </a:t>
            </a:r>
          </a:p>
          <a:p>
            <a:pPr algn="ctr">
              <a:lnSpc>
                <a:spcPct val="130000"/>
              </a:lnSpc>
            </a:pPr>
            <a:r>
              <a:rPr lang="en-US" altLang="zh-CN" sz="1100" dirty="0"/>
              <a:t>……</a:t>
            </a:r>
            <a:endParaRPr lang="zh-CN" altLang="en-US" sz="1100" dirty="0"/>
          </a:p>
        </p:txBody>
      </p:sp>
      <p:sp>
        <p:nvSpPr>
          <p:cNvPr id="11" name="ïṡ1iḓé">
            <a:extLst>
              <a:ext uri="{FF2B5EF4-FFF2-40B4-BE49-F238E27FC236}">
                <a16:creationId xmlns:a16="http://schemas.microsoft.com/office/drawing/2014/main" id="{417B463D-B0F2-4F8E-B233-686E34B91433}"/>
              </a:ext>
            </a:extLst>
          </p:cNvPr>
          <p:cNvSpPr txBox="1"/>
          <p:nvPr/>
        </p:nvSpPr>
        <p:spPr bwMode="auto">
          <a:xfrm>
            <a:off x="660400" y="3680460"/>
            <a:ext cx="2582713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 lnSpcReduction="10000"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000" b="1" dirty="0"/>
              <a:t>Text here</a:t>
            </a:r>
          </a:p>
        </p:txBody>
      </p:sp>
      <p:sp>
        <p:nvSpPr>
          <p:cNvPr id="12" name="iSľîďe">
            <a:extLst>
              <a:ext uri="{FF2B5EF4-FFF2-40B4-BE49-F238E27FC236}">
                <a16:creationId xmlns:a16="http://schemas.microsoft.com/office/drawing/2014/main" id="{ACD643F1-956C-403B-8D04-D29A57BBBBC0}"/>
              </a:ext>
            </a:extLst>
          </p:cNvPr>
          <p:cNvSpPr/>
          <p:nvPr/>
        </p:nvSpPr>
        <p:spPr bwMode="auto">
          <a:xfrm>
            <a:off x="3418996" y="4068058"/>
            <a:ext cx="2582713" cy="9666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 dirty="0"/>
              <a:t>Copy paste fonts. Choose the only option to retain text. </a:t>
            </a:r>
          </a:p>
          <a:p>
            <a:pPr algn="ctr">
              <a:lnSpc>
                <a:spcPct val="130000"/>
              </a:lnSpc>
            </a:pPr>
            <a:r>
              <a:rPr lang="en-US" altLang="zh-CN" sz="1100" dirty="0"/>
              <a:t>……</a:t>
            </a:r>
            <a:endParaRPr lang="zh-CN" altLang="en-US" sz="1100" dirty="0"/>
          </a:p>
        </p:txBody>
      </p:sp>
      <p:sp>
        <p:nvSpPr>
          <p:cNvPr id="13" name="íşlîḑê">
            <a:extLst>
              <a:ext uri="{FF2B5EF4-FFF2-40B4-BE49-F238E27FC236}">
                <a16:creationId xmlns:a16="http://schemas.microsoft.com/office/drawing/2014/main" id="{F5EC61F0-D9F1-473B-B88C-A9F13AD3C53B}"/>
              </a:ext>
            </a:extLst>
          </p:cNvPr>
          <p:cNvSpPr txBox="1"/>
          <p:nvPr/>
        </p:nvSpPr>
        <p:spPr bwMode="auto">
          <a:xfrm>
            <a:off x="3418996" y="3680460"/>
            <a:ext cx="2582713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 lnSpcReduction="10000"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000" b="1" dirty="0"/>
              <a:t>Text here</a:t>
            </a:r>
          </a:p>
        </p:txBody>
      </p:sp>
      <p:sp>
        <p:nvSpPr>
          <p:cNvPr id="14" name="îṧ1íḑe">
            <a:extLst>
              <a:ext uri="{FF2B5EF4-FFF2-40B4-BE49-F238E27FC236}">
                <a16:creationId xmlns:a16="http://schemas.microsoft.com/office/drawing/2014/main" id="{59B90F5A-DA4F-4657-BDAC-EE9E22FA1154}"/>
              </a:ext>
            </a:extLst>
          </p:cNvPr>
          <p:cNvSpPr/>
          <p:nvPr/>
        </p:nvSpPr>
        <p:spPr bwMode="auto">
          <a:xfrm>
            <a:off x="6177592" y="4068058"/>
            <a:ext cx="2582713" cy="9666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 dirty="0"/>
              <a:t>Copy paste fonts. Choose the only option to retain text. </a:t>
            </a:r>
          </a:p>
          <a:p>
            <a:pPr algn="ctr">
              <a:lnSpc>
                <a:spcPct val="130000"/>
              </a:lnSpc>
            </a:pPr>
            <a:r>
              <a:rPr lang="en-US" altLang="zh-CN" sz="1100" dirty="0"/>
              <a:t>……</a:t>
            </a:r>
            <a:endParaRPr lang="zh-CN" altLang="en-US" sz="1100" dirty="0"/>
          </a:p>
        </p:txBody>
      </p:sp>
      <p:sp>
        <p:nvSpPr>
          <p:cNvPr id="15" name="iṧlïḑe">
            <a:extLst>
              <a:ext uri="{FF2B5EF4-FFF2-40B4-BE49-F238E27FC236}">
                <a16:creationId xmlns:a16="http://schemas.microsoft.com/office/drawing/2014/main" id="{5FA583B6-EA02-4321-ACB5-C324D0EC2DC5}"/>
              </a:ext>
            </a:extLst>
          </p:cNvPr>
          <p:cNvSpPr txBox="1"/>
          <p:nvPr/>
        </p:nvSpPr>
        <p:spPr bwMode="auto">
          <a:xfrm>
            <a:off x="6177592" y="3680460"/>
            <a:ext cx="2582713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 lnSpcReduction="10000"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000" b="1" dirty="0"/>
              <a:t>Text here</a:t>
            </a:r>
          </a:p>
        </p:txBody>
      </p:sp>
      <p:sp>
        <p:nvSpPr>
          <p:cNvPr id="16" name="i$ḷîḑê">
            <a:extLst>
              <a:ext uri="{FF2B5EF4-FFF2-40B4-BE49-F238E27FC236}">
                <a16:creationId xmlns:a16="http://schemas.microsoft.com/office/drawing/2014/main" id="{569E41F6-9D71-46A8-BE10-110602520CC6}"/>
              </a:ext>
            </a:extLst>
          </p:cNvPr>
          <p:cNvSpPr/>
          <p:nvPr/>
        </p:nvSpPr>
        <p:spPr bwMode="auto">
          <a:xfrm>
            <a:off x="8936188" y="4068058"/>
            <a:ext cx="2582713" cy="9666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 dirty="0"/>
              <a:t>Copy paste fonts. Choose the only option to retain text. </a:t>
            </a:r>
          </a:p>
          <a:p>
            <a:pPr algn="ctr">
              <a:lnSpc>
                <a:spcPct val="130000"/>
              </a:lnSpc>
            </a:pPr>
            <a:r>
              <a:rPr lang="en-US" altLang="zh-CN" sz="1100" dirty="0"/>
              <a:t>……</a:t>
            </a:r>
            <a:endParaRPr lang="zh-CN" altLang="en-US" sz="1100" dirty="0"/>
          </a:p>
        </p:txBody>
      </p:sp>
      <p:sp>
        <p:nvSpPr>
          <p:cNvPr id="17" name="ï$liḋê">
            <a:extLst>
              <a:ext uri="{FF2B5EF4-FFF2-40B4-BE49-F238E27FC236}">
                <a16:creationId xmlns:a16="http://schemas.microsoft.com/office/drawing/2014/main" id="{5926406F-6A83-4924-AAA6-100461BE6680}"/>
              </a:ext>
            </a:extLst>
          </p:cNvPr>
          <p:cNvSpPr txBox="1"/>
          <p:nvPr/>
        </p:nvSpPr>
        <p:spPr bwMode="auto">
          <a:xfrm>
            <a:off x="8936188" y="3680460"/>
            <a:ext cx="2582713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 lnSpcReduction="10000"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000" b="1" dirty="0"/>
              <a:t>Text here</a:t>
            </a:r>
          </a:p>
        </p:txBody>
      </p:sp>
      <p:grpSp>
        <p:nvGrpSpPr>
          <p:cNvPr id="259" name="ïśḷiḑè">
            <a:extLst>
              <a:ext uri="{FF2B5EF4-FFF2-40B4-BE49-F238E27FC236}">
                <a16:creationId xmlns:a16="http://schemas.microsoft.com/office/drawing/2014/main" id="{6DF0C360-9C1F-4262-8BC9-4BE15A0B2721}"/>
              </a:ext>
            </a:extLst>
          </p:cNvPr>
          <p:cNvGrpSpPr/>
          <p:nvPr/>
        </p:nvGrpSpPr>
        <p:grpSpPr>
          <a:xfrm>
            <a:off x="1627879" y="2736505"/>
            <a:ext cx="647754" cy="647754"/>
            <a:chOff x="1199153" y="3562005"/>
            <a:chExt cx="647754" cy="647754"/>
          </a:xfrm>
        </p:grpSpPr>
        <p:sp>
          <p:nvSpPr>
            <p:cNvPr id="260" name="îSľîḓè">
              <a:extLst>
                <a:ext uri="{FF2B5EF4-FFF2-40B4-BE49-F238E27FC236}">
                  <a16:creationId xmlns:a16="http://schemas.microsoft.com/office/drawing/2014/main" id="{7F48263C-591D-4AA1-90B8-6E637009E158}"/>
                </a:ext>
              </a:extLst>
            </p:cNvPr>
            <p:cNvSpPr/>
            <p:nvPr/>
          </p:nvSpPr>
          <p:spPr bwMode="auto">
            <a:xfrm>
              <a:off x="1199153" y="3562005"/>
              <a:ext cx="647754" cy="647754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38100">
              <a:solidFill>
                <a:schemeClr val="bg1"/>
              </a:solidFill>
              <a:rou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61" name="iṥḷïďê">
              <a:extLst>
                <a:ext uri="{FF2B5EF4-FFF2-40B4-BE49-F238E27FC236}">
                  <a16:creationId xmlns:a16="http://schemas.microsoft.com/office/drawing/2014/main" id="{7A91CC39-DB69-4C7E-80FF-70CDC109B85E}"/>
                </a:ext>
              </a:extLst>
            </p:cNvPr>
            <p:cNvSpPr/>
            <p:nvPr/>
          </p:nvSpPr>
          <p:spPr bwMode="auto">
            <a:xfrm>
              <a:off x="1416849" y="3742538"/>
              <a:ext cx="212362" cy="286689"/>
            </a:xfrm>
            <a:custGeom>
              <a:avLst/>
              <a:gdLst>
                <a:gd name="connsiteX0" fmla="*/ 85725 w 381000"/>
                <a:gd name="connsiteY0" fmla="*/ 38100 h 514350"/>
                <a:gd name="connsiteX1" fmla="*/ 85725 w 381000"/>
                <a:gd name="connsiteY1" fmla="*/ 57150 h 514350"/>
                <a:gd name="connsiteX2" fmla="*/ 121920 w 381000"/>
                <a:gd name="connsiteY2" fmla="*/ 95250 h 514350"/>
                <a:gd name="connsiteX3" fmla="*/ 123825 w 381000"/>
                <a:gd name="connsiteY3" fmla="*/ 95250 h 514350"/>
                <a:gd name="connsiteX4" fmla="*/ 257175 w 381000"/>
                <a:gd name="connsiteY4" fmla="*/ 95250 h 514350"/>
                <a:gd name="connsiteX5" fmla="*/ 295275 w 381000"/>
                <a:gd name="connsiteY5" fmla="*/ 59055 h 514350"/>
                <a:gd name="connsiteX6" fmla="*/ 295275 w 381000"/>
                <a:gd name="connsiteY6" fmla="*/ 57150 h 514350"/>
                <a:gd name="connsiteX7" fmla="*/ 295275 w 381000"/>
                <a:gd name="connsiteY7" fmla="*/ 38100 h 514350"/>
                <a:gd name="connsiteX8" fmla="*/ 352425 w 381000"/>
                <a:gd name="connsiteY8" fmla="*/ 38100 h 514350"/>
                <a:gd name="connsiteX9" fmla="*/ 381000 w 381000"/>
                <a:gd name="connsiteY9" fmla="*/ 66675 h 514350"/>
                <a:gd name="connsiteX10" fmla="*/ 381000 w 381000"/>
                <a:gd name="connsiteY10" fmla="*/ 485775 h 514350"/>
                <a:gd name="connsiteX11" fmla="*/ 352425 w 381000"/>
                <a:gd name="connsiteY11" fmla="*/ 514350 h 514350"/>
                <a:gd name="connsiteX12" fmla="*/ 28575 w 381000"/>
                <a:gd name="connsiteY12" fmla="*/ 514350 h 514350"/>
                <a:gd name="connsiteX13" fmla="*/ 0 w 381000"/>
                <a:gd name="connsiteY13" fmla="*/ 485775 h 514350"/>
                <a:gd name="connsiteX14" fmla="*/ 0 w 381000"/>
                <a:gd name="connsiteY14" fmla="*/ 66675 h 514350"/>
                <a:gd name="connsiteX15" fmla="*/ 28575 w 381000"/>
                <a:gd name="connsiteY15" fmla="*/ 38100 h 514350"/>
                <a:gd name="connsiteX16" fmla="*/ 85725 w 381000"/>
                <a:gd name="connsiteY16" fmla="*/ 38100 h 514350"/>
                <a:gd name="connsiteX17" fmla="*/ 190500 w 381000"/>
                <a:gd name="connsiteY17" fmla="*/ 333375 h 514350"/>
                <a:gd name="connsiteX18" fmla="*/ 76200 w 381000"/>
                <a:gd name="connsiteY18" fmla="*/ 333375 h 514350"/>
                <a:gd name="connsiteX19" fmla="*/ 76200 w 381000"/>
                <a:gd name="connsiteY19" fmla="*/ 352425 h 514350"/>
                <a:gd name="connsiteX20" fmla="*/ 190500 w 381000"/>
                <a:gd name="connsiteY20" fmla="*/ 352425 h 514350"/>
                <a:gd name="connsiteX21" fmla="*/ 190500 w 381000"/>
                <a:gd name="connsiteY21" fmla="*/ 333375 h 514350"/>
                <a:gd name="connsiteX22" fmla="*/ 304800 w 381000"/>
                <a:gd name="connsiteY22" fmla="*/ 257175 h 514350"/>
                <a:gd name="connsiteX23" fmla="*/ 76200 w 381000"/>
                <a:gd name="connsiteY23" fmla="*/ 257175 h 514350"/>
                <a:gd name="connsiteX24" fmla="*/ 76200 w 381000"/>
                <a:gd name="connsiteY24" fmla="*/ 276225 h 514350"/>
                <a:gd name="connsiteX25" fmla="*/ 304800 w 381000"/>
                <a:gd name="connsiteY25" fmla="*/ 276225 h 514350"/>
                <a:gd name="connsiteX26" fmla="*/ 304800 w 381000"/>
                <a:gd name="connsiteY26" fmla="*/ 257175 h 514350"/>
                <a:gd name="connsiteX27" fmla="*/ 304800 w 381000"/>
                <a:gd name="connsiteY27" fmla="*/ 180975 h 514350"/>
                <a:gd name="connsiteX28" fmla="*/ 76200 w 381000"/>
                <a:gd name="connsiteY28" fmla="*/ 180975 h 514350"/>
                <a:gd name="connsiteX29" fmla="*/ 76200 w 381000"/>
                <a:gd name="connsiteY29" fmla="*/ 200025 h 514350"/>
                <a:gd name="connsiteX30" fmla="*/ 304800 w 381000"/>
                <a:gd name="connsiteY30" fmla="*/ 200025 h 514350"/>
                <a:gd name="connsiteX31" fmla="*/ 304800 w 381000"/>
                <a:gd name="connsiteY31" fmla="*/ 180975 h 514350"/>
                <a:gd name="connsiteX32" fmla="*/ 247650 w 381000"/>
                <a:gd name="connsiteY32" fmla="*/ 0 h 514350"/>
                <a:gd name="connsiteX33" fmla="*/ 276225 w 381000"/>
                <a:gd name="connsiteY33" fmla="*/ 28575 h 514350"/>
                <a:gd name="connsiteX34" fmla="*/ 276225 w 381000"/>
                <a:gd name="connsiteY34" fmla="*/ 47625 h 514350"/>
                <a:gd name="connsiteX35" fmla="*/ 247650 w 381000"/>
                <a:gd name="connsiteY35" fmla="*/ 76200 h 514350"/>
                <a:gd name="connsiteX36" fmla="*/ 133350 w 381000"/>
                <a:gd name="connsiteY36" fmla="*/ 76200 h 514350"/>
                <a:gd name="connsiteX37" fmla="*/ 104775 w 381000"/>
                <a:gd name="connsiteY37" fmla="*/ 47625 h 514350"/>
                <a:gd name="connsiteX38" fmla="*/ 104775 w 381000"/>
                <a:gd name="connsiteY38" fmla="*/ 28575 h 514350"/>
                <a:gd name="connsiteX39" fmla="*/ 133350 w 381000"/>
                <a:gd name="connsiteY39" fmla="*/ 0 h 514350"/>
                <a:gd name="connsiteX40" fmla="*/ 247650 w 381000"/>
                <a:gd name="connsiteY40" fmla="*/ 0 h 514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81000" h="514350">
                  <a:moveTo>
                    <a:pt x="85725" y="38100"/>
                  </a:moveTo>
                  <a:lnTo>
                    <a:pt x="85725" y="57150"/>
                  </a:lnTo>
                  <a:cubicBezTo>
                    <a:pt x="85725" y="77534"/>
                    <a:pt x="101727" y="94202"/>
                    <a:pt x="121920" y="95250"/>
                  </a:cubicBezTo>
                  <a:lnTo>
                    <a:pt x="123825" y="95250"/>
                  </a:lnTo>
                  <a:lnTo>
                    <a:pt x="257175" y="95250"/>
                  </a:lnTo>
                  <a:cubicBezTo>
                    <a:pt x="277559" y="95250"/>
                    <a:pt x="294227" y="79248"/>
                    <a:pt x="295275" y="59055"/>
                  </a:cubicBezTo>
                  <a:lnTo>
                    <a:pt x="295275" y="57150"/>
                  </a:lnTo>
                  <a:lnTo>
                    <a:pt x="295275" y="38100"/>
                  </a:lnTo>
                  <a:lnTo>
                    <a:pt x="352425" y="38100"/>
                  </a:lnTo>
                  <a:cubicBezTo>
                    <a:pt x="368236" y="38100"/>
                    <a:pt x="381000" y="50864"/>
                    <a:pt x="381000" y="66675"/>
                  </a:cubicBezTo>
                  <a:lnTo>
                    <a:pt x="381000" y="485775"/>
                  </a:lnTo>
                  <a:cubicBezTo>
                    <a:pt x="381000" y="501587"/>
                    <a:pt x="368236" y="514350"/>
                    <a:pt x="352425" y="514350"/>
                  </a:cubicBezTo>
                  <a:lnTo>
                    <a:pt x="28575" y="514350"/>
                  </a:lnTo>
                  <a:cubicBezTo>
                    <a:pt x="12764" y="514350"/>
                    <a:pt x="0" y="501587"/>
                    <a:pt x="0" y="485775"/>
                  </a:cubicBezTo>
                  <a:lnTo>
                    <a:pt x="0" y="66675"/>
                  </a:lnTo>
                  <a:cubicBezTo>
                    <a:pt x="0" y="50864"/>
                    <a:pt x="12764" y="38100"/>
                    <a:pt x="28575" y="38100"/>
                  </a:cubicBezTo>
                  <a:lnTo>
                    <a:pt x="85725" y="38100"/>
                  </a:lnTo>
                  <a:close/>
                  <a:moveTo>
                    <a:pt x="190500" y="333375"/>
                  </a:moveTo>
                  <a:lnTo>
                    <a:pt x="76200" y="333375"/>
                  </a:lnTo>
                  <a:lnTo>
                    <a:pt x="76200" y="352425"/>
                  </a:lnTo>
                  <a:lnTo>
                    <a:pt x="190500" y="352425"/>
                  </a:lnTo>
                  <a:lnTo>
                    <a:pt x="190500" y="333375"/>
                  </a:lnTo>
                  <a:close/>
                  <a:moveTo>
                    <a:pt x="304800" y="257175"/>
                  </a:moveTo>
                  <a:lnTo>
                    <a:pt x="76200" y="257175"/>
                  </a:lnTo>
                  <a:lnTo>
                    <a:pt x="76200" y="276225"/>
                  </a:lnTo>
                  <a:lnTo>
                    <a:pt x="304800" y="276225"/>
                  </a:lnTo>
                  <a:lnTo>
                    <a:pt x="304800" y="257175"/>
                  </a:lnTo>
                  <a:close/>
                  <a:moveTo>
                    <a:pt x="304800" y="180975"/>
                  </a:moveTo>
                  <a:lnTo>
                    <a:pt x="76200" y="180975"/>
                  </a:lnTo>
                  <a:lnTo>
                    <a:pt x="76200" y="200025"/>
                  </a:lnTo>
                  <a:lnTo>
                    <a:pt x="304800" y="200025"/>
                  </a:lnTo>
                  <a:lnTo>
                    <a:pt x="304800" y="180975"/>
                  </a:lnTo>
                  <a:close/>
                  <a:moveTo>
                    <a:pt x="247650" y="0"/>
                  </a:moveTo>
                  <a:cubicBezTo>
                    <a:pt x="263461" y="0"/>
                    <a:pt x="276225" y="12763"/>
                    <a:pt x="276225" y="28575"/>
                  </a:cubicBezTo>
                  <a:lnTo>
                    <a:pt x="276225" y="47625"/>
                  </a:lnTo>
                  <a:cubicBezTo>
                    <a:pt x="276225" y="63437"/>
                    <a:pt x="263461" y="76200"/>
                    <a:pt x="247650" y="76200"/>
                  </a:cubicBezTo>
                  <a:lnTo>
                    <a:pt x="133350" y="76200"/>
                  </a:lnTo>
                  <a:cubicBezTo>
                    <a:pt x="117539" y="76200"/>
                    <a:pt x="104775" y="63437"/>
                    <a:pt x="104775" y="47625"/>
                  </a:cubicBezTo>
                  <a:lnTo>
                    <a:pt x="104775" y="28575"/>
                  </a:lnTo>
                  <a:cubicBezTo>
                    <a:pt x="104775" y="12763"/>
                    <a:pt x="117539" y="0"/>
                    <a:pt x="133350" y="0"/>
                  </a:cubicBezTo>
                  <a:lnTo>
                    <a:pt x="24765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</p:grpSp>
      <p:grpSp>
        <p:nvGrpSpPr>
          <p:cNvPr id="262" name="iṡļiḑé">
            <a:extLst>
              <a:ext uri="{FF2B5EF4-FFF2-40B4-BE49-F238E27FC236}">
                <a16:creationId xmlns:a16="http://schemas.microsoft.com/office/drawing/2014/main" id="{E4E2EB3C-201A-40BC-A3A4-157D4DD8DFC9}"/>
              </a:ext>
            </a:extLst>
          </p:cNvPr>
          <p:cNvGrpSpPr/>
          <p:nvPr/>
        </p:nvGrpSpPr>
        <p:grpSpPr>
          <a:xfrm>
            <a:off x="4386475" y="2736505"/>
            <a:ext cx="647754" cy="647754"/>
            <a:chOff x="1199153" y="3562005"/>
            <a:chExt cx="647754" cy="647754"/>
          </a:xfrm>
        </p:grpSpPr>
        <p:sp>
          <p:nvSpPr>
            <p:cNvPr id="263" name="íšľíḓè">
              <a:extLst>
                <a:ext uri="{FF2B5EF4-FFF2-40B4-BE49-F238E27FC236}">
                  <a16:creationId xmlns:a16="http://schemas.microsoft.com/office/drawing/2014/main" id="{2E8177AC-577C-4AED-AD48-54A4DE5C823E}"/>
                </a:ext>
              </a:extLst>
            </p:cNvPr>
            <p:cNvSpPr/>
            <p:nvPr/>
          </p:nvSpPr>
          <p:spPr bwMode="auto">
            <a:xfrm>
              <a:off x="1199153" y="3562005"/>
              <a:ext cx="647754" cy="647754"/>
            </a:xfrm>
            <a:prstGeom prst="ellipse">
              <a:avLst/>
            </a:prstGeom>
            <a:solidFill>
              <a:schemeClr val="accent1"/>
            </a:solidFill>
            <a:ln w="38100">
              <a:solidFill>
                <a:schemeClr val="bg1"/>
              </a:solidFill>
              <a:rou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64" name="îṩľiḑè">
              <a:extLst>
                <a:ext uri="{FF2B5EF4-FFF2-40B4-BE49-F238E27FC236}">
                  <a16:creationId xmlns:a16="http://schemas.microsoft.com/office/drawing/2014/main" id="{27EDFCB8-EDB6-4814-AE30-F45AC5053744}"/>
                </a:ext>
              </a:extLst>
            </p:cNvPr>
            <p:cNvSpPr/>
            <p:nvPr/>
          </p:nvSpPr>
          <p:spPr bwMode="auto">
            <a:xfrm>
              <a:off x="1379685" y="3755336"/>
              <a:ext cx="286689" cy="261091"/>
            </a:xfrm>
            <a:custGeom>
              <a:avLst/>
              <a:gdLst>
                <a:gd name="connsiteX0" fmla="*/ 123825 w 533400"/>
                <a:gd name="connsiteY0" fmla="*/ 228600 h 485775"/>
                <a:gd name="connsiteX1" fmla="*/ 123825 w 533400"/>
                <a:gd name="connsiteY1" fmla="*/ 276225 h 485775"/>
                <a:gd name="connsiteX2" fmla="*/ 142875 w 533400"/>
                <a:gd name="connsiteY2" fmla="*/ 276225 h 485775"/>
                <a:gd name="connsiteX3" fmla="*/ 142875 w 533400"/>
                <a:gd name="connsiteY3" fmla="*/ 228600 h 485775"/>
                <a:gd name="connsiteX4" fmla="*/ 390525 w 533400"/>
                <a:gd name="connsiteY4" fmla="*/ 228600 h 485775"/>
                <a:gd name="connsiteX5" fmla="*/ 390525 w 533400"/>
                <a:gd name="connsiteY5" fmla="*/ 276225 h 485775"/>
                <a:gd name="connsiteX6" fmla="*/ 409575 w 533400"/>
                <a:gd name="connsiteY6" fmla="*/ 276225 h 485775"/>
                <a:gd name="connsiteX7" fmla="*/ 409575 w 533400"/>
                <a:gd name="connsiteY7" fmla="*/ 228600 h 485775"/>
                <a:gd name="connsiteX8" fmla="*/ 533400 w 533400"/>
                <a:gd name="connsiteY8" fmla="*/ 228600 h 485775"/>
                <a:gd name="connsiteX9" fmla="*/ 533400 w 533400"/>
                <a:gd name="connsiteY9" fmla="*/ 457200 h 485775"/>
                <a:gd name="connsiteX10" fmla="*/ 504825 w 533400"/>
                <a:gd name="connsiteY10" fmla="*/ 485775 h 485775"/>
                <a:gd name="connsiteX11" fmla="*/ 28575 w 533400"/>
                <a:gd name="connsiteY11" fmla="*/ 485775 h 485775"/>
                <a:gd name="connsiteX12" fmla="*/ 0 w 533400"/>
                <a:gd name="connsiteY12" fmla="*/ 457200 h 485775"/>
                <a:gd name="connsiteX13" fmla="*/ 0 w 533400"/>
                <a:gd name="connsiteY13" fmla="*/ 228600 h 485775"/>
                <a:gd name="connsiteX14" fmla="*/ 123825 w 533400"/>
                <a:gd name="connsiteY14" fmla="*/ 228600 h 485775"/>
                <a:gd name="connsiteX15" fmla="*/ 371475 w 533400"/>
                <a:gd name="connsiteY15" fmla="*/ 0 h 485775"/>
                <a:gd name="connsiteX16" fmla="*/ 409575 w 533400"/>
                <a:gd name="connsiteY16" fmla="*/ 36195 h 485775"/>
                <a:gd name="connsiteX17" fmla="*/ 409575 w 533400"/>
                <a:gd name="connsiteY17" fmla="*/ 38100 h 485775"/>
                <a:gd name="connsiteX18" fmla="*/ 409575 w 533400"/>
                <a:gd name="connsiteY18" fmla="*/ 114300 h 485775"/>
                <a:gd name="connsiteX19" fmla="*/ 504825 w 533400"/>
                <a:gd name="connsiteY19" fmla="*/ 114300 h 485775"/>
                <a:gd name="connsiteX20" fmla="*/ 533400 w 533400"/>
                <a:gd name="connsiteY20" fmla="*/ 142875 h 485775"/>
                <a:gd name="connsiteX21" fmla="*/ 533400 w 533400"/>
                <a:gd name="connsiteY21" fmla="*/ 209550 h 485775"/>
                <a:gd name="connsiteX22" fmla="*/ 0 w 533400"/>
                <a:gd name="connsiteY22" fmla="*/ 209550 h 485775"/>
                <a:gd name="connsiteX23" fmla="*/ 0 w 533400"/>
                <a:gd name="connsiteY23" fmla="*/ 142875 h 485775"/>
                <a:gd name="connsiteX24" fmla="*/ 28575 w 533400"/>
                <a:gd name="connsiteY24" fmla="*/ 114300 h 485775"/>
                <a:gd name="connsiteX25" fmla="*/ 123825 w 533400"/>
                <a:gd name="connsiteY25" fmla="*/ 114300 h 485775"/>
                <a:gd name="connsiteX26" fmla="*/ 123825 w 533400"/>
                <a:gd name="connsiteY26" fmla="*/ 38100 h 485775"/>
                <a:gd name="connsiteX27" fmla="*/ 160020 w 533400"/>
                <a:gd name="connsiteY27" fmla="*/ 0 h 485775"/>
                <a:gd name="connsiteX28" fmla="*/ 161925 w 533400"/>
                <a:gd name="connsiteY28" fmla="*/ 0 h 485775"/>
                <a:gd name="connsiteX29" fmla="*/ 371475 w 533400"/>
                <a:gd name="connsiteY29" fmla="*/ 0 h 485775"/>
                <a:gd name="connsiteX30" fmla="*/ 371475 w 533400"/>
                <a:gd name="connsiteY30" fmla="*/ 19050 h 485775"/>
                <a:gd name="connsiteX31" fmla="*/ 161925 w 533400"/>
                <a:gd name="connsiteY31" fmla="*/ 19050 h 485775"/>
                <a:gd name="connsiteX32" fmla="*/ 142970 w 533400"/>
                <a:gd name="connsiteY32" fmla="*/ 36671 h 485775"/>
                <a:gd name="connsiteX33" fmla="*/ 142875 w 533400"/>
                <a:gd name="connsiteY33" fmla="*/ 38100 h 485775"/>
                <a:gd name="connsiteX34" fmla="*/ 142875 w 533400"/>
                <a:gd name="connsiteY34" fmla="*/ 114300 h 485775"/>
                <a:gd name="connsiteX35" fmla="*/ 390525 w 533400"/>
                <a:gd name="connsiteY35" fmla="*/ 114300 h 485775"/>
                <a:gd name="connsiteX36" fmla="*/ 390525 w 533400"/>
                <a:gd name="connsiteY36" fmla="*/ 38100 h 485775"/>
                <a:gd name="connsiteX37" fmla="*/ 374333 w 533400"/>
                <a:gd name="connsiteY37" fmla="*/ 19241 h 485775"/>
                <a:gd name="connsiteX38" fmla="*/ 372904 w 533400"/>
                <a:gd name="connsiteY38" fmla="*/ 19050 h 485775"/>
                <a:gd name="connsiteX39" fmla="*/ 371475 w 533400"/>
                <a:gd name="connsiteY39" fmla="*/ 19050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533400" h="485775">
                  <a:moveTo>
                    <a:pt x="123825" y="228600"/>
                  </a:moveTo>
                  <a:lnTo>
                    <a:pt x="123825" y="276225"/>
                  </a:lnTo>
                  <a:lnTo>
                    <a:pt x="142875" y="276225"/>
                  </a:lnTo>
                  <a:lnTo>
                    <a:pt x="142875" y="228600"/>
                  </a:lnTo>
                  <a:lnTo>
                    <a:pt x="390525" y="228600"/>
                  </a:lnTo>
                  <a:lnTo>
                    <a:pt x="390525" y="276225"/>
                  </a:lnTo>
                  <a:lnTo>
                    <a:pt x="409575" y="276225"/>
                  </a:lnTo>
                  <a:lnTo>
                    <a:pt x="409575" y="228600"/>
                  </a:lnTo>
                  <a:lnTo>
                    <a:pt x="533400" y="228600"/>
                  </a:lnTo>
                  <a:lnTo>
                    <a:pt x="533400" y="457200"/>
                  </a:lnTo>
                  <a:cubicBezTo>
                    <a:pt x="533400" y="473012"/>
                    <a:pt x="520637" y="485775"/>
                    <a:pt x="504825" y="485775"/>
                  </a:cubicBezTo>
                  <a:lnTo>
                    <a:pt x="28575" y="485775"/>
                  </a:lnTo>
                  <a:cubicBezTo>
                    <a:pt x="12763" y="485775"/>
                    <a:pt x="0" y="473012"/>
                    <a:pt x="0" y="457200"/>
                  </a:cubicBezTo>
                  <a:lnTo>
                    <a:pt x="0" y="228600"/>
                  </a:lnTo>
                  <a:lnTo>
                    <a:pt x="123825" y="228600"/>
                  </a:lnTo>
                  <a:close/>
                  <a:moveTo>
                    <a:pt x="371475" y="0"/>
                  </a:moveTo>
                  <a:cubicBezTo>
                    <a:pt x="391859" y="0"/>
                    <a:pt x="408527" y="16002"/>
                    <a:pt x="409575" y="36195"/>
                  </a:cubicBezTo>
                  <a:lnTo>
                    <a:pt x="409575" y="38100"/>
                  </a:lnTo>
                  <a:lnTo>
                    <a:pt x="409575" y="114300"/>
                  </a:lnTo>
                  <a:lnTo>
                    <a:pt x="504825" y="114300"/>
                  </a:lnTo>
                  <a:cubicBezTo>
                    <a:pt x="520637" y="114300"/>
                    <a:pt x="533400" y="127064"/>
                    <a:pt x="533400" y="142875"/>
                  </a:cubicBezTo>
                  <a:lnTo>
                    <a:pt x="533400" y="209550"/>
                  </a:lnTo>
                  <a:lnTo>
                    <a:pt x="0" y="209550"/>
                  </a:lnTo>
                  <a:lnTo>
                    <a:pt x="0" y="142875"/>
                  </a:lnTo>
                  <a:cubicBezTo>
                    <a:pt x="0" y="127064"/>
                    <a:pt x="12763" y="114300"/>
                    <a:pt x="28575" y="114300"/>
                  </a:cubicBezTo>
                  <a:lnTo>
                    <a:pt x="123825" y="114300"/>
                  </a:lnTo>
                  <a:lnTo>
                    <a:pt x="123825" y="38100"/>
                  </a:lnTo>
                  <a:cubicBezTo>
                    <a:pt x="123825" y="17716"/>
                    <a:pt x="139828" y="1048"/>
                    <a:pt x="160020" y="0"/>
                  </a:cubicBezTo>
                  <a:lnTo>
                    <a:pt x="161925" y="0"/>
                  </a:lnTo>
                  <a:lnTo>
                    <a:pt x="371475" y="0"/>
                  </a:lnTo>
                  <a:close/>
                  <a:moveTo>
                    <a:pt x="371475" y="19050"/>
                  </a:moveTo>
                  <a:lnTo>
                    <a:pt x="161925" y="19050"/>
                  </a:lnTo>
                  <a:cubicBezTo>
                    <a:pt x="151923" y="19050"/>
                    <a:pt x="143637" y="26861"/>
                    <a:pt x="142970" y="36671"/>
                  </a:cubicBezTo>
                  <a:lnTo>
                    <a:pt x="142875" y="38100"/>
                  </a:lnTo>
                  <a:lnTo>
                    <a:pt x="142875" y="114300"/>
                  </a:lnTo>
                  <a:lnTo>
                    <a:pt x="390525" y="114300"/>
                  </a:lnTo>
                  <a:lnTo>
                    <a:pt x="390525" y="38100"/>
                  </a:lnTo>
                  <a:cubicBezTo>
                    <a:pt x="390525" y="28575"/>
                    <a:pt x="383477" y="20669"/>
                    <a:pt x="374333" y="19241"/>
                  </a:cubicBezTo>
                  <a:lnTo>
                    <a:pt x="372904" y="19050"/>
                  </a:lnTo>
                  <a:lnTo>
                    <a:pt x="371475" y="1905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</p:grpSp>
      <p:grpSp>
        <p:nvGrpSpPr>
          <p:cNvPr id="265" name="í$lïḋé">
            <a:extLst>
              <a:ext uri="{FF2B5EF4-FFF2-40B4-BE49-F238E27FC236}">
                <a16:creationId xmlns:a16="http://schemas.microsoft.com/office/drawing/2014/main" id="{E69BEF4D-79B9-444B-8325-19B19540A68A}"/>
              </a:ext>
            </a:extLst>
          </p:cNvPr>
          <p:cNvGrpSpPr/>
          <p:nvPr/>
        </p:nvGrpSpPr>
        <p:grpSpPr>
          <a:xfrm>
            <a:off x="7145071" y="2736505"/>
            <a:ext cx="647754" cy="647754"/>
            <a:chOff x="1199153" y="3562005"/>
            <a:chExt cx="647754" cy="647754"/>
          </a:xfrm>
        </p:grpSpPr>
        <p:sp>
          <p:nvSpPr>
            <p:cNvPr id="266" name="ïṥľíḋe">
              <a:extLst>
                <a:ext uri="{FF2B5EF4-FFF2-40B4-BE49-F238E27FC236}">
                  <a16:creationId xmlns:a16="http://schemas.microsoft.com/office/drawing/2014/main" id="{675282DF-87A4-419B-BF2E-3A6DCA803A32}"/>
                </a:ext>
              </a:extLst>
            </p:cNvPr>
            <p:cNvSpPr/>
            <p:nvPr/>
          </p:nvSpPr>
          <p:spPr bwMode="auto">
            <a:xfrm>
              <a:off x="1199153" y="3562005"/>
              <a:ext cx="647754" cy="647754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38100">
              <a:solidFill>
                <a:schemeClr val="bg1"/>
              </a:solidFill>
              <a:rou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67" name="iSlídê">
              <a:extLst>
                <a:ext uri="{FF2B5EF4-FFF2-40B4-BE49-F238E27FC236}">
                  <a16:creationId xmlns:a16="http://schemas.microsoft.com/office/drawing/2014/main" id="{F472EC84-CD47-4DC8-B78E-A17A1C448929}"/>
                </a:ext>
              </a:extLst>
            </p:cNvPr>
            <p:cNvSpPr/>
            <p:nvPr/>
          </p:nvSpPr>
          <p:spPr bwMode="auto">
            <a:xfrm>
              <a:off x="1379686" y="3766545"/>
              <a:ext cx="286689" cy="238672"/>
            </a:xfrm>
            <a:custGeom>
              <a:avLst/>
              <a:gdLst>
                <a:gd name="connsiteX0" fmla="*/ 482197 w 526297"/>
                <a:gd name="connsiteY0" fmla="*/ 133350 h 438150"/>
                <a:gd name="connsiteX1" fmla="*/ 526298 w 526297"/>
                <a:gd name="connsiteY1" fmla="*/ 177451 h 438150"/>
                <a:gd name="connsiteX2" fmla="*/ 526203 w 526297"/>
                <a:gd name="connsiteY2" fmla="*/ 180880 h 438150"/>
                <a:gd name="connsiteX3" fmla="*/ 512867 w 526297"/>
                <a:gd name="connsiteY3" fmla="*/ 354616 h 438150"/>
                <a:gd name="connsiteX4" fmla="*/ 484388 w 526297"/>
                <a:gd name="connsiteY4" fmla="*/ 381000 h 438150"/>
                <a:gd name="connsiteX5" fmla="*/ 453622 w 526297"/>
                <a:gd name="connsiteY5" fmla="*/ 381000 h 438150"/>
                <a:gd name="connsiteX6" fmla="*/ 453622 w 526297"/>
                <a:gd name="connsiteY6" fmla="*/ 438150 h 438150"/>
                <a:gd name="connsiteX7" fmla="*/ 434572 w 526297"/>
                <a:gd name="connsiteY7" fmla="*/ 438150 h 438150"/>
                <a:gd name="connsiteX8" fmla="*/ 434572 w 526297"/>
                <a:gd name="connsiteY8" fmla="*/ 381000 h 438150"/>
                <a:gd name="connsiteX9" fmla="*/ 91672 w 526297"/>
                <a:gd name="connsiteY9" fmla="*/ 381000 h 438150"/>
                <a:gd name="connsiteX10" fmla="*/ 91672 w 526297"/>
                <a:gd name="connsiteY10" fmla="*/ 438150 h 438150"/>
                <a:gd name="connsiteX11" fmla="*/ 72622 w 526297"/>
                <a:gd name="connsiteY11" fmla="*/ 438150 h 438150"/>
                <a:gd name="connsiteX12" fmla="*/ 72622 w 526297"/>
                <a:gd name="connsiteY12" fmla="*/ 381000 h 438150"/>
                <a:gd name="connsiteX13" fmla="*/ 41952 w 526297"/>
                <a:gd name="connsiteY13" fmla="*/ 381000 h 438150"/>
                <a:gd name="connsiteX14" fmla="*/ 13472 w 526297"/>
                <a:gd name="connsiteY14" fmla="*/ 354616 h 438150"/>
                <a:gd name="connsiteX15" fmla="*/ 137 w 526297"/>
                <a:gd name="connsiteY15" fmla="*/ 180880 h 438150"/>
                <a:gd name="connsiteX16" fmla="*/ 40714 w 526297"/>
                <a:gd name="connsiteY16" fmla="*/ 133541 h 438150"/>
                <a:gd name="connsiteX17" fmla="*/ 44142 w 526297"/>
                <a:gd name="connsiteY17" fmla="*/ 133445 h 438150"/>
                <a:gd name="connsiteX18" fmla="*/ 100531 w 526297"/>
                <a:gd name="connsiteY18" fmla="*/ 180213 h 438150"/>
                <a:gd name="connsiteX19" fmla="*/ 120247 w 526297"/>
                <a:gd name="connsiteY19" fmla="*/ 285750 h 438150"/>
                <a:gd name="connsiteX20" fmla="*/ 405997 w 526297"/>
                <a:gd name="connsiteY20" fmla="*/ 285750 h 438150"/>
                <a:gd name="connsiteX21" fmla="*/ 425809 w 526297"/>
                <a:gd name="connsiteY21" fmla="*/ 180118 h 438150"/>
                <a:gd name="connsiteX22" fmla="*/ 482197 w 526297"/>
                <a:gd name="connsiteY22" fmla="*/ 133350 h 438150"/>
                <a:gd name="connsiteX23" fmla="*/ 415522 w 526297"/>
                <a:gd name="connsiteY23" fmla="*/ 0 h 438150"/>
                <a:gd name="connsiteX24" fmla="*/ 482197 w 526297"/>
                <a:gd name="connsiteY24" fmla="*/ 66675 h 438150"/>
                <a:gd name="connsiteX25" fmla="*/ 482197 w 526297"/>
                <a:gd name="connsiteY25" fmla="*/ 114776 h 438150"/>
                <a:gd name="connsiteX26" fmla="*/ 475053 w 526297"/>
                <a:gd name="connsiteY26" fmla="*/ 114300 h 438150"/>
                <a:gd name="connsiteX27" fmla="*/ 410664 w 526297"/>
                <a:gd name="connsiteY27" fmla="*/ 165830 h 438150"/>
                <a:gd name="connsiteX28" fmla="*/ 410188 w 526297"/>
                <a:gd name="connsiteY28" fmla="*/ 168116 h 438150"/>
                <a:gd name="connsiteX29" fmla="*/ 391710 w 526297"/>
                <a:gd name="connsiteY29" fmla="*/ 266700 h 438150"/>
                <a:gd name="connsiteX30" fmla="*/ 134535 w 526297"/>
                <a:gd name="connsiteY30" fmla="*/ 266700 h 438150"/>
                <a:gd name="connsiteX31" fmla="*/ 116057 w 526297"/>
                <a:gd name="connsiteY31" fmla="*/ 168116 h 438150"/>
                <a:gd name="connsiteX32" fmla="*/ 51191 w 526297"/>
                <a:gd name="connsiteY32" fmla="*/ 114300 h 438150"/>
                <a:gd name="connsiteX33" fmla="*/ 53572 w 526297"/>
                <a:gd name="connsiteY33" fmla="*/ 66675 h 438150"/>
                <a:gd name="connsiteX34" fmla="*/ 120247 w 526297"/>
                <a:gd name="connsiteY34" fmla="*/ 0 h 438150"/>
                <a:gd name="connsiteX35" fmla="*/ 415522 w 526297"/>
                <a:gd name="connsiteY35" fmla="*/ 0 h 438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26297" h="438150">
                  <a:moveTo>
                    <a:pt x="482197" y="133350"/>
                  </a:moveTo>
                  <a:cubicBezTo>
                    <a:pt x="506582" y="133350"/>
                    <a:pt x="526298" y="153067"/>
                    <a:pt x="526298" y="177451"/>
                  </a:cubicBezTo>
                  <a:cubicBezTo>
                    <a:pt x="526298" y="178594"/>
                    <a:pt x="526298" y="179737"/>
                    <a:pt x="526203" y="180880"/>
                  </a:cubicBezTo>
                  <a:lnTo>
                    <a:pt x="512867" y="354616"/>
                  </a:lnTo>
                  <a:cubicBezTo>
                    <a:pt x="511724" y="369475"/>
                    <a:pt x="499343" y="381000"/>
                    <a:pt x="484388" y="381000"/>
                  </a:cubicBezTo>
                  <a:lnTo>
                    <a:pt x="453622" y="381000"/>
                  </a:lnTo>
                  <a:lnTo>
                    <a:pt x="453622" y="438150"/>
                  </a:lnTo>
                  <a:lnTo>
                    <a:pt x="434572" y="438150"/>
                  </a:lnTo>
                  <a:lnTo>
                    <a:pt x="434572" y="381000"/>
                  </a:lnTo>
                  <a:lnTo>
                    <a:pt x="91672" y="381000"/>
                  </a:lnTo>
                  <a:lnTo>
                    <a:pt x="91672" y="438150"/>
                  </a:lnTo>
                  <a:lnTo>
                    <a:pt x="72622" y="438150"/>
                  </a:lnTo>
                  <a:lnTo>
                    <a:pt x="72622" y="381000"/>
                  </a:lnTo>
                  <a:lnTo>
                    <a:pt x="41952" y="381000"/>
                  </a:lnTo>
                  <a:cubicBezTo>
                    <a:pt x="26998" y="381000"/>
                    <a:pt x="14615" y="369475"/>
                    <a:pt x="13472" y="354616"/>
                  </a:cubicBezTo>
                  <a:lnTo>
                    <a:pt x="137" y="180880"/>
                  </a:lnTo>
                  <a:cubicBezTo>
                    <a:pt x="-1768" y="156591"/>
                    <a:pt x="16424" y="135350"/>
                    <a:pt x="40714" y="133541"/>
                  </a:cubicBezTo>
                  <a:cubicBezTo>
                    <a:pt x="41857" y="133445"/>
                    <a:pt x="42999" y="133445"/>
                    <a:pt x="44142" y="133445"/>
                  </a:cubicBezTo>
                  <a:cubicBezTo>
                    <a:pt x="71765" y="133445"/>
                    <a:pt x="95482" y="153067"/>
                    <a:pt x="100531" y="180213"/>
                  </a:cubicBezTo>
                  <a:lnTo>
                    <a:pt x="120247" y="285750"/>
                  </a:lnTo>
                  <a:lnTo>
                    <a:pt x="405997" y="285750"/>
                  </a:lnTo>
                  <a:lnTo>
                    <a:pt x="425809" y="180118"/>
                  </a:lnTo>
                  <a:cubicBezTo>
                    <a:pt x="430857" y="152972"/>
                    <a:pt x="454574" y="133350"/>
                    <a:pt x="482197" y="133350"/>
                  </a:cubicBezTo>
                  <a:close/>
                  <a:moveTo>
                    <a:pt x="415522" y="0"/>
                  </a:moveTo>
                  <a:cubicBezTo>
                    <a:pt x="452384" y="0"/>
                    <a:pt x="482197" y="29813"/>
                    <a:pt x="482197" y="66675"/>
                  </a:cubicBezTo>
                  <a:lnTo>
                    <a:pt x="482197" y="114776"/>
                  </a:lnTo>
                  <a:cubicBezTo>
                    <a:pt x="479816" y="114491"/>
                    <a:pt x="477435" y="114300"/>
                    <a:pt x="475053" y="114300"/>
                  </a:cubicBezTo>
                  <a:cubicBezTo>
                    <a:pt x="444097" y="114300"/>
                    <a:pt x="417427" y="135827"/>
                    <a:pt x="410664" y="165830"/>
                  </a:cubicBezTo>
                  <a:lnTo>
                    <a:pt x="410188" y="168116"/>
                  </a:lnTo>
                  <a:lnTo>
                    <a:pt x="391710" y="266700"/>
                  </a:lnTo>
                  <a:lnTo>
                    <a:pt x="134535" y="266700"/>
                  </a:lnTo>
                  <a:lnTo>
                    <a:pt x="116057" y="168116"/>
                  </a:lnTo>
                  <a:cubicBezTo>
                    <a:pt x="110245" y="136874"/>
                    <a:pt x="82909" y="114300"/>
                    <a:pt x="51191" y="114300"/>
                  </a:cubicBezTo>
                  <a:lnTo>
                    <a:pt x="53572" y="66675"/>
                  </a:lnTo>
                  <a:cubicBezTo>
                    <a:pt x="53572" y="29813"/>
                    <a:pt x="83385" y="0"/>
                    <a:pt x="120247" y="0"/>
                  </a:cubicBezTo>
                  <a:lnTo>
                    <a:pt x="41552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</p:grpSp>
      <p:grpSp>
        <p:nvGrpSpPr>
          <p:cNvPr id="268" name="íṣḷïḓé">
            <a:extLst>
              <a:ext uri="{FF2B5EF4-FFF2-40B4-BE49-F238E27FC236}">
                <a16:creationId xmlns:a16="http://schemas.microsoft.com/office/drawing/2014/main" id="{0FC72599-5882-48B7-8817-761603F317CC}"/>
              </a:ext>
            </a:extLst>
          </p:cNvPr>
          <p:cNvGrpSpPr/>
          <p:nvPr/>
        </p:nvGrpSpPr>
        <p:grpSpPr>
          <a:xfrm>
            <a:off x="9903667" y="2736505"/>
            <a:ext cx="647754" cy="647754"/>
            <a:chOff x="1199153" y="3562005"/>
            <a:chExt cx="647754" cy="647754"/>
          </a:xfrm>
        </p:grpSpPr>
        <p:sp>
          <p:nvSpPr>
            <p:cNvPr id="269" name="iślidè">
              <a:extLst>
                <a:ext uri="{FF2B5EF4-FFF2-40B4-BE49-F238E27FC236}">
                  <a16:creationId xmlns:a16="http://schemas.microsoft.com/office/drawing/2014/main" id="{15DD996C-3941-4618-8CA6-626D6FFCBBF1}"/>
                </a:ext>
              </a:extLst>
            </p:cNvPr>
            <p:cNvSpPr/>
            <p:nvPr/>
          </p:nvSpPr>
          <p:spPr bwMode="auto">
            <a:xfrm>
              <a:off x="1199153" y="3562005"/>
              <a:ext cx="647754" cy="647754"/>
            </a:xfrm>
            <a:prstGeom prst="ellipse">
              <a:avLst/>
            </a:prstGeom>
            <a:solidFill>
              <a:schemeClr val="accent1"/>
            </a:solidFill>
            <a:ln w="38100">
              <a:solidFill>
                <a:schemeClr val="bg1"/>
              </a:solidFill>
              <a:rou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70" name="ïs1îḑê">
              <a:extLst>
                <a:ext uri="{FF2B5EF4-FFF2-40B4-BE49-F238E27FC236}">
                  <a16:creationId xmlns:a16="http://schemas.microsoft.com/office/drawing/2014/main" id="{082FD880-807F-44D8-BBE9-8B71E8EBE1CC}"/>
                </a:ext>
              </a:extLst>
            </p:cNvPr>
            <p:cNvSpPr/>
            <p:nvPr/>
          </p:nvSpPr>
          <p:spPr bwMode="auto">
            <a:xfrm>
              <a:off x="1392260" y="3742537"/>
              <a:ext cx="261540" cy="286689"/>
            </a:xfrm>
            <a:custGeom>
              <a:avLst/>
              <a:gdLst>
                <a:gd name="connsiteX0" fmla="*/ 247650 w 495300"/>
                <a:gd name="connsiteY0" fmla="*/ 0 h 542925"/>
                <a:gd name="connsiteX1" fmla="*/ 495300 w 495300"/>
                <a:gd name="connsiteY1" fmla="*/ 247650 h 542925"/>
                <a:gd name="connsiteX2" fmla="*/ 322707 w 495300"/>
                <a:gd name="connsiteY2" fmla="*/ 483775 h 542925"/>
                <a:gd name="connsiteX3" fmla="*/ 345853 w 495300"/>
                <a:gd name="connsiteY3" fmla="*/ 523875 h 542925"/>
                <a:gd name="connsiteX4" fmla="*/ 419100 w 495300"/>
                <a:gd name="connsiteY4" fmla="*/ 523875 h 542925"/>
                <a:gd name="connsiteX5" fmla="*/ 419100 w 495300"/>
                <a:gd name="connsiteY5" fmla="*/ 542925 h 542925"/>
                <a:gd name="connsiteX6" fmla="*/ 76200 w 495300"/>
                <a:gd name="connsiteY6" fmla="*/ 542925 h 542925"/>
                <a:gd name="connsiteX7" fmla="*/ 76200 w 495300"/>
                <a:gd name="connsiteY7" fmla="*/ 523875 h 542925"/>
                <a:gd name="connsiteX8" fmla="*/ 149447 w 495300"/>
                <a:gd name="connsiteY8" fmla="*/ 523875 h 542925"/>
                <a:gd name="connsiteX9" fmla="*/ 172593 w 495300"/>
                <a:gd name="connsiteY9" fmla="*/ 483775 h 542925"/>
                <a:gd name="connsiteX10" fmla="*/ 0 w 495300"/>
                <a:gd name="connsiteY10" fmla="*/ 247650 h 542925"/>
                <a:gd name="connsiteX11" fmla="*/ 247650 w 495300"/>
                <a:gd name="connsiteY11" fmla="*/ 0 h 542925"/>
                <a:gd name="connsiteX12" fmla="*/ 191643 w 495300"/>
                <a:gd name="connsiteY12" fmla="*/ 488918 h 542925"/>
                <a:gd name="connsiteX13" fmla="*/ 171450 w 495300"/>
                <a:gd name="connsiteY13" fmla="*/ 523875 h 542925"/>
                <a:gd name="connsiteX14" fmla="*/ 323850 w 495300"/>
                <a:gd name="connsiteY14" fmla="*/ 523875 h 542925"/>
                <a:gd name="connsiteX15" fmla="*/ 303657 w 495300"/>
                <a:gd name="connsiteY15" fmla="*/ 488918 h 542925"/>
                <a:gd name="connsiteX16" fmla="*/ 247650 w 495300"/>
                <a:gd name="connsiteY16" fmla="*/ 495300 h 542925"/>
                <a:gd name="connsiteX17" fmla="*/ 191643 w 495300"/>
                <a:gd name="connsiteY17" fmla="*/ 488918 h 542925"/>
                <a:gd name="connsiteX18" fmla="*/ 247650 w 495300"/>
                <a:gd name="connsiteY18" fmla="*/ 142875 h 542925"/>
                <a:gd name="connsiteX19" fmla="*/ 142875 w 495300"/>
                <a:gd name="connsiteY19" fmla="*/ 247650 h 542925"/>
                <a:gd name="connsiteX20" fmla="*/ 247650 w 495300"/>
                <a:gd name="connsiteY20" fmla="*/ 352425 h 542925"/>
                <a:gd name="connsiteX21" fmla="*/ 352425 w 495300"/>
                <a:gd name="connsiteY21" fmla="*/ 247650 h 542925"/>
                <a:gd name="connsiteX22" fmla="*/ 247650 w 495300"/>
                <a:gd name="connsiteY22" fmla="*/ 142875 h 542925"/>
                <a:gd name="connsiteX23" fmla="*/ 366713 w 495300"/>
                <a:gd name="connsiteY23" fmla="*/ 114300 h 542925"/>
                <a:gd name="connsiteX24" fmla="*/ 352425 w 495300"/>
                <a:gd name="connsiteY24" fmla="*/ 128588 h 542925"/>
                <a:gd name="connsiteX25" fmla="*/ 366713 w 495300"/>
                <a:gd name="connsiteY25" fmla="*/ 142875 h 542925"/>
                <a:gd name="connsiteX26" fmla="*/ 381000 w 495300"/>
                <a:gd name="connsiteY26" fmla="*/ 128588 h 542925"/>
                <a:gd name="connsiteX27" fmla="*/ 366713 w 495300"/>
                <a:gd name="connsiteY27" fmla="*/ 114300 h 542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95300" h="542925">
                  <a:moveTo>
                    <a:pt x="247650" y="0"/>
                  </a:moveTo>
                  <a:cubicBezTo>
                    <a:pt x="384429" y="0"/>
                    <a:pt x="495300" y="110871"/>
                    <a:pt x="495300" y="247650"/>
                  </a:cubicBezTo>
                  <a:cubicBezTo>
                    <a:pt x="495300" y="358235"/>
                    <a:pt x="422815" y="451961"/>
                    <a:pt x="322707" y="483775"/>
                  </a:cubicBezTo>
                  <a:lnTo>
                    <a:pt x="345853" y="523875"/>
                  </a:lnTo>
                  <a:lnTo>
                    <a:pt x="419100" y="523875"/>
                  </a:lnTo>
                  <a:lnTo>
                    <a:pt x="419100" y="542925"/>
                  </a:lnTo>
                  <a:lnTo>
                    <a:pt x="76200" y="542925"/>
                  </a:lnTo>
                  <a:lnTo>
                    <a:pt x="76200" y="523875"/>
                  </a:lnTo>
                  <a:lnTo>
                    <a:pt x="149447" y="523875"/>
                  </a:lnTo>
                  <a:lnTo>
                    <a:pt x="172593" y="483775"/>
                  </a:lnTo>
                  <a:cubicBezTo>
                    <a:pt x="72485" y="451961"/>
                    <a:pt x="0" y="358235"/>
                    <a:pt x="0" y="247650"/>
                  </a:cubicBezTo>
                  <a:cubicBezTo>
                    <a:pt x="0" y="110871"/>
                    <a:pt x="110871" y="0"/>
                    <a:pt x="247650" y="0"/>
                  </a:cubicBezTo>
                  <a:close/>
                  <a:moveTo>
                    <a:pt x="191643" y="488918"/>
                  </a:moveTo>
                  <a:lnTo>
                    <a:pt x="171450" y="523875"/>
                  </a:lnTo>
                  <a:lnTo>
                    <a:pt x="323850" y="523875"/>
                  </a:lnTo>
                  <a:lnTo>
                    <a:pt x="303657" y="488918"/>
                  </a:lnTo>
                  <a:cubicBezTo>
                    <a:pt x="285655" y="493109"/>
                    <a:pt x="266891" y="495300"/>
                    <a:pt x="247650" y="495300"/>
                  </a:cubicBezTo>
                  <a:cubicBezTo>
                    <a:pt x="228409" y="495300"/>
                    <a:pt x="209645" y="493109"/>
                    <a:pt x="191643" y="488918"/>
                  </a:cubicBezTo>
                  <a:close/>
                  <a:moveTo>
                    <a:pt x="247650" y="142875"/>
                  </a:moveTo>
                  <a:cubicBezTo>
                    <a:pt x="189738" y="142875"/>
                    <a:pt x="142875" y="189738"/>
                    <a:pt x="142875" y="247650"/>
                  </a:cubicBezTo>
                  <a:cubicBezTo>
                    <a:pt x="142875" y="305562"/>
                    <a:pt x="189738" y="352425"/>
                    <a:pt x="247650" y="352425"/>
                  </a:cubicBezTo>
                  <a:cubicBezTo>
                    <a:pt x="305562" y="352425"/>
                    <a:pt x="352425" y="305562"/>
                    <a:pt x="352425" y="247650"/>
                  </a:cubicBezTo>
                  <a:cubicBezTo>
                    <a:pt x="352425" y="189738"/>
                    <a:pt x="305562" y="142875"/>
                    <a:pt x="247650" y="142875"/>
                  </a:cubicBezTo>
                  <a:close/>
                  <a:moveTo>
                    <a:pt x="366713" y="114300"/>
                  </a:moveTo>
                  <a:cubicBezTo>
                    <a:pt x="358807" y="114300"/>
                    <a:pt x="352425" y="120682"/>
                    <a:pt x="352425" y="128588"/>
                  </a:cubicBezTo>
                  <a:cubicBezTo>
                    <a:pt x="352425" y="136493"/>
                    <a:pt x="358807" y="142875"/>
                    <a:pt x="366713" y="142875"/>
                  </a:cubicBezTo>
                  <a:cubicBezTo>
                    <a:pt x="374618" y="142875"/>
                    <a:pt x="381000" y="136493"/>
                    <a:pt x="381000" y="128588"/>
                  </a:cubicBezTo>
                  <a:cubicBezTo>
                    <a:pt x="381000" y="120682"/>
                    <a:pt x="374618" y="114300"/>
                    <a:pt x="366713" y="11430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</p:grpSp>
      <p:sp>
        <p:nvSpPr>
          <p:cNvPr id="2" name="îśliḋê">
            <a:extLst>
              <a:ext uri="{FF2B5EF4-FFF2-40B4-BE49-F238E27FC236}">
                <a16:creationId xmlns:a16="http://schemas.microsoft.com/office/drawing/2014/main" id="{6E1F2129-7E52-4C03-A42B-DF7C5AE2D6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íSļíḋé">
            <a:extLst>
              <a:ext uri="{FF2B5EF4-FFF2-40B4-BE49-F238E27FC236}">
                <a16:creationId xmlns:a16="http://schemas.microsoft.com/office/drawing/2014/main" id="{728C503E-F6B7-444F-BD2A-93DDC84920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iṡľîḓê">
            <a:extLst>
              <a:ext uri="{FF2B5EF4-FFF2-40B4-BE49-F238E27FC236}">
                <a16:creationId xmlns:a16="http://schemas.microsoft.com/office/drawing/2014/main" id="{4F144333-7DA2-47D6-B904-1444AE501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053035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ṩľîď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ṧļiḍe">
            <a:extLst>
              <a:ext uri="{FF2B5EF4-FFF2-40B4-BE49-F238E27FC236}">
                <a16:creationId xmlns:a16="http://schemas.microsoft.com/office/drawing/2014/main" id="{4A935915-71C7-4CE1-9220-497E870523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iṣľíḑé">
            <a:extLst>
              <a:ext uri="{FF2B5EF4-FFF2-40B4-BE49-F238E27FC236}">
                <a16:creationId xmlns:a16="http://schemas.microsoft.com/office/drawing/2014/main" id="{C1A42048-6E09-4C8D-9DDB-6165D11A7C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îṡlïḓé">
            <a:extLst>
              <a:ext uri="{FF2B5EF4-FFF2-40B4-BE49-F238E27FC236}">
                <a16:creationId xmlns:a16="http://schemas.microsoft.com/office/drawing/2014/main" id="{D5355DC6-F682-45C5-88E4-253B4E2282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grpSp>
        <p:nvGrpSpPr>
          <p:cNvPr id="89" name="iŝ1îďé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9C8E03C3-1F57-47EC-8C8D-D855A3D74512}"/>
              </a:ext>
            </a:extLst>
          </p:cNvPr>
          <p:cNvGrpSpPr>
            <a:grpSpLocks noChangeAspect="1"/>
          </p:cNvGrpSpPr>
          <p:nvPr/>
        </p:nvGrpSpPr>
        <p:grpSpPr>
          <a:xfrm>
            <a:off x="666751" y="1130300"/>
            <a:ext cx="10853737" cy="4851731"/>
            <a:chOff x="666751" y="1130300"/>
            <a:chExt cx="10853737" cy="4851731"/>
          </a:xfrm>
        </p:grpSpPr>
        <p:sp>
          <p:nvSpPr>
            <p:cNvPr id="90" name="ïṡľide">
              <a:extLst>
                <a:ext uri="{FF2B5EF4-FFF2-40B4-BE49-F238E27FC236}">
                  <a16:creationId xmlns:a16="http://schemas.microsoft.com/office/drawing/2014/main" id="{3FA88A88-D9D3-4912-8A55-031B75FB7492}"/>
                </a:ext>
              </a:extLst>
            </p:cNvPr>
            <p:cNvSpPr/>
            <p:nvPr/>
          </p:nvSpPr>
          <p:spPr>
            <a:xfrm>
              <a:off x="666751" y="1778705"/>
              <a:ext cx="3114674" cy="3114674"/>
            </a:xfrm>
            <a:prstGeom prst="ellipse">
              <a:avLst/>
            </a:prstGeom>
            <a:ln w="5715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b="1" dirty="0"/>
                <a:t>Text here</a:t>
              </a:r>
              <a:endParaRPr lang="zh-CN" altLang="en-US" b="1" dirty="0"/>
            </a:p>
          </p:txBody>
        </p:sp>
        <p:grpSp>
          <p:nvGrpSpPr>
            <p:cNvPr id="91" name="ísľíḓè">
              <a:extLst>
                <a:ext uri="{FF2B5EF4-FFF2-40B4-BE49-F238E27FC236}">
                  <a16:creationId xmlns:a16="http://schemas.microsoft.com/office/drawing/2014/main" id="{8D341078-C0B1-44D6-83E0-43C821AD83C2}"/>
                </a:ext>
              </a:extLst>
            </p:cNvPr>
            <p:cNvGrpSpPr/>
            <p:nvPr/>
          </p:nvGrpSpPr>
          <p:grpSpPr>
            <a:xfrm>
              <a:off x="5746916" y="1130300"/>
              <a:ext cx="5771983" cy="1358891"/>
              <a:chOff x="2856011" y="1611904"/>
              <a:chExt cx="6488014" cy="1358891"/>
            </a:xfrm>
          </p:grpSpPr>
          <p:sp>
            <p:nvSpPr>
              <p:cNvPr id="115" name="ísḷíḍé">
                <a:extLst>
                  <a:ext uri="{FF2B5EF4-FFF2-40B4-BE49-F238E27FC236}">
                    <a16:creationId xmlns:a16="http://schemas.microsoft.com/office/drawing/2014/main" id="{682B251B-0663-4D50-9CFB-7B0040A3CBAB}"/>
                  </a:ext>
                </a:extLst>
              </p:cNvPr>
              <p:cNvSpPr txBox="1"/>
              <p:nvPr/>
            </p:nvSpPr>
            <p:spPr>
              <a:xfrm>
                <a:off x="2856011" y="1611904"/>
                <a:ext cx="6488014" cy="58192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buSzPct val="25000"/>
                </a:pPr>
                <a:r>
                  <a:rPr lang="en-US" sz="2400" dirty="0">
                    <a:solidFill>
                      <a:srgbClr val="3A3838"/>
                    </a:solidFill>
                  </a:rPr>
                  <a:t>Unified fonts make reading more fluent.</a:t>
                </a:r>
              </a:p>
            </p:txBody>
          </p:sp>
          <p:sp>
            <p:nvSpPr>
              <p:cNvPr id="116" name="íṣḷîďè">
                <a:extLst>
                  <a:ext uri="{FF2B5EF4-FFF2-40B4-BE49-F238E27FC236}">
                    <a16:creationId xmlns:a16="http://schemas.microsoft.com/office/drawing/2014/main" id="{F25168D9-0BD7-4DC6-85ED-4C4D6948589E}"/>
                  </a:ext>
                </a:extLst>
              </p:cNvPr>
              <p:cNvSpPr txBox="1"/>
              <p:nvPr/>
            </p:nvSpPr>
            <p:spPr>
              <a:xfrm>
                <a:off x="2856012" y="2193831"/>
                <a:ext cx="6488011" cy="77696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50000"/>
                  </a:lnSpc>
                  <a:buSzPct val="25000"/>
                </a:pPr>
                <a:r>
                  <a:rPr lang="en-US" sz="1100" dirty="0"/>
                  <a:t>Theme color makes PPT more convenient to change.</a:t>
                </a:r>
              </a:p>
              <a:p>
                <a:pPr algn="ctr">
                  <a:lnSpc>
                    <a:spcPct val="150000"/>
                  </a:lnSpc>
                  <a:buSzPct val="25000"/>
                </a:pPr>
                <a:r>
                  <a:rPr lang="en-US" sz="1100" dirty="0"/>
                  <a:t>Adjust the spacing to adapt to Chinese typesetting, use the reference line in PPT.</a:t>
                </a:r>
              </a:p>
            </p:txBody>
          </p:sp>
        </p:grpSp>
        <p:grpSp>
          <p:nvGrpSpPr>
            <p:cNvPr id="92" name="îŝḷïḍe">
              <a:extLst>
                <a:ext uri="{FF2B5EF4-FFF2-40B4-BE49-F238E27FC236}">
                  <a16:creationId xmlns:a16="http://schemas.microsoft.com/office/drawing/2014/main" id="{8DD5FC62-E840-40DA-887D-6D030C4B099A}"/>
                </a:ext>
              </a:extLst>
            </p:cNvPr>
            <p:cNvGrpSpPr/>
            <p:nvPr/>
          </p:nvGrpSpPr>
          <p:grpSpPr>
            <a:xfrm>
              <a:off x="5746917" y="2977351"/>
              <a:ext cx="717384" cy="717384"/>
              <a:chOff x="4350253" y="2977352"/>
              <a:chExt cx="717384" cy="717384"/>
            </a:xfrm>
          </p:grpSpPr>
          <p:sp>
            <p:nvSpPr>
              <p:cNvPr id="113" name="ïŝḻïḋê">
                <a:extLst>
                  <a:ext uri="{FF2B5EF4-FFF2-40B4-BE49-F238E27FC236}">
                    <a16:creationId xmlns:a16="http://schemas.microsoft.com/office/drawing/2014/main" id="{23F97C7E-671D-4089-B640-CBA5EF4F297F}"/>
                  </a:ext>
                </a:extLst>
              </p:cNvPr>
              <p:cNvSpPr/>
              <p:nvPr/>
            </p:nvSpPr>
            <p:spPr>
              <a:xfrm>
                <a:off x="4350253" y="2977352"/>
                <a:ext cx="717384" cy="717384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b="1" dirty="0"/>
              </a:p>
            </p:txBody>
          </p:sp>
          <p:sp>
            <p:nvSpPr>
              <p:cNvPr id="114" name="ïşļídè">
                <a:extLst>
                  <a:ext uri="{FF2B5EF4-FFF2-40B4-BE49-F238E27FC236}">
                    <a16:creationId xmlns:a16="http://schemas.microsoft.com/office/drawing/2014/main" id="{0539B07A-882C-44CC-BCC8-ABE53E3AC56E}"/>
                  </a:ext>
                </a:extLst>
              </p:cNvPr>
              <p:cNvSpPr/>
              <p:nvPr/>
            </p:nvSpPr>
            <p:spPr bwMode="auto">
              <a:xfrm>
                <a:off x="4571878" y="3221933"/>
                <a:ext cx="274134" cy="228220"/>
              </a:xfrm>
              <a:custGeom>
                <a:avLst/>
                <a:gdLst>
                  <a:gd name="connsiteX0" fmla="*/ 482197 w 526297"/>
                  <a:gd name="connsiteY0" fmla="*/ 133350 h 438150"/>
                  <a:gd name="connsiteX1" fmla="*/ 526298 w 526297"/>
                  <a:gd name="connsiteY1" fmla="*/ 177451 h 438150"/>
                  <a:gd name="connsiteX2" fmla="*/ 526203 w 526297"/>
                  <a:gd name="connsiteY2" fmla="*/ 180880 h 438150"/>
                  <a:gd name="connsiteX3" fmla="*/ 512867 w 526297"/>
                  <a:gd name="connsiteY3" fmla="*/ 354616 h 438150"/>
                  <a:gd name="connsiteX4" fmla="*/ 484388 w 526297"/>
                  <a:gd name="connsiteY4" fmla="*/ 381000 h 438150"/>
                  <a:gd name="connsiteX5" fmla="*/ 453622 w 526297"/>
                  <a:gd name="connsiteY5" fmla="*/ 381000 h 438150"/>
                  <a:gd name="connsiteX6" fmla="*/ 453622 w 526297"/>
                  <a:gd name="connsiteY6" fmla="*/ 438150 h 438150"/>
                  <a:gd name="connsiteX7" fmla="*/ 434572 w 526297"/>
                  <a:gd name="connsiteY7" fmla="*/ 438150 h 438150"/>
                  <a:gd name="connsiteX8" fmla="*/ 434572 w 526297"/>
                  <a:gd name="connsiteY8" fmla="*/ 381000 h 438150"/>
                  <a:gd name="connsiteX9" fmla="*/ 91672 w 526297"/>
                  <a:gd name="connsiteY9" fmla="*/ 381000 h 438150"/>
                  <a:gd name="connsiteX10" fmla="*/ 91672 w 526297"/>
                  <a:gd name="connsiteY10" fmla="*/ 438150 h 438150"/>
                  <a:gd name="connsiteX11" fmla="*/ 72622 w 526297"/>
                  <a:gd name="connsiteY11" fmla="*/ 438150 h 438150"/>
                  <a:gd name="connsiteX12" fmla="*/ 72622 w 526297"/>
                  <a:gd name="connsiteY12" fmla="*/ 381000 h 438150"/>
                  <a:gd name="connsiteX13" fmla="*/ 41952 w 526297"/>
                  <a:gd name="connsiteY13" fmla="*/ 381000 h 438150"/>
                  <a:gd name="connsiteX14" fmla="*/ 13472 w 526297"/>
                  <a:gd name="connsiteY14" fmla="*/ 354616 h 438150"/>
                  <a:gd name="connsiteX15" fmla="*/ 137 w 526297"/>
                  <a:gd name="connsiteY15" fmla="*/ 180880 h 438150"/>
                  <a:gd name="connsiteX16" fmla="*/ 40714 w 526297"/>
                  <a:gd name="connsiteY16" fmla="*/ 133541 h 438150"/>
                  <a:gd name="connsiteX17" fmla="*/ 44142 w 526297"/>
                  <a:gd name="connsiteY17" fmla="*/ 133445 h 438150"/>
                  <a:gd name="connsiteX18" fmla="*/ 100531 w 526297"/>
                  <a:gd name="connsiteY18" fmla="*/ 180213 h 438150"/>
                  <a:gd name="connsiteX19" fmla="*/ 120247 w 526297"/>
                  <a:gd name="connsiteY19" fmla="*/ 285750 h 438150"/>
                  <a:gd name="connsiteX20" fmla="*/ 405997 w 526297"/>
                  <a:gd name="connsiteY20" fmla="*/ 285750 h 438150"/>
                  <a:gd name="connsiteX21" fmla="*/ 425809 w 526297"/>
                  <a:gd name="connsiteY21" fmla="*/ 180118 h 438150"/>
                  <a:gd name="connsiteX22" fmla="*/ 482197 w 526297"/>
                  <a:gd name="connsiteY22" fmla="*/ 133350 h 438150"/>
                  <a:gd name="connsiteX23" fmla="*/ 415522 w 526297"/>
                  <a:gd name="connsiteY23" fmla="*/ 0 h 438150"/>
                  <a:gd name="connsiteX24" fmla="*/ 482197 w 526297"/>
                  <a:gd name="connsiteY24" fmla="*/ 66675 h 438150"/>
                  <a:gd name="connsiteX25" fmla="*/ 482197 w 526297"/>
                  <a:gd name="connsiteY25" fmla="*/ 114776 h 438150"/>
                  <a:gd name="connsiteX26" fmla="*/ 475053 w 526297"/>
                  <a:gd name="connsiteY26" fmla="*/ 114300 h 438150"/>
                  <a:gd name="connsiteX27" fmla="*/ 410664 w 526297"/>
                  <a:gd name="connsiteY27" fmla="*/ 165830 h 438150"/>
                  <a:gd name="connsiteX28" fmla="*/ 410188 w 526297"/>
                  <a:gd name="connsiteY28" fmla="*/ 168116 h 438150"/>
                  <a:gd name="connsiteX29" fmla="*/ 391710 w 526297"/>
                  <a:gd name="connsiteY29" fmla="*/ 266700 h 438150"/>
                  <a:gd name="connsiteX30" fmla="*/ 134535 w 526297"/>
                  <a:gd name="connsiteY30" fmla="*/ 266700 h 438150"/>
                  <a:gd name="connsiteX31" fmla="*/ 116057 w 526297"/>
                  <a:gd name="connsiteY31" fmla="*/ 168116 h 438150"/>
                  <a:gd name="connsiteX32" fmla="*/ 51191 w 526297"/>
                  <a:gd name="connsiteY32" fmla="*/ 114300 h 438150"/>
                  <a:gd name="connsiteX33" fmla="*/ 53572 w 526297"/>
                  <a:gd name="connsiteY33" fmla="*/ 66675 h 438150"/>
                  <a:gd name="connsiteX34" fmla="*/ 120247 w 526297"/>
                  <a:gd name="connsiteY34" fmla="*/ 0 h 438150"/>
                  <a:gd name="connsiteX35" fmla="*/ 415522 w 526297"/>
                  <a:gd name="connsiteY35" fmla="*/ 0 h 43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526297" h="438150">
                    <a:moveTo>
                      <a:pt x="482197" y="133350"/>
                    </a:moveTo>
                    <a:cubicBezTo>
                      <a:pt x="506582" y="133350"/>
                      <a:pt x="526298" y="153067"/>
                      <a:pt x="526298" y="177451"/>
                    </a:cubicBezTo>
                    <a:cubicBezTo>
                      <a:pt x="526298" y="178594"/>
                      <a:pt x="526298" y="179737"/>
                      <a:pt x="526203" y="180880"/>
                    </a:cubicBezTo>
                    <a:lnTo>
                      <a:pt x="512867" y="354616"/>
                    </a:lnTo>
                    <a:cubicBezTo>
                      <a:pt x="511724" y="369475"/>
                      <a:pt x="499343" y="381000"/>
                      <a:pt x="484388" y="381000"/>
                    </a:cubicBezTo>
                    <a:lnTo>
                      <a:pt x="453622" y="381000"/>
                    </a:lnTo>
                    <a:lnTo>
                      <a:pt x="453622" y="438150"/>
                    </a:lnTo>
                    <a:lnTo>
                      <a:pt x="434572" y="438150"/>
                    </a:lnTo>
                    <a:lnTo>
                      <a:pt x="434572" y="381000"/>
                    </a:lnTo>
                    <a:lnTo>
                      <a:pt x="91672" y="381000"/>
                    </a:lnTo>
                    <a:lnTo>
                      <a:pt x="91672" y="438150"/>
                    </a:lnTo>
                    <a:lnTo>
                      <a:pt x="72622" y="438150"/>
                    </a:lnTo>
                    <a:lnTo>
                      <a:pt x="72622" y="381000"/>
                    </a:lnTo>
                    <a:lnTo>
                      <a:pt x="41952" y="381000"/>
                    </a:lnTo>
                    <a:cubicBezTo>
                      <a:pt x="26998" y="381000"/>
                      <a:pt x="14615" y="369475"/>
                      <a:pt x="13472" y="354616"/>
                    </a:cubicBezTo>
                    <a:lnTo>
                      <a:pt x="137" y="180880"/>
                    </a:lnTo>
                    <a:cubicBezTo>
                      <a:pt x="-1768" y="156591"/>
                      <a:pt x="16424" y="135350"/>
                      <a:pt x="40714" y="133541"/>
                    </a:cubicBezTo>
                    <a:cubicBezTo>
                      <a:pt x="41857" y="133445"/>
                      <a:pt x="42999" y="133445"/>
                      <a:pt x="44142" y="133445"/>
                    </a:cubicBezTo>
                    <a:cubicBezTo>
                      <a:pt x="71765" y="133445"/>
                      <a:pt x="95482" y="153067"/>
                      <a:pt x="100531" y="180213"/>
                    </a:cubicBezTo>
                    <a:lnTo>
                      <a:pt x="120247" y="285750"/>
                    </a:lnTo>
                    <a:lnTo>
                      <a:pt x="405997" y="285750"/>
                    </a:lnTo>
                    <a:lnTo>
                      <a:pt x="425809" y="180118"/>
                    </a:lnTo>
                    <a:cubicBezTo>
                      <a:pt x="430857" y="152972"/>
                      <a:pt x="454574" y="133350"/>
                      <a:pt x="482197" y="133350"/>
                    </a:cubicBezTo>
                    <a:close/>
                    <a:moveTo>
                      <a:pt x="415522" y="0"/>
                    </a:moveTo>
                    <a:cubicBezTo>
                      <a:pt x="452384" y="0"/>
                      <a:pt x="482197" y="29813"/>
                      <a:pt x="482197" y="66675"/>
                    </a:cubicBezTo>
                    <a:lnTo>
                      <a:pt x="482197" y="114776"/>
                    </a:lnTo>
                    <a:cubicBezTo>
                      <a:pt x="479816" y="114491"/>
                      <a:pt x="477435" y="114300"/>
                      <a:pt x="475053" y="114300"/>
                    </a:cubicBezTo>
                    <a:cubicBezTo>
                      <a:pt x="444097" y="114300"/>
                      <a:pt x="417427" y="135827"/>
                      <a:pt x="410664" y="165830"/>
                    </a:cubicBezTo>
                    <a:lnTo>
                      <a:pt x="410188" y="168116"/>
                    </a:lnTo>
                    <a:lnTo>
                      <a:pt x="391710" y="266700"/>
                    </a:lnTo>
                    <a:lnTo>
                      <a:pt x="134535" y="266700"/>
                    </a:lnTo>
                    <a:lnTo>
                      <a:pt x="116057" y="168116"/>
                    </a:lnTo>
                    <a:cubicBezTo>
                      <a:pt x="110245" y="136874"/>
                      <a:pt x="82909" y="114300"/>
                      <a:pt x="51191" y="114300"/>
                    </a:cubicBezTo>
                    <a:lnTo>
                      <a:pt x="53572" y="66675"/>
                    </a:lnTo>
                    <a:cubicBezTo>
                      <a:pt x="53572" y="29813"/>
                      <a:pt x="83385" y="0"/>
                      <a:pt x="120247" y="0"/>
                    </a:cubicBezTo>
                    <a:lnTo>
                      <a:pt x="415522" y="0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txBody>
              <a:bodyPr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93" name="íṩļïḍé">
              <a:extLst>
                <a:ext uri="{FF2B5EF4-FFF2-40B4-BE49-F238E27FC236}">
                  <a16:creationId xmlns:a16="http://schemas.microsoft.com/office/drawing/2014/main" id="{F9547C3F-2FC8-48F8-92C2-6B7A59DE82E4}"/>
                </a:ext>
              </a:extLst>
            </p:cNvPr>
            <p:cNvGrpSpPr/>
            <p:nvPr/>
          </p:nvGrpSpPr>
          <p:grpSpPr>
            <a:xfrm>
              <a:off x="6662299" y="2948445"/>
              <a:ext cx="4858189" cy="775197"/>
              <a:chOff x="5130801" y="2820874"/>
              <a:chExt cx="3632195" cy="775197"/>
            </a:xfrm>
          </p:grpSpPr>
          <p:sp>
            <p:nvSpPr>
              <p:cNvPr id="111" name="ïṧľîḋè">
                <a:extLst>
                  <a:ext uri="{FF2B5EF4-FFF2-40B4-BE49-F238E27FC236}">
                    <a16:creationId xmlns:a16="http://schemas.microsoft.com/office/drawing/2014/main" id="{BA83E2A7-85EF-4AD1-B9A4-D05FAD75C3C4}"/>
                  </a:ext>
                </a:extLst>
              </p:cNvPr>
              <p:cNvSpPr/>
              <p:nvPr/>
            </p:nvSpPr>
            <p:spPr bwMode="auto">
              <a:xfrm>
                <a:off x="5130801" y="3208473"/>
                <a:ext cx="3632195" cy="3875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</p:txBody>
          </p:sp>
          <p:sp>
            <p:nvSpPr>
              <p:cNvPr id="112" name="ï$ľiḍè">
                <a:extLst>
                  <a:ext uri="{FF2B5EF4-FFF2-40B4-BE49-F238E27FC236}">
                    <a16:creationId xmlns:a16="http://schemas.microsoft.com/office/drawing/2014/main" id="{AC97B8DE-B8C6-49C3-8FE6-EB31E3B89B70}"/>
                  </a:ext>
                </a:extLst>
              </p:cNvPr>
              <p:cNvSpPr txBox="1"/>
              <p:nvPr/>
            </p:nvSpPr>
            <p:spPr bwMode="auto">
              <a:xfrm>
                <a:off x="5130801" y="2820874"/>
                <a:ext cx="3632195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94" name="íṩḷiḍe">
              <a:extLst>
                <a:ext uri="{FF2B5EF4-FFF2-40B4-BE49-F238E27FC236}">
                  <a16:creationId xmlns:a16="http://schemas.microsoft.com/office/drawing/2014/main" id="{C29F0DD6-B164-4BC9-8B4D-CBDCD6E479E7}"/>
                </a:ext>
              </a:extLst>
            </p:cNvPr>
            <p:cNvGrpSpPr/>
            <p:nvPr/>
          </p:nvGrpSpPr>
          <p:grpSpPr>
            <a:xfrm>
              <a:off x="5746917" y="4106546"/>
              <a:ext cx="717384" cy="717384"/>
              <a:chOff x="4350253" y="4131179"/>
              <a:chExt cx="717384" cy="717384"/>
            </a:xfrm>
          </p:grpSpPr>
          <p:sp>
            <p:nvSpPr>
              <p:cNvPr id="109" name="îṣḷîḑè">
                <a:extLst>
                  <a:ext uri="{FF2B5EF4-FFF2-40B4-BE49-F238E27FC236}">
                    <a16:creationId xmlns:a16="http://schemas.microsoft.com/office/drawing/2014/main" id="{C9BABF1A-01D6-49E1-A124-23DA7A0D6541}"/>
                  </a:ext>
                </a:extLst>
              </p:cNvPr>
              <p:cNvSpPr/>
              <p:nvPr/>
            </p:nvSpPr>
            <p:spPr>
              <a:xfrm>
                <a:off x="4350253" y="4131179"/>
                <a:ext cx="717384" cy="717384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b="1" dirty="0"/>
              </a:p>
            </p:txBody>
          </p:sp>
          <p:sp>
            <p:nvSpPr>
              <p:cNvPr id="110" name="išľíḍé">
                <a:extLst>
                  <a:ext uri="{FF2B5EF4-FFF2-40B4-BE49-F238E27FC236}">
                    <a16:creationId xmlns:a16="http://schemas.microsoft.com/office/drawing/2014/main" id="{189D7AB3-1A0E-42AC-8F1B-43F58468B13A}"/>
                  </a:ext>
                </a:extLst>
              </p:cNvPr>
              <p:cNvSpPr/>
              <p:nvPr/>
            </p:nvSpPr>
            <p:spPr bwMode="auto">
              <a:xfrm>
                <a:off x="4556895" y="4367604"/>
                <a:ext cx="283292" cy="257998"/>
              </a:xfrm>
              <a:custGeom>
                <a:avLst/>
                <a:gdLst>
                  <a:gd name="connsiteX0" fmla="*/ 123825 w 533400"/>
                  <a:gd name="connsiteY0" fmla="*/ 228600 h 485775"/>
                  <a:gd name="connsiteX1" fmla="*/ 123825 w 533400"/>
                  <a:gd name="connsiteY1" fmla="*/ 276225 h 485775"/>
                  <a:gd name="connsiteX2" fmla="*/ 142875 w 533400"/>
                  <a:gd name="connsiteY2" fmla="*/ 276225 h 485775"/>
                  <a:gd name="connsiteX3" fmla="*/ 142875 w 533400"/>
                  <a:gd name="connsiteY3" fmla="*/ 228600 h 485775"/>
                  <a:gd name="connsiteX4" fmla="*/ 390525 w 533400"/>
                  <a:gd name="connsiteY4" fmla="*/ 228600 h 485775"/>
                  <a:gd name="connsiteX5" fmla="*/ 390525 w 533400"/>
                  <a:gd name="connsiteY5" fmla="*/ 276225 h 485775"/>
                  <a:gd name="connsiteX6" fmla="*/ 409575 w 533400"/>
                  <a:gd name="connsiteY6" fmla="*/ 276225 h 485775"/>
                  <a:gd name="connsiteX7" fmla="*/ 409575 w 533400"/>
                  <a:gd name="connsiteY7" fmla="*/ 228600 h 485775"/>
                  <a:gd name="connsiteX8" fmla="*/ 533400 w 533400"/>
                  <a:gd name="connsiteY8" fmla="*/ 228600 h 485775"/>
                  <a:gd name="connsiteX9" fmla="*/ 533400 w 533400"/>
                  <a:gd name="connsiteY9" fmla="*/ 457200 h 485775"/>
                  <a:gd name="connsiteX10" fmla="*/ 504825 w 533400"/>
                  <a:gd name="connsiteY10" fmla="*/ 485775 h 485775"/>
                  <a:gd name="connsiteX11" fmla="*/ 28575 w 533400"/>
                  <a:gd name="connsiteY11" fmla="*/ 485775 h 485775"/>
                  <a:gd name="connsiteX12" fmla="*/ 0 w 533400"/>
                  <a:gd name="connsiteY12" fmla="*/ 457200 h 485775"/>
                  <a:gd name="connsiteX13" fmla="*/ 0 w 533400"/>
                  <a:gd name="connsiteY13" fmla="*/ 228600 h 485775"/>
                  <a:gd name="connsiteX14" fmla="*/ 123825 w 533400"/>
                  <a:gd name="connsiteY14" fmla="*/ 228600 h 485775"/>
                  <a:gd name="connsiteX15" fmla="*/ 371475 w 533400"/>
                  <a:gd name="connsiteY15" fmla="*/ 0 h 485775"/>
                  <a:gd name="connsiteX16" fmla="*/ 409575 w 533400"/>
                  <a:gd name="connsiteY16" fmla="*/ 36195 h 485775"/>
                  <a:gd name="connsiteX17" fmla="*/ 409575 w 533400"/>
                  <a:gd name="connsiteY17" fmla="*/ 38100 h 485775"/>
                  <a:gd name="connsiteX18" fmla="*/ 409575 w 533400"/>
                  <a:gd name="connsiteY18" fmla="*/ 114300 h 485775"/>
                  <a:gd name="connsiteX19" fmla="*/ 504825 w 533400"/>
                  <a:gd name="connsiteY19" fmla="*/ 114300 h 485775"/>
                  <a:gd name="connsiteX20" fmla="*/ 533400 w 533400"/>
                  <a:gd name="connsiteY20" fmla="*/ 142875 h 485775"/>
                  <a:gd name="connsiteX21" fmla="*/ 533400 w 533400"/>
                  <a:gd name="connsiteY21" fmla="*/ 209550 h 485775"/>
                  <a:gd name="connsiteX22" fmla="*/ 0 w 533400"/>
                  <a:gd name="connsiteY22" fmla="*/ 209550 h 485775"/>
                  <a:gd name="connsiteX23" fmla="*/ 0 w 533400"/>
                  <a:gd name="connsiteY23" fmla="*/ 142875 h 485775"/>
                  <a:gd name="connsiteX24" fmla="*/ 28575 w 533400"/>
                  <a:gd name="connsiteY24" fmla="*/ 114300 h 485775"/>
                  <a:gd name="connsiteX25" fmla="*/ 123825 w 533400"/>
                  <a:gd name="connsiteY25" fmla="*/ 114300 h 485775"/>
                  <a:gd name="connsiteX26" fmla="*/ 123825 w 533400"/>
                  <a:gd name="connsiteY26" fmla="*/ 38100 h 485775"/>
                  <a:gd name="connsiteX27" fmla="*/ 160020 w 533400"/>
                  <a:gd name="connsiteY27" fmla="*/ 0 h 485775"/>
                  <a:gd name="connsiteX28" fmla="*/ 161925 w 533400"/>
                  <a:gd name="connsiteY28" fmla="*/ 0 h 485775"/>
                  <a:gd name="connsiteX29" fmla="*/ 371475 w 533400"/>
                  <a:gd name="connsiteY29" fmla="*/ 0 h 485775"/>
                  <a:gd name="connsiteX30" fmla="*/ 371475 w 533400"/>
                  <a:gd name="connsiteY30" fmla="*/ 19050 h 485775"/>
                  <a:gd name="connsiteX31" fmla="*/ 161925 w 533400"/>
                  <a:gd name="connsiteY31" fmla="*/ 19050 h 485775"/>
                  <a:gd name="connsiteX32" fmla="*/ 142970 w 533400"/>
                  <a:gd name="connsiteY32" fmla="*/ 36671 h 485775"/>
                  <a:gd name="connsiteX33" fmla="*/ 142875 w 533400"/>
                  <a:gd name="connsiteY33" fmla="*/ 38100 h 485775"/>
                  <a:gd name="connsiteX34" fmla="*/ 142875 w 533400"/>
                  <a:gd name="connsiteY34" fmla="*/ 114300 h 485775"/>
                  <a:gd name="connsiteX35" fmla="*/ 390525 w 533400"/>
                  <a:gd name="connsiteY35" fmla="*/ 114300 h 485775"/>
                  <a:gd name="connsiteX36" fmla="*/ 390525 w 533400"/>
                  <a:gd name="connsiteY36" fmla="*/ 38100 h 485775"/>
                  <a:gd name="connsiteX37" fmla="*/ 374333 w 533400"/>
                  <a:gd name="connsiteY37" fmla="*/ 19241 h 485775"/>
                  <a:gd name="connsiteX38" fmla="*/ 372904 w 533400"/>
                  <a:gd name="connsiteY38" fmla="*/ 19050 h 485775"/>
                  <a:gd name="connsiteX39" fmla="*/ 371475 w 533400"/>
                  <a:gd name="connsiteY39" fmla="*/ 19050 h 485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533400" h="485775">
                    <a:moveTo>
                      <a:pt x="123825" y="228600"/>
                    </a:moveTo>
                    <a:lnTo>
                      <a:pt x="123825" y="276225"/>
                    </a:lnTo>
                    <a:lnTo>
                      <a:pt x="142875" y="276225"/>
                    </a:lnTo>
                    <a:lnTo>
                      <a:pt x="142875" y="228600"/>
                    </a:lnTo>
                    <a:lnTo>
                      <a:pt x="390525" y="228600"/>
                    </a:lnTo>
                    <a:lnTo>
                      <a:pt x="390525" y="276225"/>
                    </a:lnTo>
                    <a:lnTo>
                      <a:pt x="409575" y="276225"/>
                    </a:lnTo>
                    <a:lnTo>
                      <a:pt x="409575" y="228600"/>
                    </a:lnTo>
                    <a:lnTo>
                      <a:pt x="533400" y="228600"/>
                    </a:lnTo>
                    <a:lnTo>
                      <a:pt x="533400" y="457200"/>
                    </a:lnTo>
                    <a:cubicBezTo>
                      <a:pt x="533400" y="473012"/>
                      <a:pt x="520637" y="485775"/>
                      <a:pt x="504825" y="485775"/>
                    </a:cubicBezTo>
                    <a:lnTo>
                      <a:pt x="28575" y="485775"/>
                    </a:lnTo>
                    <a:cubicBezTo>
                      <a:pt x="12763" y="485775"/>
                      <a:pt x="0" y="473012"/>
                      <a:pt x="0" y="457200"/>
                    </a:cubicBezTo>
                    <a:lnTo>
                      <a:pt x="0" y="228600"/>
                    </a:lnTo>
                    <a:lnTo>
                      <a:pt x="123825" y="228600"/>
                    </a:lnTo>
                    <a:close/>
                    <a:moveTo>
                      <a:pt x="371475" y="0"/>
                    </a:moveTo>
                    <a:cubicBezTo>
                      <a:pt x="391859" y="0"/>
                      <a:pt x="408527" y="16002"/>
                      <a:pt x="409575" y="36195"/>
                    </a:cubicBezTo>
                    <a:lnTo>
                      <a:pt x="409575" y="38100"/>
                    </a:lnTo>
                    <a:lnTo>
                      <a:pt x="409575" y="114300"/>
                    </a:lnTo>
                    <a:lnTo>
                      <a:pt x="504825" y="114300"/>
                    </a:lnTo>
                    <a:cubicBezTo>
                      <a:pt x="520637" y="114300"/>
                      <a:pt x="533400" y="127064"/>
                      <a:pt x="533400" y="142875"/>
                    </a:cubicBezTo>
                    <a:lnTo>
                      <a:pt x="533400" y="209550"/>
                    </a:lnTo>
                    <a:lnTo>
                      <a:pt x="0" y="209550"/>
                    </a:lnTo>
                    <a:lnTo>
                      <a:pt x="0" y="142875"/>
                    </a:lnTo>
                    <a:cubicBezTo>
                      <a:pt x="0" y="127064"/>
                      <a:pt x="12763" y="114300"/>
                      <a:pt x="28575" y="114300"/>
                    </a:cubicBezTo>
                    <a:lnTo>
                      <a:pt x="123825" y="114300"/>
                    </a:lnTo>
                    <a:lnTo>
                      <a:pt x="123825" y="38100"/>
                    </a:lnTo>
                    <a:cubicBezTo>
                      <a:pt x="123825" y="17716"/>
                      <a:pt x="139828" y="1048"/>
                      <a:pt x="160020" y="0"/>
                    </a:cubicBezTo>
                    <a:lnTo>
                      <a:pt x="161925" y="0"/>
                    </a:lnTo>
                    <a:lnTo>
                      <a:pt x="371475" y="0"/>
                    </a:lnTo>
                    <a:close/>
                    <a:moveTo>
                      <a:pt x="371475" y="19050"/>
                    </a:moveTo>
                    <a:lnTo>
                      <a:pt x="161925" y="19050"/>
                    </a:lnTo>
                    <a:cubicBezTo>
                      <a:pt x="151923" y="19050"/>
                      <a:pt x="143637" y="26861"/>
                      <a:pt x="142970" y="36671"/>
                    </a:cubicBezTo>
                    <a:lnTo>
                      <a:pt x="142875" y="38100"/>
                    </a:lnTo>
                    <a:lnTo>
                      <a:pt x="142875" y="114300"/>
                    </a:lnTo>
                    <a:lnTo>
                      <a:pt x="390525" y="114300"/>
                    </a:lnTo>
                    <a:lnTo>
                      <a:pt x="390525" y="38100"/>
                    </a:lnTo>
                    <a:cubicBezTo>
                      <a:pt x="390525" y="28575"/>
                      <a:pt x="383477" y="20669"/>
                      <a:pt x="374333" y="19241"/>
                    </a:cubicBezTo>
                    <a:lnTo>
                      <a:pt x="372904" y="19050"/>
                    </a:lnTo>
                    <a:lnTo>
                      <a:pt x="371475" y="19050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txBody>
              <a:bodyPr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95" name="îṧliďé">
              <a:extLst>
                <a:ext uri="{FF2B5EF4-FFF2-40B4-BE49-F238E27FC236}">
                  <a16:creationId xmlns:a16="http://schemas.microsoft.com/office/drawing/2014/main" id="{1A7D67E8-A229-4742-ACF2-C83AB708435E}"/>
                </a:ext>
              </a:extLst>
            </p:cNvPr>
            <p:cNvGrpSpPr/>
            <p:nvPr/>
          </p:nvGrpSpPr>
          <p:grpSpPr>
            <a:xfrm>
              <a:off x="6662299" y="4077640"/>
              <a:ext cx="4858189" cy="775197"/>
              <a:chOff x="5130801" y="2820874"/>
              <a:chExt cx="3632195" cy="775197"/>
            </a:xfrm>
          </p:grpSpPr>
          <p:sp>
            <p:nvSpPr>
              <p:cNvPr id="107" name="ïśľîďe">
                <a:extLst>
                  <a:ext uri="{FF2B5EF4-FFF2-40B4-BE49-F238E27FC236}">
                    <a16:creationId xmlns:a16="http://schemas.microsoft.com/office/drawing/2014/main" id="{D2F4F359-44EA-4624-908C-CCBC8F86308C}"/>
                  </a:ext>
                </a:extLst>
              </p:cNvPr>
              <p:cNvSpPr/>
              <p:nvPr/>
            </p:nvSpPr>
            <p:spPr bwMode="auto">
              <a:xfrm>
                <a:off x="5130801" y="3208473"/>
                <a:ext cx="3632195" cy="3875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</p:txBody>
          </p:sp>
          <p:sp>
            <p:nvSpPr>
              <p:cNvPr id="108" name="îŝľidé">
                <a:extLst>
                  <a:ext uri="{FF2B5EF4-FFF2-40B4-BE49-F238E27FC236}">
                    <a16:creationId xmlns:a16="http://schemas.microsoft.com/office/drawing/2014/main" id="{9CCD2B87-0B33-4DC0-9D27-B9872195122B}"/>
                  </a:ext>
                </a:extLst>
              </p:cNvPr>
              <p:cNvSpPr txBox="1"/>
              <p:nvPr/>
            </p:nvSpPr>
            <p:spPr bwMode="auto">
              <a:xfrm>
                <a:off x="5130801" y="2820874"/>
                <a:ext cx="3632195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96" name="îsḻîḋê">
              <a:extLst>
                <a:ext uri="{FF2B5EF4-FFF2-40B4-BE49-F238E27FC236}">
                  <a16:creationId xmlns:a16="http://schemas.microsoft.com/office/drawing/2014/main" id="{E8482EA8-EF69-49E7-A5B1-C021D1D2C493}"/>
                </a:ext>
              </a:extLst>
            </p:cNvPr>
            <p:cNvGrpSpPr/>
            <p:nvPr/>
          </p:nvGrpSpPr>
          <p:grpSpPr>
            <a:xfrm>
              <a:off x="5746917" y="5235740"/>
              <a:ext cx="717384" cy="717384"/>
              <a:chOff x="4338300" y="5235741"/>
              <a:chExt cx="717384" cy="717384"/>
            </a:xfrm>
          </p:grpSpPr>
          <p:sp>
            <p:nvSpPr>
              <p:cNvPr id="105" name="ïślïḍè">
                <a:extLst>
                  <a:ext uri="{FF2B5EF4-FFF2-40B4-BE49-F238E27FC236}">
                    <a16:creationId xmlns:a16="http://schemas.microsoft.com/office/drawing/2014/main" id="{F975BE1C-A89A-4F28-B3A8-AD66B2E512C6}"/>
                  </a:ext>
                </a:extLst>
              </p:cNvPr>
              <p:cNvSpPr/>
              <p:nvPr/>
            </p:nvSpPr>
            <p:spPr>
              <a:xfrm>
                <a:off x="4338300" y="5235741"/>
                <a:ext cx="717384" cy="717384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b="1" dirty="0"/>
              </a:p>
            </p:txBody>
          </p:sp>
          <p:sp>
            <p:nvSpPr>
              <p:cNvPr id="106" name="ïṩḻïḍé">
                <a:extLst>
                  <a:ext uri="{FF2B5EF4-FFF2-40B4-BE49-F238E27FC236}">
                    <a16:creationId xmlns:a16="http://schemas.microsoft.com/office/drawing/2014/main" id="{85046E86-4307-4223-85EC-82254DC02F7C}"/>
                  </a:ext>
                </a:extLst>
              </p:cNvPr>
              <p:cNvSpPr/>
              <p:nvPr/>
            </p:nvSpPr>
            <p:spPr bwMode="auto">
              <a:xfrm>
                <a:off x="4593377" y="5454554"/>
                <a:ext cx="207228" cy="279758"/>
              </a:xfrm>
              <a:custGeom>
                <a:avLst/>
                <a:gdLst>
                  <a:gd name="connsiteX0" fmla="*/ 85725 w 381000"/>
                  <a:gd name="connsiteY0" fmla="*/ 38100 h 514350"/>
                  <a:gd name="connsiteX1" fmla="*/ 85725 w 381000"/>
                  <a:gd name="connsiteY1" fmla="*/ 57150 h 514350"/>
                  <a:gd name="connsiteX2" fmla="*/ 121920 w 381000"/>
                  <a:gd name="connsiteY2" fmla="*/ 95250 h 514350"/>
                  <a:gd name="connsiteX3" fmla="*/ 123825 w 381000"/>
                  <a:gd name="connsiteY3" fmla="*/ 95250 h 514350"/>
                  <a:gd name="connsiteX4" fmla="*/ 257175 w 381000"/>
                  <a:gd name="connsiteY4" fmla="*/ 95250 h 514350"/>
                  <a:gd name="connsiteX5" fmla="*/ 295275 w 381000"/>
                  <a:gd name="connsiteY5" fmla="*/ 59055 h 514350"/>
                  <a:gd name="connsiteX6" fmla="*/ 295275 w 381000"/>
                  <a:gd name="connsiteY6" fmla="*/ 57150 h 514350"/>
                  <a:gd name="connsiteX7" fmla="*/ 295275 w 381000"/>
                  <a:gd name="connsiteY7" fmla="*/ 38100 h 514350"/>
                  <a:gd name="connsiteX8" fmla="*/ 352425 w 381000"/>
                  <a:gd name="connsiteY8" fmla="*/ 38100 h 514350"/>
                  <a:gd name="connsiteX9" fmla="*/ 381000 w 381000"/>
                  <a:gd name="connsiteY9" fmla="*/ 66675 h 514350"/>
                  <a:gd name="connsiteX10" fmla="*/ 381000 w 381000"/>
                  <a:gd name="connsiteY10" fmla="*/ 485775 h 514350"/>
                  <a:gd name="connsiteX11" fmla="*/ 352425 w 381000"/>
                  <a:gd name="connsiteY11" fmla="*/ 514350 h 514350"/>
                  <a:gd name="connsiteX12" fmla="*/ 28575 w 381000"/>
                  <a:gd name="connsiteY12" fmla="*/ 514350 h 514350"/>
                  <a:gd name="connsiteX13" fmla="*/ 0 w 381000"/>
                  <a:gd name="connsiteY13" fmla="*/ 485775 h 514350"/>
                  <a:gd name="connsiteX14" fmla="*/ 0 w 381000"/>
                  <a:gd name="connsiteY14" fmla="*/ 66675 h 514350"/>
                  <a:gd name="connsiteX15" fmla="*/ 28575 w 381000"/>
                  <a:gd name="connsiteY15" fmla="*/ 38100 h 514350"/>
                  <a:gd name="connsiteX16" fmla="*/ 85725 w 381000"/>
                  <a:gd name="connsiteY16" fmla="*/ 38100 h 514350"/>
                  <a:gd name="connsiteX17" fmla="*/ 190500 w 381000"/>
                  <a:gd name="connsiteY17" fmla="*/ 333375 h 514350"/>
                  <a:gd name="connsiteX18" fmla="*/ 76200 w 381000"/>
                  <a:gd name="connsiteY18" fmla="*/ 333375 h 514350"/>
                  <a:gd name="connsiteX19" fmla="*/ 76200 w 381000"/>
                  <a:gd name="connsiteY19" fmla="*/ 352425 h 514350"/>
                  <a:gd name="connsiteX20" fmla="*/ 190500 w 381000"/>
                  <a:gd name="connsiteY20" fmla="*/ 352425 h 514350"/>
                  <a:gd name="connsiteX21" fmla="*/ 190500 w 381000"/>
                  <a:gd name="connsiteY21" fmla="*/ 333375 h 514350"/>
                  <a:gd name="connsiteX22" fmla="*/ 304800 w 381000"/>
                  <a:gd name="connsiteY22" fmla="*/ 257175 h 514350"/>
                  <a:gd name="connsiteX23" fmla="*/ 76200 w 381000"/>
                  <a:gd name="connsiteY23" fmla="*/ 257175 h 514350"/>
                  <a:gd name="connsiteX24" fmla="*/ 76200 w 381000"/>
                  <a:gd name="connsiteY24" fmla="*/ 276225 h 514350"/>
                  <a:gd name="connsiteX25" fmla="*/ 304800 w 381000"/>
                  <a:gd name="connsiteY25" fmla="*/ 276225 h 514350"/>
                  <a:gd name="connsiteX26" fmla="*/ 304800 w 381000"/>
                  <a:gd name="connsiteY26" fmla="*/ 257175 h 514350"/>
                  <a:gd name="connsiteX27" fmla="*/ 304800 w 381000"/>
                  <a:gd name="connsiteY27" fmla="*/ 180975 h 514350"/>
                  <a:gd name="connsiteX28" fmla="*/ 76200 w 381000"/>
                  <a:gd name="connsiteY28" fmla="*/ 180975 h 514350"/>
                  <a:gd name="connsiteX29" fmla="*/ 76200 w 381000"/>
                  <a:gd name="connsiteY29" fmla="*/ 200025 h 514350"/>
                  <a:gd name="connsiteX30" fmla="*/ 304800 w 381000"/>
                  <a:gd name="connsiteY30" fmla="*/ 200025 h 514350"/>
                  <a:gd name="connsiteX31" fmla="*/ 304800 w 381000"/>
                  <a:gd name="connsiteY31" fmla="*/ 180975 h 514350"/>
                  <a:gd name="connsiteX32" fmla="*/ 247650 w 381000"/>
                  <a:gd name="connsiteY32" fmla="*/ 0 h 514350"/>
                  <a:gd name="connsiteX33" fmla="*/ 276225 w 381000"/>
                  <a:gd name="connsiteY33" fmla="*/ 28575 h 514350"/>
                  <a:gd name="connsiteX34" fmla="*/ 276225 w 381000"/>
                  <a:gd name="connsiteY34" fmla="*/ 47625 h 514350"/>
                  <a:gd name="connsiteX35" fmla="*/ 247650 w 381000"/>
                  <a:gd name="connsiteY35" fmla="*/ 76200 h 514350"/>
                  <a:gd name="connsiteX36" fmla="*/ 133350 w 381000"/>
                  <a:gd name="connsiteY36" fmla="*/ 76200 h 514350"/>
                  <a:gd name="connsiteX37" fmla="*/ 104775 w 381000"/>
                  <a:gd name="connsiteY37" fmla="*/ 47625 h 514350"/>
                  <a:gd name="connsiteX38" fmla="*/ 104775 w 381000"/>
                  <a:gd name="connsiteY38" fmla="*/ 28575 h 514350"/>
                  <a:gd name="connsiteX39" fmla="*/ 133350 w 381000"/>
                  <a:gd name="connsiteY39" fmla="*/ 0 h 514350"/>
                  <a:gd name="connsiteX40" fmla="*/ 247650 w 381000"/>
                  <a:gd name="connsiteY40" fmla="*/ 0 h 514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81000" h="514350">
                    <a:moveTo>
                      <a:pt x="85725" y="38100"/>
                    </a:moveTo>
                    <a:lnTo>
                      <a:pt x="85725" y="57150"/>
                    </a:lnTo>
                    <a:cubicBezTo>
                      <a:pt x="85725" y="77534"/>
                      <a:pt x="101727" y="94202"/>
                      <a:pt x="121920" y="95250"/>
                    </a:cubicBezTo>
                    <a:lnTo>
                      <a:pt x="123825" y="95250"/>
                    </a:lnTo>
                    <a:lnTo>
                      <a:pt x="257175" y="95250"/>
                    </a:lnTo>
                    <a:cubicBezTo>
                      <a:pt x="277559" y="95250"/>
                      <a:pt x="294227" y="79248"/>
                      <a:pt x="295275" y="59055"/>
                    </a:cubicBezTo>
                    <a:lnTo>
                      <a:pt x="295275" y="57150"/>
                    </a:lnTo>
                    <a:lnTo>
                      <a:pt x="295275" y="38100"/>
                    </a:lnTo>
                    <a:lnTo>
                      <a:pt x="352425" y="38100"/>
                    </a:lnTo>
                    <a:cubicBezTo>
                      <a:pt x="368236" y="38100"/>
                      <a:pt x="381000" y="50864"/>
                      <a:pt x="381000" y="66675"/>
                    </a:cubicBezTo>
                    <a:lnTo>
                      <a:pt x="381000" y="485775"/>
                    </a:lnTo>
                    <a:cubicBezTo>
                      <a:pt x="381000" y="501587"/>
                      <a:pt x="368236" y="514350"/>
                      <a:pt x="352425" y="514350"/>
                    </a:cubicBezTo>
                    <a:lnTo>
                      <a:pt x="28575" y="514350"/>
                    </a:lnTo>
                    <a:cubicBezTo>
                      <a:pt x="12764" y="514350"/>
                      <a:pt x="0" y="501587"/>
                      <a:pt x="0" y="485775"/>
                    </a:cubicBezTo>
                    <a:lnTo>
                      <a:pt x="0" y="66675"/>
                    </a:lnTo>
                    <a:cubicBezTo>
                      <a:pt x="0" y="50864"/>
                      <a:pt x="12764" y="38100"/>
                      <a:pt x="28575" y="38100"/>
                    </a:cubicBezTo>
                    <a:lnTo>
                      <a:pt x="85725" y="38100"/>
                    </a:lnTo>
                    <a:close/>
                    <a:moveTo>
                      <a:pt x="190500" y="333375"/>
                    </a:moveTo>
                    <a:lnTo>
                      <a:pt x="76200" y="333375"/>
                    </a:lnTo>
                    <a:lnTo>
                      <a:pt x="76200" y="352425"/>
                    </a:lnTo>
                    <a:lnTo>
                      <a:pt x="190500" y="352425"/>
                    </a:lnTo>
                    <a:lnTo>
                      <a:pt x="190500" y="333375"/>
                    </a:lnTo>
                    <a:close/>
                    <a:moveTo>
                      <a:pt x="304800" y="257175"/>
                    </a:moveTo>
                    <a:lnTo>
                      <a:pt x="76200" y="257175"/>
                    </a:lnTo>
                    <a:lnTo>
                      <a:pt x="76200" y="276225"/>
                    </a:lnTo>
                    <a:lnTo>
                      <a:pt x="304800" y="276225"/>
                    </a:lnTo>
                    <a:lnTo>
                      <a:pt x="304800" y="257175"/>
                    </a:lnTo>
                    <a:close/>
                    <a:moveTo>
                      <a:pt x="304800" y="180975"/>
                    </a:moveTo>
                    <a:lnTo>
                      <a:pt x="76200" y="180975"/>
                    </a:lnTo>
                    <a:lnTo>
                      <a:pt x="76200" y="200025"/>
                    </a:lnTo>
                    <a:lnTo>
                      <a:pt x="304800" y="200025"/>
                    </a:lnTo>
                    <a:lnTo>
                      <a:pt x="304800" y="180975"/>
                    </a:lnTo>
                    <a:close/>
                    <a:moveTo>
                      <a:pt x="247650" y="0"/>
                    </a:moveTo>
                    <a:cubicBezTo>
                      <a:pt x="263461" y="0"/>
                      <a:pt x="276225" y="12763"/>
                      <a:pt x="276225" y="28575"/>
                    </a:cubicBezTo>
                    <a:lnTo>
                      <a:pt x="276225" y="47625"/>
                    </a:lnTo>
                    <a:cubicBezTo>
                      <a:pt x="276225" y="63437"/>
                      <a:pt x="263461" y="76200"/>
                      <a:pt x="247650" y="76200"/>
                    </a:cubicBezTo>
                    <a:lnTo>
                      <a:pt x="133350" y="76200"/>
                    </a:lnTo>
                    <a:cubicBezTo>
                      <a:pt x="117539" y="76200"/>
                      <a:pt x="104775" y="63437"/>
                      <a:pt x="104775" y="47625"/>
                    </a:cubicBezTo>
                    <a:lnTo>
                      <a:pt x="104775" y="28575"/>
                    </a:lnTo>
                    <a:cubicBezTo>
                      <a:pt x="104775" y="12763"/>
                      <a:pt x="117539" y="0"/>
                      <a:pt x="133350" y="0"/>
                    </a:cubicBezTo>
                    <a:lnTo>
                      <a:pt x="24765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>
                <a:normAutofit fontScale="8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97" name="i$ļiḋe">
              <a:extLst>
                <a:ext uri="{FF2B5EF4-FFF2-40B4-BE49-F238E27FC236}">
                  <a16:creationId xmlns:a16="http://schemas.microsoft.com/office/drawing/2014/main" id="{301A6040-2EE9-4C04-9B7F-A141AE7A2FEF}"/>
                </a:ext>
              </a:extLst>
            </p:cNvPr>
            <p:cNvGrpSpPr/>
            <p:nvPr/>
          </p:nvGrpSpPr>
          <p:grpSpPr>
            <a:xfrm>
              <a:off x="6662299" y="5206834"/>
              <a:ext cx="4858189" cy="775197"/>
              <a:chOff x="5130801" y="2820874"/>
              <a:chExt cx="3632195" cy="775197"/>
            </a:xfrm>
          </p:grpSpPr>
          <p:sp>
            <p:nvSpPr>
              <p:cNvPr id="103" name="îSļîdê">
                <a:extLst>
                  <a:ext uri="{FF2B5EF4-FFF2-40B4-BE49-F238E27FC236}">
                    <a16:creationId xmlns:a16="http://schemas.microsoft.com/office/drawing/2014/main" id="{FB40820D-6F37-4245-8417-67F5EC5DAF6F}"/>
                  </a:ext>
                </a:extLst>
              </p:cNvPr>
              <p:cNvSpPr/>
              <p:nvPr/>
            </p:nvSpPr>
            <p:spPr bwMode="auto">
              <a:xfrm>
                <a:off x="5130801" y="3208473"/>
                <a:ext cx="3632195" cy="3875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</p:txBody>
          </p:sp>
          <p:sp>
            <p:nvSpPr>
              <p:cNvPr id="104" name="ïšḻïḓe">
                <a:extLst>
                  <a:ext uri="{FF2B5EF4-FFF2-40B4-BE49-F238E27FC236}">
                    <a16:creationId xmlns:a16="http://schemas.microsoft.com/office/drawing/2014/main" id="{E8FC3F37-AB0D-4C8F-8C41-F1B8F51A3878}"/>
                  </a:ext>
                </a:extLst>
              </p:cNvPr>
              <p:cNvSpPr txBox="1"/>
              <p:nvPr/>
            </p:nvSpPr>
            <p:spPr bwMode="auto">
              <a:xfrm>
                <a:off x="5130801" y="2820874"/>
                <a:ext cx="3632195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cxnSp>
          <p:nvCxnSpPr>
            <p:cNvPr id="98" name="îsļîḍé">
              <a:extLst>
                <a:ext uri="{FF2B5EF4-FFF2-40B4-BE49-F238E27FC236}">
                  <a16:creationId xmlns:a16="http://schemas.microsoft.com/office/drawing/2014/main" id="{630A299F-8A71-4C34-B8B4-DC6FAF7C82AB}"/>
                </a:ext>
              </a:extLst>
            </p:cNvPr>
            <p:cNvCxnSpPr>
              <a:cxnSpLocks/>
            </p:cNvCxnSpPr>
            <p:nvPr/>
          </p:nvCxnSpPr>
          <p:spPr>
            <a:xfrm>
              <a:off x="6762750" y="3900641"/>
              <a:ext cx="4548188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íşḷiḓé">
              <a:extLst>
                <a:ext uri="{FF2B5EF4-FFF2-40B4-BE49-F238E27FC236}">
                  <a16:creationId xmlns:a16="http://schemas.microsoft.com/office/drawing/2014/main" id="{D3574D95-4969-4C7A-B712-CC7DCEDF6F44}"/>
                </a:ext>
              </a:extLst>
            </p:cNvPr>
            <p:cNvCxnSpPr>
              <a:cxnSpLocks/>
            </p:cNvCxnSpPr>
            <p:nvPr/>
          </p:nvCxnSpPr>
          <p:spPr>
            <a:xfrm>
              <a:off x="6762750" y="5029836"/>
              <a:ext cx="4548188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íṣlïdê">
              <a:extLst>
                <a:ext uri="{FF2B5EF4-FFF2-40B4-BE49-F238E27FC236}">
                  <a16:creationId xmlns:a16="http://schemas.microsoft.com/office/drawing/2014/main" id="{8BD9D585-8955-4084-BEDB-788DFD9D8A38}"/>
                </a:ext>
              </a:extLst>
            </p:cNvPr>
            <p:cNvCxnSpPr/>
            <p:nvPr/>
          </p:nvCxnSpPr>
          <p:spPr>
            <a:xfrm>
              <a:off x="3781425" y="3336042"/>
              <a:ext cx="1965492" cy="1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iṥḷïďe">
              <a:extLst>
                <a:ext uri="{FF2B5EF4-FFF2-40B4-BE49-F238E27FC236}">
                  <a16:creationId xmlns:a16="http://schemas.microsoft.com/office/drawing/2014/main" id="{711BB373-5138-4116-AABD-A31A986B196D}"/>
                </a:ext>
              </a:extLst>
            </p:cNvPr>
            <p:cNvCxnSpPr/>
            <p:nvPr/>
          </p:nvCxnSpPr>
          <p:spPr>
            <a:xfrm>
              <a:off x="3781425" y="3336042"/>
              <a:ext cx="1965492" cy="1129196"/>
            </a:xfrm>
            <a:prstGeom prst="bentConnector3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is1íďé">
              <a:extLst>
                <a:ext uri="{FF2B5EF4-FFF2-40B4-BE49-F238E27FC236}">
                  <a16:creationId xmlns:a16="http://schemas.microsoft.com/office/drawing/2014/main" id="{0998FA4F-3896-4662-8767-79947C245496}"/>
                </a:ext>
              </a:extLst>
            </p:cNvPr>
            <p:cNvCxnSpPr/>
            <p:nvPr/>
          </p:nvCxnSpPr>
          <p:spPr>
            <a:xfrm>
              <a:off x="3781425" y="3336042"/>
              <a:ext cx="1965492" cy="2258390"/>
            </a:xfrm>
            <a:prstGeom prst="bentConnector3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10088986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Sḷîḍ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ṥḻïḓè">
            <a:extLst>
              <a:ext uri="{FF2B5EF4-FFF2-40B4-BE49-F238E27FC236}">
                <a16:creationId xmlns:a16="http://schemas.microsoft.com/office/drawing/2014/main" id="{B48484A2-C8BF-4E82-BBCE-3E42C5B891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íṣľiḍè">
            <a:extLst>
              <a:ext uri="{FF2B5EF4-FFF2-40B4-BE49-F238E27FC236}">
                <a16:creationId xmlns:a16="http://schemas.microsoft.com/office/drawing/2014/main" id="{CDB9B1BC-77F0-4742-81E9-51DD822F78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îsḷiḑè">
            <a:extLst>
              <a:ext uri="{FF2B5EF4-FFF2-40B4-BE49-F238E27FC236}">
                <a16:creationId xmlns:a16="http://schemas.microsoft.com/office/drawing/2014/main" id="{F70D7E58-AAA6-41F4-89C5-1E5904A71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grpSp>
        <p:nvGrpSpPr>
          <p:cNvPr id="47" name="íṧlíḍe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FDE39EA8-07BC-484A-B648-7E93FBA9C276}"/>
              </a:ext>
            </a:extLst>
          </p:cNvPr>
          <p:cNvGrpSpPr>
            <a:grpSpLocks noChangeAspect="1"/>
          </p:cNvGrpSpPr>
          <p:nvPr/>
        </p:nvGrpSpPr>
        <p:grpSpPr>
          <a:xfrm>
            <a:off x="660400" y="1458029"/>
            <a:ext cx="10868453" cy="4361042"/>
            <a:chOff x="660400" y="1458029"/>
            <a:chExt cx="10868453" cy="4361042"/>
          </a:xfrm>
        </p:grpSpPr>
        <p:sp>
          <p:nvSpPr>
            <p:cNvPr id="48" name="îšḻiḑé">
              <a:extLst>
                <a:ext uri="{FF2B5EF4-FFF2-40B4-BE49-F238E27FC236}">
                  <a16:creationId xmlns:a16="http://schemas.microsoft.com/office/drawing/2014/main" id="{23C3EFB5-1A13-4F32-A3FF-DC8B49F57AAD}"/>
                </a:ext>
              </a:extLst>
            </p:cNvPr>
            <p:cNvSpPr/>
            <p:nvPr/>
          </p:nvSpPr>
          <p:spPr>
            <a:xfrm>
              <a:off x="660400" y="1458029"/>
              <a:ext cx="3197729" cy="2726120"/>
            </a:xfrm>
            <a:prstGeom prst="roundRect">
              <a:avLst>
                <a:gd name="adj" fmla="val 5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49" name="ïṣlïḓè">
              <a:extLst>
                <a:ext uri="{FF2B5EF4-FFF2-40B4-BE49-F238E27FC236}">
                  <a16:creationId xmlns:a16="http://schemas.microsoft.com/office/drawing/2014/main" id="{E201433B-2BAE-42A5-8903-30B3CA9A8C8D}"/>
                </a:ext>
              </a:extLst>
            </p:cNvPr>
            <p:cNvSpPr/>
            <p:nvPr/>
          </p:nvSpPr>
          <p:spPr>
            <a:xfrm>
              <a:off x="8331124" y="1458029"/>
              <a:ext cx="3197729" cy="2726120"/>
            </a:xfrm>
            <a:prstGeom prst="roundRect">
              <a:avLst>
                <a:gd name="adj" fmla="val 5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/>
              <a:endParaRPr/>
            </a:p>
          </p:txBody>
        </p:sp>
        <p:grpSp>
          <p:nvGrpSpPr>
            <p:cNvPr id="50" name="ï$ḷíḍè">
              <a:extLst>
                <a:ext uri="{FF2B5EF4-FFF2-40B4-BE49-F238E27FC236}">
                  <a16:creationId xmlns:a16="http://schemas.microsoft.com/office/drawing/2014/main" id="{A5F284F6-38A5-420F-ADDD-870E9D22F835}"/>
                </a:ext>
              </a:extLst>
            </p:cNvPr>
            <p:cNvGrpSpPr/>
            <p:nvPr/>
          </p:nvGrpSpPr>
          <p:grpSpPr>
            <a:xfrm>
              <a:off x="2573795" y="1987576"/>
              <a:ext cx="3401211" cy="1667026"/>
              <a:chOff x="2573795" y="1778026"/>
              <a:chExt cx="3401211" cy="1667026"/>
            </a:xfrm>
          </p:grpSpPr>
          <p:sp>
            <p:nvSpPr>
              <p:cNvPr id="64" name="ïSḷîďê">
                <a:extLst>
                  <a:ext uri="{FF2B5EF4-FFF2-40B4-BE49-F238E27FC236}">
                    <a16:creationId xmlns:a16="http://schemas.microsoft.com/office/drawing/2014/main" id="{53252976-4AE5-4E19-A5E4-CBBE1EEEE57B}"/>
                  </a:ext>
                </a:extLst>
              </p:cNvPr>
              <p:cNvSpPr/>
              <p:nvPr/>
            </p:nvSpPr>
            <p:spPr>
              <a:xfrm>
                <a:off x="2573795" y="1778026"/>
                <a:ext cx="3401211" cy="1667026"/>
              </a:xfrm>
              <a:custGeom>
                <a:avLst/>
                <a:gdLst>
                  <a:gd name="connsiteX0" fmla="*/ 101734 w 2806603"/>
                  <a:gd name="connsiteY0" fmla="*/ 0 h 1296144"/>
                  <a:gd name="connsiteX1" fmla="*/ 2158531 w 2806603"/>
                  <a:gd name="connsiteY1" fmla="*/ 0 h 1296144"/>
                  <a:gd name="connsiteX2" fmla="*/ 2806603 w 2806603"/>
                  <a:gd name="connsiteY2" fmla="*/ 648072 h 1296144"/>
                  <a:gd name="connsiteX3" fmla="*/ 2158531 w 2806603"/>
                  <a:gd name="connsiteY3" fmla="*/ 1296144 h 1296144"/>
                  <a:gd name="connsiteX4" fmla="*/ 101734 w 2806603"/>
                  <a:gd name="connsiteY4" fmla="*/ 1296144 h 1296144"/>
                  <a:gd name="connsiteX5" fmla="*/ 0 w 2806603"/>
                  <a:gd name="connsiteY5" fmla="*/ 1194410 h 1296144"/>
                  <a:gd name="connsiteX6" fmla="*/ 0 w 2806603"/>
                  <a:gd name="connsiteY6" fmla="*/ 101734 h 1296144"/>
                  <a:gd name="connsiteX7" fmla="*/ 101734 w 2806603"/>
                  <a:gd name="connsiteY7" fmla="*/ 0 h 1296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06603" h="1296144">
                    <a:moveTo>
                      <a:pt x="101734" y="0"/>
                    </a:moveTo>
                    <a:lnTo>
                      <a:pt x="2158531" y="0"/>
                    </a:lnTo>
                    <a:lnTo>
                      <a:pt x="2806603" y="648072"/>
                    </a:lnTo>
                    <a:lnTo>
                      <a:pt x="2158531" y="1296144"/>
                    </a:lnTo>
                    <a:lnTo>
                      <a:pt x="101734" y="1296144"/>
                    </a:lnTo>
                    <a:cubicBezTo>
                      <a:pt x="45548" y="1296144"/>
                      <a:pt x="0" y="1250596"/>
                      <a:pt x="0" y="1194410"/>
                    </a:cubicBezTo>
                    <a:lnTo>
                      <a:pt x="0" y="101734"/>
                    </a:lnTo>
                    <a:cubicBezTo>
                      <a:pt x="0" y="45548"/>
                      <a:pt x="45548" y="0"/>
                      <a:pt x="101734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 sz="1600" b="1" dirty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65" name="ïṡľíḋé">
                <a:extLst>
                  <a:ext uri="{FF2B5EF4-FFF2-40B4-BE49-F238E27FC236}">
                    <a16:creationId xmlns:a16="http://schemas.microsoft.com/office/drawing/2014/main" id="{4450B91A-DA9B-47A1-833A-4EB9E070E8F2}"/>
                  </a:ext>
                </a:extLst>
              </p:cNvPr>
              <p:cNvGrpSpPr/>
              <p:nvPr/>
            </p:nvGrpSpPr>
            <p:grpSpPr>
              <a:xfrm>
                <a:off x="2856482" y="2152967"/>
                <a:ext cx="2430000" cy="917145"/>
                <a:chOff x="2845094" y="2441718"/>
                <a:chExt cx="2430000" cy="917145"/>
              </a:xfrm>
            </p:grpSpPr>
            <p:sp>
              <p:nvSpPr>
                <p:cNvPr id="66" name="iŝlîḍê">
                  <a:extLst>
                    <a:ext uri="{FF2B5EF4-FFF2-40B4-BE49-F238E27FC236}">
                      <a16:creationId xmlns:a16="http://schemas.microsoft.com/office/drawing/2014/main" id="{526978F8-6625-42CB-89E6-C0629B387AFD}"/>
                    </a:ext>
                  </a:extLst>
                </p:cNvPr>
                <p:cNvSpPr/>
                <p:nvPr/>
              </p:nvSpPr>
              <p:spPr bwMode="auto">
                <a:xfrm>
                  <a:off x="2845094" y="2829317"/>
                  <a:ext cx="2430000" cy="52954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130000"/>
                    </a:lnSpc>
                  </a:pPr>
                  <a:r>
                    <a:rPr lang="en-US" altLang="zh-CN" sz="1100" dirty="0">
                      <a:solidFill>
                        <a:schemeClr val="bg1"/>
                      </a:solidFill>
                    </a:rPr>
                    <a:t>Copy paste fonts. Choose the only option to retain text.</a:t>
                  </a:r>
                </a:p>
              </p:txBody>
            </p:sp>
            <p:sp>
              <p:nvSpPr>
                <p:cNvPr id="67" name="í$1îḋê">
                  <a:extLst>
                    <a:ext uri="{FF2B5EF4-FFF2-40B4-BE49-F238E27FC236}">
                      <a16:creationId xmlns:a16="http://schemas.microsoft.com/office/drawing/2014/main" id="{0F89A72E-A7E6-49D2-9C28-17AF1FA1BDB0}"/>
                    </a:ext>
                  </a:extLst>
                </p:cNvPr>
                <p:cNvSpPr txBox="1"/>
                <p:nvPr/>
              </p:nvSpPr>
              <p:spPr bwMode="auto">
                <a:xfrm>
                  <a:off x="2845094" y="2441718"/>
                  <a:ext cx="2430000" cy="38759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b" anchorCtr="0">
                  <a:normAutofit lnSpcReduction="1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eaLnBrk="1" hangingPunct="1">
                    <a:lnSpc>
                      <a:spcPct val="100000"/>
                    </a:lnSpc>
                    <a:spcBef>
                      <a:spcPct val="0"/>
                    </a:spcBef>
                    <a:buFontTx/>
                    <a:buNone/>
                  </a:pPr>
                  <a:r>
                    <a:rPr lang="en-US" altLang="zh-CN" sz="2000" b="1" dirty="0">
                      <a:solidFill>
                        <a:schemeClr val="bg1"/>
                      </a:solidFill>
                    </a:rPr>
                    <a:t>Text here</a:t>
                  </a:r>
                </a:p>
              </p:txBody>
            </p:sp>
          </p:grpSp>
        </p:grpSp>
        <p:grpSp>
          <p:nvGrpSpPr>
            <p:cNvPr id="51" name="iṣľíḋè">
              <a:extLst>
                <a:ext uri="{FF2B5EF4-FFF2-40B4-BE49-F238E27FC236}">
                  <a16:creationId xmlns:a16="http://schemas.microsoft.com/office/drawing/2014/main" id="{68C21FE2-5700-4C1B-AB6B-EDB8B1C7DAEE}"/>
                </a:ext>
              </a:extLst>
            </p:cNvPr>
            <p:cNvGrpSpPr/>
            <p:nvPr/>
          </p:nvGrpSpPr>
          <p:grpSpPr>
            <a:xfrm>
              <a:off x="6214247" y="1987576"/>
              <a:ext cx="3402904" cy="1667026"/>
              <a:chOff x="6214247" y="1778026"/>
              <a:chExt cx="3402904" cy="1667026"/>
            </a:xfrm>
          </p:grpSpPr>
          <p:sp>
            <p:nvSpPr>
              <p:cNvPr id="60" name="îşľïḑè">
                <a:extLst>
                  <a:ext uri="{FF2B5EF4-FFF2-40B4-BE49-F238E27FC236}">
                    <a16:creationId xmlns:a16="http://schemas.microsoft.com/office/drawing/2014/main" id="{37C805EE-6344-4C62-B30E-E21FD9FF83ED}"/>
                  </a:ext>
                </a:extLst>
              </p:cNvPr>
              <p:cNvSpPr/>
              <p:nvPr/>
            </p:nvSpPr>
            <p:spPr>
              <a:xfrm flipH="1">
                <a:off x="6214247" y="1778026"/>
                <a:ext cx="3402904" cy="1667026"/>
              </a:xfrm>
              <a:custGeom>
                <a:avLst/>
                <a:gdLst>
                  <a:gd name="connsiteX0" fmla="*/ 101734 w 2806603"/>
                  <a:gd name="connsiteY0" fmla="*/ 0 h 1296144"/>
                  <a:gd name="connsiteX1" fmla="*/ 2158531 w 2806603"/>
                  <a:gd name="connsiteY1" fmla="*/ 0 h 1296144"/>
                  <a:gd name="connsiteX2" fmla="*/ 2806603 w 2806603"/>
                  <a:gd name="connsiteY2" fmla="*/ 648072 h 1296144"/>
                  <a:gd name="connsiteX3" fmla="*/ 2158531 w 2806603"/>
                  <a:gd name="connsiteY3" fmla="*/ 1296144 h 1296144"/>
                  <a:gd name="connsiteX4" fmla="*/ 101734 w 2806603"/>
                  <a:gd name="connsiteY4" fmla="*/ 1296144 h 1296144"/>
                  <a:gd name="connsiteX5" fmla="*/ 0 w 2806603"/>
                  <a:gd name="connsiteY5" fmla="*/ 1194410 h 1296144"/>
                  <a:gd name="connsiteX6" fmla="*/ 0 w 2806603"/>
                  <a:gd name="connsiteY6" fmla="*/ 101734 h 1296144"/>
                  <a:gd name="connsiteX7" fmla="*/ 101734 w 2806603"/>
                  <a:gd name="connsiteY7" fmla="*/ 0 h 1296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06603" h="1296144">
                    <a:moveTo>
                      <a:pt x="101734" y="0"/>
                    </a:moveTo>
                    <a:lnTo>
                      <a:pt x="2158531" y="0"/>
                    </a:lnTo>
                    <a:lnTo>
                      <a:pt x="2806603" y="648072"/>
                    </a:lnTo>
                    <a:lnTo>
                      <a:pt x="2158531" y="1296144"/>
                    </a:lnTo>
                    <a:lnTo>
                      <a:pt x="101734" y="1296144"/>
                    </a:lnTo>
                    <a:cubicBezTo>
                      <a:pt x="45548" y="1296144"/>
                      <a:pt x="0" y="1250596"/>
                      <a:pt x="0" y="1194410"/>
                    </a:cubicBezTo>
                    <a:lnTo>
                      <a:pt x="0" y="101734"/>
                    </a:lnTo>
                    <a:cubicBezTo>
                      <a:pt x="0" y="45548"/>
                      <a:pt x="45548" y="0"/>
                      <a:pt x="101734" y="0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endParaRPr lang="zh-CN" altLang="en-US" sz="1600" b="1" dirty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61" name="îš1iḍe">
                <a:extLst>
                  <a:ext uri="{FF2B5EF4-FFF2-40B4-BE49-F238E27FC236}">
                    <a16:creationId xmlns:a16="http://schemas.microsoft.com/office/drawing/2014/main" id="{FD5A7B71-B359-4E74-B8FA-946594ED80C0}"/>
                  </a:ext>
                </a:extLst>
              </p:cNvPr>
              <p:cNvGrpSpPr/>
              <p:nvPr/>
            </p:nvGrpSpPr>
            <p:grpSpPr>
              <a:xfrm>
                <a:off x="6902771" y="2152967"/>
                <a:ext cx="2430000" cy="917145"/>
                <a:chOff x="2845094" y="2441718"/>
                <a:chExt cx="2430000" cy="917145"/>
              </a:xfrm>
            </p:grpSpPr>
            <p:sp>
              <p:nvSpPr>
                <p:cNvPr id="62" name="íṩľîďê">
                  <a:extLst>
                    <a:ext uri="{FF2B5EF4-FFF2-40B4-BE49-F238E27FC236}">
                      <a16:creationId xmlns:a16="http://schemas.microsoft.com/office/drawing/2014/main" id="{526978F8-6625-42CB-89E6-C0629B387AFD}"/>
                    </a:ext>
                  </a:extLst>
                </p:cNvPr>
                <p:cNvSpPr/>
                <p:nvPr/>
              </p:nvSpPr>
              <p:spPr bwMode="auto">
                <a:xfrm>
                  <a:off x="2845094" y="2829317"/>
                  <a:ext cx="2430000" cy="52954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130000"/>
                    </a:lnSpc>
                  </a:pPr>
                  <a:r>
                    <a:rPr lang="en-US" altLang="zh-CN" sz="1100" dirty="0">
                      <a:solidFill>
                        <a:schemeClr val="bg1"/>
                      </a:solidFill>
                    </a:rPr>
                    <a:t>Copy paste fonts. Choose the only option to retain text.</a:t>
                  </a:r>
                </a:p>
              </p:txBody>
            </p:sp>
            <p:sp>
              <p:nvSpPr>
                <p:cNvPr id="63" name="íśḷïde">
                  <a:extLst>
                    <a:ext uri="{FF2B5EF4-FFF2-40B4-BE49-F238E27FC236}">
                      <a16:creationId xmlns:a16="http://schemas.microsoft.com/office/drawing/2014/main" id="{0F89A72E-A7E6-49D2-9C28-17AF1FA1BDB0}"/>
                    </a:ext>
                  </a:extLst>
                </p:cNvPr>
                <p:cNvSpPr txBox="1"/>
                <p:nvPr/>
              </p:nvSpPr>
              <p:spPr bwMode="auto">
                <a:xfrm>
                  <a:off x="2845094" y="2441718"/>
                  <a:ext cx="2430000" cy="38759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b" anchorCtr="0">
                  <a:normAutofit lnSpcReduction="1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eaLnBrk="1" hangingPunct="1">
                    <a:lnSpc>
                      <a:spcPct val="100000"/>
                    </a:lnSpc>
                    <a:spcBef>
                      <a:spcPct val="0"/>
                    </a:spcBef>
                    <a:buFontTx/>
                    <a:buNone/>
                  </a:pPr>
                  <a:r>
                    <a:rPr lang="en-US" altLang="zh-CN" sz="2000" b="1" dirty="0">
                      <a:solidFill>
                        <a:schemeClr val="bg1"/>
                      </a:solidFill>
                    </a:rPr>
                    <a:t>Text here</a:t>
                  </a:r>
                </a:p>
              </p:txBody>
            </p:sp>
          </p:grpSp>
        </p:grpSp>
        <p:grpSp>
          <p:nvGrpSpPr>
            <p:cNvPr id="52" name="í$ḷïḍè">
              <a:extLst>
                <a:ext uri="{FF2B5EF4-FFF2-40B4-BE49-F238E27FC236}">
                  <a16:creationId xmlns:a16="http://schemas.microsoft.com/office/drawing/2014/main" id="{5720A2FD-3675-4754-A179-FABDE3A59785}"/>
                </a:ext>
              </a:extLst>
            </p:cNvPr>
            <p:cNvGrpSpPr/>
            <p:nvPr/>
          </p:nvGrpSpPr>
          <p:grpSpPr>
            <a:xfrm>
              <a:off x="660400" y="4400852"/>
              <a:ext cx="3197728" cy="1418219"/>
              <a:chOff x="1279360" y="4191302"/>
              <a:chExt cx="2794870" cy="1418219"/>
            </a:xfrm>
          </p:grpSpPr>
          <p:sp>
            <p:nvSpPr>
              <p:cNvPr id="58" name="íṩlïďè">
                <a:extLst>
                  <a:ext uri="{FF2B5EF4-FFF2-40B4-BE49-F238E27FC236}">
                    <a16:creationId xmlns:a16="http://schemas.microsoft.com/office/drawing/2014/main" id="{903C96D9-E2EA-4E6F-AFEF-C7374BFEFE86}"/>
                  </a:ext>
                </a:extLst>
              </p:cNvPr>
              <p:cNvSpPr/>
              <p:nvPr/>
            </p:nvSpPr>
            <p:spPr bwMode="auto">
              <a:xfrm>
                <a:off x="1279360" y="4578900"/>
                <a:ext cx="2794870" cy="10306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Supporting text here.</a:t>
                </a:r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When you copy &amp; paste, choose "keep text only" option……</a:t>
                </a:r>
              </a:p>
            </p:txBody>
          </p:sp>
          <p:sp>
            <p:nvSpPr>
              <p:cNvPr id="59" name="íslïdé">
                <a:extLst>
                  <a:ext uri="{FF2B5EF4-FFF2-40B4-BE49-F238E27FC236}">
                    <a16:creationId xmlns:a16="http://schemas.microsoft.com/office/drawing/2014/main" id="{7BCAFC6F-8861-48E9-A6C9-688B7AC2C91D}"/>
                  </a:ext>
                </a:extLst>
              </p:cNvPr>
              <p:cNvSpPr txBox="1"/>
              <p:nvPr/>
            </p:nvSpPr>
            <p:spPr bwMode="auto">
              <a:xfrm>
                <a:off x="1279360" y="4191302"/>
                <a:ext cx="2794870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53" name="ï$ḷïḋê">
              <a:extLst>
                <a:ext uri="{FF2B5EF4-FFF2-40B4-BE49-F238E27FC236}">
                  <a16:creationId xmlns:a16="http://schemas.microsoft.com/office/drawing/2014/main" id="{F6E84516-A061-4FDC-A1C3-EE4D37EA41B7}"/>
                </a:ext>
              </a:extLst>
            </p:cNvPr>
            <p:cNvGrpSpPr/>
            <p:nvPr/>
          </p:nvGrpSpPr>
          <p:grpSpPr>
            <a:xfrm>
              <a:off x="8331124" y="4400852"/>
              <a:ext cx="3187776" cy="1418219"/>
              <a:chOff x="8117771" y="4191302"/>
              <a:chExt cx="2794870" cy="1418219"/>
            </a:xfrm>
          </p:grpSpPr>
          <p:sp>
            <p:nvSpPr>
              <p:cNvPr id="56" name="íṣḷídê">
                <a:extLst>
                  <a:ext uri="{FF2B5EF4-FFF2-40B4-BE49-F238E27FC236}">
                    <a16:creationId xmlns:a16="http://schemas.microsoft.com/office/drawing/2014/main" id="{903C96D9-E2EA-4E6F-AFEF-C7374BFEFE86}"/>
                  </a:ext>
                </a:extLst>
              </p:cNvPr>
              <p:cNvSpPr/>
              <p:nvPr/>
            </p:nvSpPr>
            <p:spPr bwMode="auto">
              <a:xfrm>
                <a:off x="8117771" y="4578900"/>
                <a:ext cx="2794870" cy="10306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Supporting text here.</a:t>
                </a:r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When you copy &amp; paste, choose "keep text only" option……</a:t>
                </a:r>
              </a:p>
            </p:txBody>
          </p:sp>
          <p:sp>
            <p:nvSpPr>
              <p:cNvPr id="57" name="îṣḻiḓè">
                <a:extLst>
                  <a:ext uri="{FF2B5EF4-FFF2-40B4-BE49-F238E27FC236}">
                    <a16:creationId xmlns:a16="http://schemas.microsoft.com/office/drawing/2014/main" id="{7BCAFC6F-8861-48E9-A6C9-688B7AC2C91D}"/>
                  </a:ext>
                </a:extLst>
              </p:cNvPr>
              <p:cNvSpPr txBox="1"/>
              <p:nvPr/>
            </p:nvSpPr>
            <p:spPr bwMode="auto">
              <a:xfrm>
                <a:off x="8117771" y="4191302"/>
                <a:ext cx="2794870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sp>
          <p:nvSpPr>
            <p:cNvPr id="54" name="îṣļïḓê">
              <a:extLst>
                <a:ext uri="{FF2B5EF4-FFF2-40B4-BE49-F238E27FC236}">
                  <a16:creationId xmlns:a16="http://schemas.microsoft.com/office/drawing/2014/main" id="{DB9CB7C3-D316-47E2-89E1-2AAFA149167D}"/>
                </a:ext>
              </a:extLst>
            </p:cNvPr>
            <p:cNvSpPr/>
            <p:nvPr/>
          </p:nvSpPr>
          <p:spPr>
            <a:xfrm>
              <a:off x="9832818" y="2561972"/>
              <a:ext cx="650804" cy="518232"/>
            </a:xfrm>
            <a:custGeom>
              <a:avLst/>
              <a:gdLst>
                <a:gd name="connsiteX0" fmla="*/ 485775 w 514350"/>
                <a:gd name="connsiteY0" fmla="*/ 0 h 409575"/>
                <a:gd name="connsiteX1" fmla="*/ 514350 w 514350"/>
                <a:gd name="connsiteY1" fmla="*/ 28575 h 409575"/>
                <a:gd name="connsiteX2" fmla="*/ 514350 w 514350"/>
                <a:gd name="connsiteY2" fmla="*/ 323850 h 409575"/>
                <a:gd name="connsiteX3" fmla="*/ 485775 w 514350"/>
                <a:gd name="connsiteY3" fmla="*/ 352425 h 409575"/>
                <a:gd name="connsiteX4" fmla="*/ 191167 w 514350"/>
                <a:gd name="connsiteY4" fmla="*/ 352425 h 409575"/>
                <a:gd name="connsiteX5" fmla="*/ 114395 w 514350"/>
                <a:gd name="connsiteY5" fmla="*/ 409575 h 409575"/>
                <a:gd name="connsiteX6" fmla="*/ 114395 w 514350"/>
                <a:gd name="connsiteY6" fmla="*/ 352425 h 409575"/>
                <a:gd name="connsiteX7" fmla="*/ 28575 w 514350"/>
                <a:gd name="connsiteY7" fmla="*/ 352425 h 409575"/>
                <a:gd name="connsiteX8" fmla="*/ 0 w 514350"/>
                <a:gd name="connsiteY8" fmla="*/ 323850 h 409575"/>
                <a:gd name="connsiteX9" fmla="*/ 0 w 514350"/>
                <a:gd name="connsiteY9" fmla="*/ 28575 h 409575"/>
                <a:gd name="connsiteX10" fmla="*/ 28575 w 514350"/>
                <a:gd name="connsiteY10" fmla="*/ 0 h 409575"/>
                <a:gd name="connsiteX11" fmla="*/ 485775 w 514350"/>
                <a:gd name="connsiteY11" fmla="*/ 0 h 409575"/>
                <a:gd name="connsiteX12" fmla="*/ 123825 w 514350"/>
                <a:gd name="connsiteY12" fmla="*/ 142875 h 409575"/>
                <a:gd name="connsiteX13" fmla="*/ 90488 w 514350"/>
                <a:gd name="connsiteY13" fmla="*/ 176213 h 409575"/>
                <a:gd name="connsiteX14" fmla="*/ 123825 w 514350"/>
                <a:gd name="connsiteY14" fmla="*/ 209550 h 409575"/>
                <a:gd name="connsiteX15" fmla="*/ 157163 w 514350"/>
                <a:gd name="connsiteY15" fmla="*/ 176213 h 409575"/>
                <a:gd name="connsiteX16" fmla="*/ 123825 w 514350"/>
                <a:gd name="connsiteY16" fmla="*/ 142875 h 409575"/>
                <a:gd name="connsiteX17" fmla="*/ 257175 w 514350"/>
                <a:gd name="connsiteY17" fmla="*/ 142875 h 409575"/>
                <a:gd name="connsiteX18" fmla="*/ 223838 w 514350"/>
                <a:gd name="connsiteY18" fmla="*/ 176213 h 409575"/>
                <a:gd name="connsiteX19" fmla="*/ 257175 w 514350"/>
                <a:gd name="connsiteY19" fmla="*/ 209550 h 409575"/>
                <a:gd name="connsiteX20" fmla="*/ 290513 w 514350"/>
                <a:gd name="connsiteY20" fmla="*/ 176213 h 409575"/>
                <a:gd name="connsiteX21" fmla="*/ 257175 w 514350"/>
                <a:gd name="connsiteY21" fmla="*/ 142875 h 409575"/>
                <a:gd name="connsiteX22" fmla="*/ 390525 w 514350"/>
                <a:gd name="connsiteY22" fmla="*/ 142875 h 409575"/>
                <a:gd name="connsiteX23" fmla="*/ 357188 w 514350"/>
                <a:gd name="connsiteY23" fmla="*/ 176213 h 409575"/>
                <a:gd name="connsiteX24" fmla="*/ 390525 w 514350"/>
                <a:gd name="connsiteY24" fmla="*/ 209550 h 409575"/>
                <a:gd name="connsiteX25" fmla="*/ 423863 w 514350"/>
                <a:gd name="connsiteY25" fmla="*/ 176213 h 409575"/>
                <a:gd name="connsiteX26" fmla="*/ 390525 w 514350"/>
                <a:gd name="connsiteY26" fmla="*/ 142875 h 40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4350" h="409575">
                  <a:moveTo>
                    <a:pt x="485775" y="0"/>
                  </a:moveTo>
                  <a:cubicBezTo>
                    <a:pt x="501586" y="0"/>
                    <a:pt x="514350" y="12764"/>
                    <a:pt x="514350" y="28575"/>
                  </a:cubicBezTo>
                  <a:lnTo>
                    <a:pt x="514350" y="323850"/>
                  </a:lnTo>
                  <a:cubicBezTo>
                    <a:pt x="514350" y="339662"/>
                    <a:pt x="501586" y="352425"/>
                    <a:pt x="485775" y="352425"/>
                  </a:cubicBezTo>
                  <a:lnTo>
                    <a:pt x="191167" y="352425"/>
                  </a:lnTo>
                  <a:lnTo>
                    <a:pt x="114395" y="409575"/>
                  </a:lnTo>
                  <a:lnTo>
                    <a:pt x="114395" y="352425"/>
                  </a:lnTo>
                  <a:lnTo>
                    <a:pt x="28575" y="352425"/>
                  </a:lnTo>
                  <a:cubicBezTo>
                    <a:pt x="12764" y="352425"/>
                    <a:pt x="0" y="339662"/>
                    <a:pt x="0" y="323850"/>
                  </a:cubicBezTo>
                  <a:lnTo>
                    <a:pt x="0" y="28575"/>
                  </a:lnTo>
                  <a:cubicBezTo>
                    <a:pt x="0" y="12764"/>
                    <a:pt x="12764" y="0"/>
                    <a:pt x="28575" y="0"/>
                  </a:cubicBezTo>
                  <a:lnTo>
                    <a:pt x="485775" y="0"/>
                  </a:lnTo>
                  <a:close/>
                  <a:moveTo>
                    <a:pt x="123825" y="142875"/>
                  </a:moveTo>
                  <a:cubicBezTo>
                    <a:pt x="105442" y="142875"/>
                    <a:pt x="90488" y="157829"/>
                    <a:pt x="90488" y="176213"/>
                  </a:cubicBezTo>
                  <a:cubicBezTo>
                    <a:pt x="90488" y="194596"/>
                    <a:pt x="105442" y="209550"/>
                    <a:pt x="123825" y="209550"/>
                  </a:cubicBezTo>
                  <a:cubicBezTo>
                    <a:pt x="142208" y="209550"/>
                    <a:pt x="157163" y="194596"/>
                    <a:pt x="157163" y="176213"/>
                  </a:cubicBezTo>
                  <a:cubicBezTo>
                    <a:pt x="157163" y="157829"/>
                    <a:pt x="142208" y="142875"/>
                    <a:pt x="123825" y="142875"/>
                  </a:cubicBezTo>
                  <a:close/>
                  <a:moveTo>
                    <a:pt x="257175" y="142875"/>
                  </a:moveTo>
                  <a:cubicBezTo>
                    <a:pt x="238792" y="142875"/>
                    <a:pt x="223838" y="157829"/>
                    <a:pt x="223838" y="176213"/>
                  </a:cubicBezTo>
                  <a:cubicBezTo>
                    <a:pt x="223838" y="194596"/>
                    <a:pt x="238792" y="209550"/>
                    <a:pt x="257175" y="209550"/>
                  </a:cubicBezTo>
                  <a:cubicBezTo>
                    <a:pt x="275558" y="209550"/>
                    <a:pt x="290513" y="194596"/>
                    <a:pt x="290513" y="176213"/>
                  </a:cubicBezTo>
                  <a:cubicBezTo>
                    <a:pt x="290513" y="157829"/>
                    <a:pt x="275558" y="142875"/>
                    <a:pt x="257175" y="142875"/>
                  </a:cubicBezTo>
                  <a:close/>
                  <a:moveTo>
                    <a:pt x="390525" y="142875"/>
                  </a:moveTo>
                  <a:cubicBezTo>
                    <a:pt x="372142" y="142875"/>
                    <a:pt x="357188" y="157829"/>
                    <a:pt x="357188" y="176213"/>
                  </a:cubicBezTo>
                  <a:cubicBezTo>
                    <a:pt x="357188" y="194596"/>
                    <a:pt x="372142" y="209550"/>
                    <a:pt x="390525" y="209550"/>
                  </a:cubicBezTo>
                  <a:cubicBezTo>
                    <a:pt x="408908" y="209550"/>
                    <a:pt x="423863" y="194596"/>
                    <a:pt x="423863" y="176213"/>
                  </a:cubicBezTo>
                  <a:cubicBezTo>
                    <a:pt x="423863" y="157829"/>
                    <a:pt x="408908" y="142875"/>
                    <a:pt x="390525" y="142875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2200" kern="1200"/>
            </a:p>
          </p:txBody>
        </p:sp>
        <p:sp>
          <p:nvSpPr>
            <p:cNvPr id="55" name="iṩļiḍê">
              <a:extLst>
                <a:ext uri="{FF2B5EF4-FFF2-40B4-BE49-F238E27FC236}">
                  <a16:creationId xmlns:a16="http://schemas.microsoft.com/office/drawing/2014/main" id="{E5DBB1DA-CC2C-46CA-A805-24BC5F9E3FD4}"/>
                </a:ext>
              </a:extLst>
            </p:cNvPr>
            <p:cNvSpPr/>
            <p:nvPr/>
          </p:nvSpPr>
          <p:spPr>
            <a:xfrm>
              <a:off x="1672036" y="2525594"/>
              <a:ext cx="709884" cy="590989"/>
            </a:xfrm>
            <a:custGeom>
              <a:avLst/>
              <a:gdLst>
                <a:gd name="connsiteX0" fmla="*/ 482197 w 526297"/>
                <a:gd name="connsiteY0" fmla="*/ 133350 h 438150"/>
                <a:gd name="connsiteX1" fmla="*/ 526298 w 526297"/>
                <a:gd name="connsiteY1" fmla="*/ 177451 h 438150"/>
                <a:gd name="connsiteX2" fmla="*/ 526203 w 526297"/>
                <a:gd name="connsiteY2" fmla="*/ 180880 h 438150"/>
                <a:gd name="connsiteX3" fmla="*/ 512867 w 526297"/>
                <a:gd name="connsiteY3" fmla="*/ 354616 h 438150"/>
                <a:gd name="connsiteX4" fmla="*/ 484388 w 526297"/>
                <a:gd name="connsiteY4" fmla="*/ 381000 h 438150"/>
                <a:gd name="connsiteX5" fmla="*/ 453622 w 526297"/>
                <a:gd name="connsiteY5" fmla="*/ 381000 h 438150"/>
                <a:gd name="connsiteX6" fmla="*/ 453622 w 526297"/>
                <a:gd name="connsiteY6" fmla="*/ 438150 h 438150"/>
                <a:gd name="connsiteX7" fmla="*/ 434572 w 526297"/>
                <a:gd name="connsiteY7" fmla="*/ 438150 h 438150"/>
                <a:gd name="connsiteX8" fmla="*/ 434572 w 526297"/>
                <a:gd name="connsiteY8" fmla="*/ 381000 h 438150"/>
                <a:gd name="connsiteX9" fmla="*/ 91672 w 526297"/>
                <a:gd name="connsiteY9" fmla="*/ 381000 h 438150"/>
                <a:gd name="connsiteX10" fmla="*/ 91672 w 526297"/>
                <a:gd name="connsiteY10" fmla="*/ 438150 h 438150"/>
                <a:gd name="connsiteX11" fmla="*/ 72622 w 526297"/>
                <a:gd name="connsiteY11" fmla="*/ 438150 h 438150"/>
                <a:gd name="connsiteX12" fmla="*/ 72622 w 526297"/>
                <a:gd name="connsiteY12" fmla="*/ 381000 h 438150"/>
                <a:gd name="connsiteX13" fmla="*/ 41952 w 526297"/>
                <a:gd name="connsiteY13" fmla="*/ 381000 h 438150"/>
                <a:gd name="connsiteX14" fmla="*/ 13472 w 526297"/>
                <a:gd name="connsiteY14" fmla="*/ 354616 h 438150"/>
                <a:gd name="connsiteX15" fmla="*/ 137 w 526297"/>
                <a:gd name="connsiteY15" fmla="*/ 180880 h 438150"/>
                <a:gd name="connsiteX16" fmla="*/ 40714 w 526297"/>
                <a:gd name="connsiteY16" fmla="*/ 133541 h 438150"/>
                <a:gd name="connsiteX17" fmla="*/ 44142 w 526297"/>
                <a:gd name="connsiteY17" fmla="*/ 133445 h 438150"/>
                <a:gd name="connsiteX18" fmla="*/ 100531 w 526297"/>
                <a:gd name="connsiteY18" fmla="*/ 180213 h 438150"/>
                <a:gd name="connsiteX19" fmla="*/ 120247 w 526297"/>
                <a:gd name="connsiteY19" fmla="*/ 285750 h 438150"/>
                <a:gd name="connsiteX20" fmla="*/ 405997 w 526297"/>
                <a:gd name="connsiteY20" fmla="*/ 285750 h 438150"/>
                <a:gd name="connsiteX21" fmla="*/ 425809 w 526297"/>
                <a:gd name="connsiteY21" fmla="*/ 180118 h 438150"/>
                <a:gd name="connsiteX22" fmla="*/ 482197 w 526297"/>
                <a:gd name="connsiteY22" fmla="*/ 133350 h 438150"/>
                <a:gd name="connsiteX23" fmla="*/ 415522 w 526297"/>
                <a:gd name="connsiteY23" fmla="*/ 0 h 438150"/>
                <a:gd name="connsiteX24" fmla="*/ 482197 w 526297"/>
                <a:gd name="connsiteY24" fmla="*/ 66675 h 438150"/>
                <a:gd name="connsiteX25" fmla="*/ 482197 w 526297"/>
                <a:gd name="connsiteY25" fmla="*/ 114776 h 438150"/>
                <a:gd name="connsiteX26" fmla="*/ 475053 w 526297"/>
                <a:gd name="connsiteY26" fmla="*/ 114300 h 438150"/>
                <a:gd name="connsiteX27" fmla="*/ 410664 w 526297"/>
                <a:gd name="connsiteY27" fmla="*/ 165830 h 438150"/>
                <a:gd name="connsiteX28" fmla="*/ 410188 w 526297"/>
                <a:gd name="connsiteY28" fmla="*/ 168116 h 438150"/>
                <a:gd name="connsiteX29" fmla="*/ 391710 w 526297"/>
                <a:gd name="connsiteY29" fmla="*/ 266700 h 438150"/>
                <a:gd name="connsiteX30" fmla="*/ 134535 w 526297"/>
                <a:gd name="connsiteY30" fmla="*/ 266700 h 438150"/>
                <a:gd name="connsiteX31" fmla="*/ 116057 w 526297"/>
                <a:gd name="connsiteY31" fmla="*/ 168116 h 438150"/>
                <a:gd name="connsiteX32" fmla="*/ 51191 w 526297"/>
                <a:gd name="connsiteY32" fmla="*/ 114300 h 438150"/>
                <a:gd name="connsiteX33" fmla="*/ 53572 w 526297"/>
                <a:gd name="connsiteY33" fmla="*/ 66675 h 438150"/>
                <a:gd name="connsiteX34" fmla="*/ 120247 w 526297"/>
                <a:gd name="connsiteY34" fmla="*/ 0 h 438150"/>
                <a:gd name="connsiteX35" fmla="*/ 415522 w 526297"/>
                <a:gd name="connsiteY35" fmla="*/ 0 h 438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26297" h="438150">
                  <a:moveTo>
                    <a:pt x="482197" y="133350"/>
                  </a:moveTo>
                  <a:cubicBezTo>
                    <a:pt x="506582" y="133350"/>
                    <a:pt x="526298" y="153067"/>
                    <a:pt x="526298" y="177451"/>
                  </a:cubicBezTo>
                  <a:cubicBezTo>
                    <a:pt x="526298" y="178594"/>
                    <a:pt x="526298" y="179737"/>
                    <a:pt x="526203" y="180880"/>
                  </a:cubicBezTo>
                  <a:lnTo>
                    <a:pt x="512867" y="354616"/>
                  </a:lnTo>
                  <a:cubicBezTo>
                    <a:pt x="511724" y="369475"/>
                    <a:pt x="499343" y="381000"/>
                    <a:pt x="484388" y="381000"/>
                  </a:cubicBezTo>
                  <a:lnTo>
                    <a:pt x="453622" y="381000"/>
                  </a:lnTo>
                  <a:lnTo>
                    <a:pt x="453622" y="438150"/>
                  </a:lnTo>
                  <a:lnTo>
                    <a:pt x="434572" y="438150"/>
                  </a:lnTo>
                  <a:lnTo>
                    <a:pt x="434572" y="381000"/>
                  </a:lnTo>
                  <a:lnTo>
                    <a:pt x="91672" y="381000"/>
                  </a:lnTo>
                  <a:lnTo>
                    <a:pt x="91672" y="438150"/>
                  </a:lnTo>
                  <a:lnTo>
                    <a:pt x="72622" y="438150"/>
                  </a:lnTo>
                  <a:lnTo>
                    <a:pt x="72622" y="381000"/>
                  </a:lnTo>
                  <a:lnTo>
                    <a:pt x="41952" y="381000"/>
                  </a:lnTo>
                  <a:cubicBezTo>
                    <a:pt x="26998" y="381000"/>
                    <a:pt x="14615" y="369475"/>
                    <a:pt x="13472" y="354616"/>
                  </a:cubicBezTo>
                  <a:lnTo>
                    <a:pt x="137" y="180880"/>
                  </a:lnTo>
                  <a:cubicBezTo>
                    <a:pt x="-1768" y="156591"/>
                    <a:pt x="16424" y="135350"/>
                    <a:pt x="40714" y="133541"/>
                  </a:cubicBezTo>
                  <a:cubicBezTo>
                    <a:pt x="41857" y="133445"/>
                    <a:pt x="42999" y="133445"/>
                    <a:pt x="44142" y="133445"/>
                  </a:cubicBezTo>
                  <a:cubicBezTo>
                    <a:pt x="71765" y="133445"/>
                    <a:pt x="95482" y="153067"/>
                    <a:pt x="100531" y="180213"/>
                  </a:cubicBezTo>
                  <a:lnTo>
                    <a:pt x="120247" y="285750"/>
                  </a:lnTo>
                  <a:lnTo>
                    <a:pt x="405997" y="285750"/>
                  </a:lnTo>
                  <a:lnTo>
                    <a:pt x="425809" y="180118"/>
                  </a:lnTo>
                  <a:cubicBezTo>
                    <a:pt x="430857" y="152972"/>
                    <a:pt x="454574" y="133350"/>
                    <a:pt x="482197" y="133350"/>
                  </a:cubicBezTo>
                  <a:close/>
                  <a:moveTo>
                    <a:pt x="415522" y="0"/>
                  </a:moveTo>
                  <a:cubicBezTo>
                    <a:pt x="452384" y="0"/>
                    <a:pt x="482197" y="29813"/>
                    <a:pt x="482197" y="66675"/>
                  </a:cubicBezTo>
                  <a:lnTo>
                    <a:pt x="482197" y="114776"/>
                  </a:lnTo>
                  <a:cubicBezTo>
                    <a:pt x="479816" y="114491"/>
                    <a:pt x="477435" y="114300"/>
                    <a:pt x="475053" y="114300"/>
                  </a:cubicBezTo>
                  <a:cubicBezTo>
                    <a:pt x="444097" y="114300"/>
                    <a:pt x="417427" y="135827"/>
                    <a:pt x="410664" y="165830"/>
                  </a:cubicBezTo>
                  <a:lnTo>
                    <a:pt x="410188" y="168116"/>
                  </a:lnTo>
                  <a:lnTo>
                    <a:pt x="391710" y="266700"/>
                  </a:lnTo>
                  <a:lnTo>
                    <a:pt x="134535" y="266700"/>
                  </a:lnTo>
                  <a:lnTo>
                    <a:pt x="116057" y="168116"/>
                  </a:lnTo>
                  <a:cubicBezTo>
                    <a:pt x="110245" y="136874"/>
                    <a:pt x="82909" y="114300"/>
                    <a:pt x="51191" y="114300"/>
                  </a:cubicBezTo>
                  <a:lnTo>
                    <a:pt x="53572" y="66675"/>
                  </a:lnTo>
                  <a:cubicBezTo>
                    <a:pt x="53572" y="29813"/>
                    <a:pt x="83385" y="0"/>
                    <a:pt x="120247" y="0"/>
                  </a:cubicBezTo>
                  <a:lnTo>
                    <a:pt x="415522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2200" kern="1200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57590146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ṩliď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ṩḻïḑê">
            <a:extLst>
              <a:ext uri="{FF2B5EF4-FFF2-40B4-BE49-F238E27FC236}">
                <a16:creationId xmlns:a16="http://schemas.microsoft.com/office/drawing/2014/main" id="{2E600C19-DC34-4783-A6C3-5DC0FFDF6E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îšľíde">
            <a:extLst>
              <a:ext uri="{FF2B5EF4-FFF2-40B4-BE49-F238E27FC236}">
                <a16:creationId xmlns:a16="http://schemas.microsoft.com/office/drawing/2014/main" id="{AB3CAD8B-6E62-487A-9589-19B8D1C78E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ísľïḋè">
            <a:extLst>
              <a:ext uri="{FF2B5EF4-FFF2-40B4-BE49-F238E27FC236}">
                <a16:creationId xmlns:a16="http://schemas.microsoft.com/office/drawing/2014/main" id="{794C5DC9-B02F-4125-A112-951FBE0A5B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grpSp>
        <p:nvGrpSpPr>
          <p:cNvPr id="71" name="isľïḓê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36D13678-F4E7-4EBC-B5B6-7C502F16A921}"/>
              </a:ext>
            </a:extLst>
          </p:cNvPr>
          <p:cNvGrpSpPr>
            <a:grpSpLocks noChangeAspect="1"/>
          </p:cNvGrpSpPr>
          <p:nvPr/>
        </p:nvGrpSpPr>
        <p:grpSpPr>
          <a:xfrm>
            <a:off x="669925" y="1526482"/>
            <a:ext cx="10850563" cy="4617143"/>
            <a:chOff x="669925" y="1526482"/>
            <a:chExt cx="10850563" cy="4617143"/>
          </a:xfrm>
        </p:grpSpPr>
        <p:sp>
          <p:nvSpPr>
            <p:cNvPr id="72" name="í$lïḓé">
              <a:extLst>
                <a:ext uri="{FF2B5EF4-FFF2-40B4-BE49-F238E27FC236}">
                  <a16:creationId xmlns:a16="http://schemas.microsoft.com/office/drawing/2014/main" id="{D4CF19B5-40B3-41A0-905B-D1DBA4D83675}"/>
                </a:ext>
              </a:extLst>
            </p:cNvPr>
            <p:cNvSpPr/>
            <p:nvPr/>
          </p:nvSpPr>
          <p:spPr>
            <a:xfrm>
              <a:off x="6398975" y="1989773"/>
              <a:ext cx="5121513" cy="4153852"/>
            </a:xfrm>
            <a:custGeom>
              <a:avLst/>
              <a:gdLst>
                <a:gd name="connsiteX0" fmla="*/ 10536452 w 18269244"/>
                <a:gd name="connsiteY0" fmla="*/ 0 h 14817440"/>
                <a:gd name="connsiteX1" fmla="*/ 12313612 w 18269244"/>
                <a:gd name="connsiteY1" fmla="*/ 888174 h 14817440"/>
                <a:gd name="connsiteX2" fmla="*/ 12563364 w 18269244"/>
                <a:gd name="connsiteY2" fmla="*/ 1253404 h 14817440"/>
                <a:gd name="connsiteX3" fmla="*/ 12632468 w 18269244"/>
                <a:gd name="connsiteY3" fmla="*/ 1363551 h 14817440"/>
                <a:gd name="connsiteX4" fmla="*/ 18269244 w 18269244"/>
                <a:gd name="connsiteY4" fmla="*/ 10348462 h 14817440"/>
                <a:gd name="connsiteX5" fmla="*/ 18269244 w 18269244"/>
                <a:gd name="connsiteY5" fmla="*/ 14817440 h 14817440"/>
                <a:gd name="connsiteX6" fmla="*/ 0 w 18269244"/>
                <a:gd name="connsiteY6" fmla="*/ 14817440 h 14817440"/>
                <a:gd name="connsiteX7" fmla="*/ 8440436 w 18269244"/>
                <a:gd name="connsiteY7" fmla="*/ 1363551 h 14817440"/>
                <a:gd name="connsiteX8" fmla="*/ 8509540 w 18269244"/>
                <a:gd name="connsiteY8" fmla="*/ 1253404 h 14817440"/>
                <a:gd name="connsiteX9" fmla="*/ 8759292 w 18269244"/>
                <a:gd name="connsiteY9" fmla="*/ 888174 h 14817440"/>
                <a:gd name="connsiteX10" fmla="*/ 10536452 w 18269244"/>
                <a:gd name="connsiteY10" fmla="*/ 0 h 14817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269244" h="14817440">
                  <a:moveTo>
                    <a:pt x="10536452" y="0"/>
                  </a:moveTo>
                  <a:cubicBezTo>
                    <a:pt x="11230480" y="0"/>
                    <a:pt x="11858800" y="339415"/>
                    <a:pt x="12313612" y="888174"/>
                  </a:cubicBezTo>
                  <a:lnTo>
                    <a:pt x="12563364" y="1253404"/>
                  </a:lnTo>
                  <a:lnTo>
                    <a:pt x="12632468" y="1363551"/>
                  </a:lnTo>
                  <a:lnTo>
                    <a:pt x="18269244" y="10348462"/>
                  </a:lnTo>
                  <a:lnTo>
                    <a:pt x="18269244" y="14817440"/>
                  </a:lnTo>
                  <a:lnTo>
                    <a:pt x="0" y="14817440"/>
                  </a:lnTo>
                  <a:lnTo>
                    <a:pt x="8440436" y="1363551"/>
                  </a:lnTo>
                  <a:lnTo>
                    <a:pt x="8509540" y="1253404"/>
                  </a:lnTo>
                  <a:lnTo>
                    <a:pt x="8759292" y="888174"/>
                  </a:lnTo>
                  <a:cubicBezTo>
                    <a:pt x="9214108" y="339415"/>
                    <a:pt x="9842428" y="0"/>
                    <a:pt x="10536452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73" name="îṥḷiḓè">
              <a:extLst>
                <a:ext uri="{FF2B5EF4-FFF2-40B4-BE49-F238E27FC236}">
                  <a16:creationId xmlns:a16="http://schemas.microsoft.com/office/drawing/2014/main" id="{E8F7AE66-0A30-4F01-AC0E-AE66301584EB}"/>
                </a:ext>
              </a:extLst>
            </p:cNvPr>
            <p:cNvSpPr/>
            <p:nvPr/>
          </p:nvSpPr>
          <p:spPr>
            <a:xfrm>
              <a:off x="4634106" y="2682114"/>
              <a:ext cx="4922363" cy="3461167"/>
            </a:xfrm>
            <a:custGeom>
              <a:avLst/>
              <a:gdLst>
                <a:gd name="connsiteX0" fmla="*/ 1916723 w 3833446"/>
                <a:gd name="connsiteY0" fmla="*/ 0 h 2234041"/>
                <a:gd name="connsiteX1" fmla="*/ 2240012 w 3833446"/>
                <a:gd name="connsiteY1" fmla="*/ 133911 h 2234041"/>
                <a:gd name="connsiteX2" fmla="*/ 2285446 w 3833446"/>
                <a:gd name="connsiteY2" fmla="*/ 188977 h 2234041"/>
                <a:gd name="connsiteX3" fmla="*/ 2298017 w 3833446"/>
                <a:gd name="connsiteY3" fmla="*/ 205584 h 2234041"/>
                <a:gd name="connsiteX4" fmla="*/ 3833446 w 3833446"/>
                <a:gd name="connsiteY4" fmla="*/ 2234041 h 2234041"/>
                <a:gd name="connsiteX5" fmla="*/ 0 w 3833446"/>
                <a:gd name="connsiteY5" fmla="*/ 2234041 h 2234041"/>
                <a:gd name="connsiteX6" fmla="*/ 1535429 w 3833446"/>
                <a:gd name="connsiteY6" fmla="*/ 205584 h 2234041"/>
                <a:gd name="connsiteX7" fmla="*/ 1548000 w 3833446"/>
                <a:gd name="connsiteY7" fmla="*/ 188977 h 2234041"/>
                <a:gd name="connsiteX8" fmla="*/ 1593434 w 3833446"/>
                <a:gd name="connsiteY8" fmla="*/ 133911 h 2234041"/>
                <a:gd name="connsiteX9" fmla="*/ 1916723 w 3833446"/>
                <a:gd name="connsiteY9" fmla="*/ 0 h 2234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33446" h="2234041">
                  <a:moveTo>
                    <a:pt x="1916723" y="0"/>
                  </a:moveTo>
                  <a:cubicBezTo>
                    <a:pt x="2042976" y="0"/>
                    <a:pt x="2157276" y="51174"/>
                    <a:pt x="2240012" y="133911"/>
                  </a:cubicBezTo>
                  <a:lnTo>
                    <a:pt x="2285446" y="188977"/>
                  </a:lnTo>
                  <a:lnTo>
                    <a:pt x="2298017" y="205584"/>
                  </a:lnTo>
                  <a:lnTo>
                    <a:pt x="3833446" y="2234041"/>
                  </a:lnTo>
                  <a:lnTo>
                    <a:pt x="0" y="2234041"/>
                  </a:lnTo>
                  <a:lnTo>
                    <a:pt x="1535429" y="205584"/>
                  </a:lnTo>
                  <a:lnTo>
                    <a:pt x="1548000" y="188977"/>
                  </a:lnTo>
                  <a:lnTo>
                    <a:pt x="1593434" y="133911"/>
                  </a:lnTo>
                  <a:cubicBezTo>
                    <a:pt x="1676171" y="51174"/>
                    <a:pt x="1790471" y="0"/>
                    <a:pt x="191672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74" name="íṣ1îḋê">
              <a:extLst>
                <a:ext uri="{FF2B5EF4-FFF2-40B4-BE49-F238E27FC236}">
                  <a16:creationId xmlns:a16="http://schemas.microsoft.com/office/drawing/2014/main" id="{653AE535-4EC9-4B9E-8F82-4E2E4916257B}"/>
                </a:ext>
              </a:extLst>
            </p:cNvPr>
            <p:cNvSpPr/>
            <p:nvPr/>
          </p:nvSpPr>
          <p:spPr>
            <a:xfrm>
              <a:off x="2975429" y="3255966"/>
              <a:ext cx="4106248" cy="2887315"/>
            </a:xfrm>
            <a:custGeom>
              <a:avLst/>
              <a:gdLst>
                <a:gd name="connsiteX0" fmla="*/ 1916723 w 3833446"/>
                <a:gd name="connsiteY0" fmla="*/ 0 h 2234041"/>
                <a:gd name="connsiteX1" fmla="*/ 2240012 w 3833446"/>
                <a:gd name="connsiteY1" fmla="*/ 133911 h 2234041"/>
                <a:gd name="connsiteX2" fmla="*/ 2285446 w 3833446"/>
                <a:gd name="connsiteY2" fmla="*/ 188977 h 2234041"/>
                <a:gd name="connsiteX3" fmla="*/ 2298017 w 3833446"/>
                <a:gd name="connsiteY3" fmla="*/ 205584 h 2234041"/>
                <a:gd name="connsiteX4" fmla="*/ 3833446 w 3833446"/>
                <a:gd name="connsiteY4" fmla="*/ 2234041 h 2234041"/>
                <a:gd name="connsiteX5" fmla="*/ 0 w 3833446"/>
                <a:gd name="connsiteY5" fmla="*/ 2234041 h 2234041"/>
                <a:gd name="connsiteX6" fmla="*/ 1535429 w 3833446"/>
                <a:gd name="connsiteY6" fmla="*/ 205584 h 2234041"/>
                <a:gd name="connsiteX7" fmla="*/ 1548000 w 3833446"/>
                <a:gd name="connsiteY7" fmla="*/ 188977 h 2234041"/>
                <a:gd name="connsiteX8" fmla="*/ 1593434 w 3833446"/>
                <a:gd name="connsiteY8" fmla="*/ 133911 h 2234041"/>
                <a:gd name="connsiteX9" fmla="*/ 1916723 w 3833446"/>
                <a:gd name="connsiteY9" fmla="*/ 0 h 2234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33446" h="2234041">
                  <a:moveTo>
                    <a:pt x="1916723" y="0"/>
                  </a:moveTo>
                  <a:cubicBezTo>
                    <a:pt x="2042976" y="0"/>
                    <a:pt x="2157276" y="51174"/>
                    <a:pt x="2240012" y="133911"/>
                  </a:cubicBezTo>
                  <a:lnTo>
                    <a:pt x="2285446" y="188977"/>
                  </a:lnTo>
                  <a:lnTo>
                    <a:pt x="2298017" y="205584"/>
                  </a:lnTo>
                  <a:lnTo>
                    <a:pt x="3833446" y="2234041"/>
                  </a:lnTo>
                  <a:lnTo>
                    <a:pt x="0" y="2234041"/>
                  </a:lnTo>
                  <a:lnTo>
                    <a:pt x="1535429" y="205584"/>
                  </a:lnTo>
                  <a:lnTo>
                    <a:pt x="1548000" y="188977"/>
                  </a:lnTo>
                  <a:lnTo>
                    <a:pt x="1593434" y="133911"/>
                  </a:lnTo>
                  <a:cubicBezTo>
                    <a:pt x="1676171" y="51174"/>
                    <a:pt x="1790471" y="0"/>
                    <a:pt x="1916723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grpSp>
          <p:nvGrpSpPr>
            <p:cNvPr id="75" name="îṧlíḓe">
              <a:extLst>
                <a:ext uri="{FF2B5EF4-FFF2-40B4-BE49-F238E27FC236}">
                  <a16:creationId xmlns:a16="http://schemas.microsoft.com/office/drawing/2014/main" id="{1CEC2232-4D6D-4974-872A-B3F8063FEAE3}"/>
                </a:ext>
              </a:extLst>
            </p:cNvPr>
            <p:cNvGrpSpPr/>
            <p:nvPr/>
          </p:nvGrpSpPr>
          <p:grpSpPr>
            <a:xfrm>
              <a:off x="669925" y="1526482"/>
              <a:ext cx="3477025" cy="1773518"/>
              <a:chOff x="669925" y="2096444"/>
              <a:chExt cx="3864753" cy="1773518"/>
            </a:xfrm>
          </p:grpSpPr>
          <p:sp>
            <p:nvSpPr>
              <p:cNvPr id="91" name="íšlïdê">
                <a:extLst>
                  <a:ext uri="{FF2B5EF4-FFF2-40B4-BE49-F238E27FC236}">
                    <a16:creationId xmlns:a16="http://schemas.microsoft.com/office/drawing/2014/main" id="{0C8A4FF1-188C-4911-B98A-E9F37FD6258B}"/>
                  </a:ext>
                </a:extLst>
              </p:cNvPr>
              <p:cNvSpPr/>
              <p:nvPr/>
            </p:nvSpPr>
            <p:spPr>
              <a:xfrm>
                <a:off x="669925" y="2538249"/>
                <a:ext cx="3864753" cy="133171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Unified fonts make reading more fluent.</a:t>
                </a:r>
              </a:p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Theme color makes PPT more convenient to change.</a:t>
                </a:r>
              </a:p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Adjust the spacing to adapt to Chinese typesetting, use the reference line in PPT.</a:t>
                </a:r>
              </a:p>
            </p:txBody>
          </p:sp>
          <p:sp>
            <p:nvSpPr>
              <p:cNvPr id="92" name="íṣļiḑè">
                <a:extLst>
                  <a:ext uri="{FF2B5EF4-FFF2-40B4-BE49-F238E27FC236}">
                    <a16:creationId xmlns:a16="http://schemas.microsoft.com/office/drawing/2014/main" id="{49AD638F-46F5-46FB-880B-A304C1BAD205}"/>
                  </a:ext>
                </a:extLst>
              </p:cNvPr>
              <p:cNvSpPr txBox="1"/>
              <p:nvPr/>
            </p:nvSpPr>
            <p:spPr bwMode="auto">
              <a:xfrm>
                <a:off x="669925" y="2096444"/>
                <a:ext cx="3864753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76" name="îŝ1ïḑé">
              <a:extLst>
                <a:ext uri="{FF2B5EF4-FFF2-40B4-BE49-F238E27FC236}">
                  <a16:creationId xmlns:a16="http://schemas.microsoft.com/office/drawing/2014/main" id="{6C19F2B6-10BD-47E0-99F4-98D90255EC5E}"/>
                </a:ext>
              </a:extLst>
            </p:cNvPr>
            <p:cNvGrpSpPr/>
            <p:nvPr/>
          </p:nvGrpSpPr>
          <p:grpSpPr>
            <a:xfrm>
              <a:off x="3977901" y="4768145"/>
              <a:ext cx="2101305" cy="1111889"/>
              <a:chOff x="673100" y="1237334"/>
              <a:chExt cx="3228944" cy="1111889"/>
            </a:xfrm>
          </p:grpSpPr>
          <p:sp>
            <p:nvSpPr>
              <p:cNvPr id="89" name="îṡľiḍé">
                <a:extLst>
                  <a:ext uri="{FF2B5EF4-FFF2-40B4-BE49-F238E27FC236}">
                    <a16:creationId xmlns:a16="http://schemas.microsoft.com/office/drawing/2014/main" id="{30893A27-4A4D-49EA-9724-8D8D4C363533}"/>
                  </a:ext>
                </a:extLst>
              </p:cNvPr>
              <p:cNvSpPr/>
              <p:nvPr/>
            </p:nvSpPr>
            <p:spPr bwMode="auto">
              <a:xfrm>
                <a:off x="673100" y="1624932"/>
                <a:ext cx="3228944" cy="7242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90" name="íṡḻíḋe">
                <a:extLst>
                  <a:ext uri="{FF2B5EF4-FFF2-40B4-BE49-F238E27FC236}">
                    <a16:creationId xmlns:a16="http://schemas.microsoft.com/office/drawing/2014/main" id="{592EAF4B-2EC0-42B3-85BB-123EEB35B776}"/>
                  </a:ext>
                </a:extLst>
              </p:cNvPr>
              <p:cNvSpPr txBox="1"/>
              <p:nvPr/>
            </p:nvSpPr>
            <p:spPr bwMode="auto">
              <a:xfrm>
                <a:off x="673100" y="1237334"/>
                <a:ext cx="3228944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77" name="îSľïḍê">
              <a:extLst>
                <a:ext uri="{FF2B5EF4-FFF2-40B4-BE49-F238E27FC236}">
                  <a16:creationId xmlns:a16="http://schemas.microsoft.com/office/drawing/2014/main" id="{4205411C-504C-4D53-8775-2B1941FE7F5C}"/>
                </a:ext>
              </a:extLst>
            </p:cNvPr>
            <p:cNvGrpSpPr/>
            <p:nvPr/>
          </p:nvGrpSpPr>
          <p:grpSpPr>
            <a:xfrm>
              <a:off x="6044635" y="4018402"/>
              <a:ext cx="2101305" cy="1111889"/>
              <a:chOff x="673100" y="1237334"/>
              <a:chExt cx="3228944" cy="1111889"/>
            </a:xfrm>
          </p:grpSpPr>
          <p:sp>
            <p:nvSpPr>
              <p:cNvPr id="87" name="íşľïḑe">
                <a:extLst>
                  <a:ext uri="{FF2B5EF4-FFF2-40B4-BE49-F238E27FC236}">
                    <a16:creationId xmlns:a16="http://schemas.microsoft.com/office/drawing/2014/main" id="{3E28379A-485D-4E42-AE06-1E7D9DC3FB27}"/>
                  </a:ext>
                </a:extLst>
              </p:cNvPr>
              <p:cNvSpPr/>
              <p:nvPr/>
            </p:nvSpPr>
            <p:spPr bwMode="auto">
              <a:xfrm>
                <a:off x="673100" y="1624932"/>
                <a:ext cx="3228944" cy="7242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n-US" altLang="zh-CN" sz="1100" dirty="0">
                    <a:solidFill>
                      <a:schemeClr val="bg1"/>
                    </a:solidFill>
                  </a:rPr>
                  <a:t>Copy paste fonts. Choose the only option to retain text.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100" dirty="0">
                    <a:solidFill>
                      <a:schemeClr val="bg1"/>
                    </a:solidFill>
                  </a:rPr>
                  <a:t>……</a:t>
                </a:r>
              </a:p>
            </p:txBody>
          </p:sp>
          <p:sp>
            <p:nvSpPr>
              <p:cNvPr id="88" name="îṡḻïdé">
                <a:extLst>
                  <a:ext uri="{FF2B5EF4-FFF2-40B4-BE49-F238E27FC236}">
                    <a16:creationId xmlns:a16="http://schemas.microsoft.com/office/drawing/2014/main" id="{952D07C3-4755-4509-B532-3BA2F6D3DD55}"/>
                  </a:ext>
                </a:extLst>
              </p:cNvPr>
              <p:cNvSpPr txBox="1"/>
              <p:nvPr/>
            </p:nvSpPr>
            <p:spPr bwMode="auto">
              <a:xfrm>
                <a:off x="673100" y="1237334"/>
                <a:ext cx="3228944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>
                    <a:solidFill>
                      <a:schemeClr val="bg1"/>
                    </a:solidFill>
                  </a:rPr>
                  <a:t>Text here</a:t>
                </a:r>
              </a:p>
            </p:txBody>
          </p:sp>
        </p:grpSp>
        <p:grpSp>
          <p:nvGrpSpPr>
            <p:cNvPr id="78" name="ïṧlîḓè">
              <a:extLst>
                <a:ext uri="{FF2B5EF4-FFF2-40B4-BE49-F238E27FC236}">
                  <a16:creationId xmlns:a16="http://schemas.microsoft.com/office/drawing/2014/main" id="{7F79E123-0716-48C0-B96B-D31EBA1D2BEA}"/>
                </a:ext>
              </a:extLst>
            </p:cNvPr>
            <p:cNvGrpSpPr/>
            <p:nvPr/>
          </p:nvGrpSpPr>
          <p:grpSpPr>
            <a:xfrm>
              <a:off x="8343097" y="3100311"/>
              <a:ext cx="2101305" cy="1111889"/>
              <a:chOff x="673100" y="1237334"/>
              <a:chExt cx="3228944" cy="1111889"/>
            </a:xfrm>
          </p:grpSpPr>
          <p:sp>
            <p:nvSpPr>
              <p:cNvPr id="85" name="ïṡľîḍê">
                <a:extLst>
                  <a:ext uri="{FF2B5EF4-FFF2-40B4-BE49-F238E27FC236}">
                    <a16:creationId xmlns:a16="http://schemas.microsoft.com/office/drawing/2014/main" id="{94C327DC-CAF9-4368-8B2D-EA7409B7C867}"/>
                  </a:ext>
                </a:extLst>
              </p:cNvPr>
              <p:cNvSpPr/>
              <p:nvPr/>
            </p:nvSpPr>
            <p:spPr bwMode="auto">
              <a:xfrm>
                <a:off x="673100" y="1624932"/>
                <a:ext cx="3228944" cy="7242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86" name="ïSľîḍé">
                <a:extLst>
                  <a:ext uri="{FF2B5EF4-FFF2-40B4-BE49-F238E27FC236}">
                    <a16:creationId xmlns:a16="http://schemas.microsoft.com/office/drawing/2014/main" id="{55658D52-DE4E-4977-A4B4-CABE8C81E72F}"/>
                  </a:ext>
                </a:extLst>
              </p:cNvPr>
              <p:cNvSpPr txBox="1"/>
              <p:nvPr/>
            </p:nvSpPr>
            <p:spPr bwMode="auto">
              <a:xfrm>
                <a:off x="673100" y="1237334"/>
                <a:ext cx="3228944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sp>
          <p:nvSpPr>
            <p:cNvPr id="79" name="ïṣlíḍé">
              <a:extLst>
                <a:ext uri="{FF2B5EF4-FFF2-40B4-BE49-F238E27FC236}">
                  <a16:creationId xmlns:a16="http://schemas.microsoft.com/office/drawing/2014/main" id="{0432534B-65EA-485B-9046-2CD09CC075DA}"/>
                </a:ext>
              </a:extLst>
            </p:cNvPr>
            <p:cNvSpPr/>
            <p:nvPr/>
          </p:nvSpPr>
          <p:spPr bwMode="auto">
            <a:xfrm flipH="1">
              <a:off x="4843356" y="3951365"/>
              <a:ext cx="370392" cy="500030"/>
            </a:xfrm>
            <a:custGeom>
              <a:avLst/>
              <a:gdLst>
                <a:gd name="connsiteX0" fmla="*/ 85725 w 381000"/>
                <a:gd name="connsiteY0" fmla="*/ 38100 h 514350"/>
                <a:gd name="connsiteX1" fmla="*/ 85725 w 381000"/>
                <a:gd name="connsiteY1" fmla="*/ 57150 h 514350"/>
                <a:gd name="connsiteX2" fmla="*/ 121920 w 381000"/>
                <a:gd name="connsiteY2" fmla="*/ 95250 h 514350"/>
                <a:gd name="connsiteX3" fmla="*/ 123825 w 381000"/>
                <a:gd name="connsiteY3" fmla="*/ 95250 h 514350"/>
                <a:gd name="connsiteX4" fmla="*/ 257175 w 381000"/>
                <a:gd name="connsiteY4" fmla="*/ 95250 h 514350"/>
                <a:gd name="connsiteX5" fmla="*/ 295275 w 381000"/>
                <a:gd name="connsiteY5" fmla="*/ 59055 h 514350"/>
                <a:gd name="connsiteX6" fmla="*/ 295275 w 381000"/>
                <a:gd name="connsiteY6" fmla="*/ 57150 h 514350"/>
                <a:gd name="connsiteX7" fmla="*/ 295275 w 381000"/>
                <a:gd name="connsiteY7" fmla="*/ 38100 h 514350"/>
                <a:gd name="connsiteX8" fmla="*/ 352425 w 381000"/>
                <a:gd name="connsiteY8" fmla="*/ 38100 h 514350"/>
                <a:gd name="connsiteX9" fmla="*/ 381000 w 381000"/>
                <a:gd name="connsiteY9" fmla="*/ 66675 h 514350"/>
                <a:gd name="connsiteX10" fmla="*/ 381000 w 381000"/>
                <a:gd name="connsiteY10" fmla="*/ 485775 h 514350"/>
                <a:gd name="connsiteX11" fmla="*/ 352425 w 381000"/>
                <a:gd name="connsiteY11" fmla="*/ 514350 h 514350"/>
                <a:gd name="connsiteX12" fmla="*/ 28575 w 381000"/>
                <a:gd name="connsiteY12" fmla="*/ 514350 h 514350"/>
                <a:gd name="connsiteX13" fmla="*/ 0 w 381000"/>
                <a:gd name="connsiteY13" fmla="*/ 485775 h 514350"/>
                <a:gd name="connsiteX14" fmla="*/ 0 w 381000"/>
                <a:gd name="connsiteY14" fmla="*/ 66675 h 514350"/>
                <a:gd name="connsiteX15" fmla="*/ 28575 w 381000"/>
                <a:gd name="connsiteY15" fmla="*/ 38100 h 514350"/>
                <a:gd name="connsiteX16" fmla="*/ 85725 w 381000"/>
                <a:gd name="connsiteY16" fmla="*/ 38100 h 514350"/>
                <a:gd name="connsiteX17" fmla="*/ 190500 w 381000"/>
                <a:gd name="connsiteY17" fmla="*/ 333375 h 514350"/>
                <a:gd name="connsiteX18" fmla="*/ 76200 w 381000"/>
                <a:gd name="connsiteY18" fmla="*/ 333375 h 514350"/>
                <a:gd name="connsiteX19" fmla="*/ 76200 w 381000"/>
                <a:gd name="connsiteY19" fmla="*/ 352425 h 514350"/>
                <a:gd name="connsiteX20" fmla="*/ 190500 w 381000"/>
                <a:gd name="connsiteY20" fmla="*/ 352425 h 514350"/>
                <a:gd name="connsiteX21" fmla="*/ 190500 w 381000"/>
                <a:gd name="connsiteY21" fmla="*/ 333375 h 514350"/>
                <a:gd name="connsiteX22" fmla="*/ 304800 w 381000"/>
                <a:gd name="connsiteY22" fmla="*/ 257175 h 514350"/>
                <a:gd name="connsiteX23" fmla="*/ 76200 w 381000"/>
                <a:gd name="connsiteY23" fmla="*/ 257175 h 514350"/>
                <a:gd name="connsiteX24" fmla="*/ 76200 w 381000"/>
                <a:gd name="connsiteY24" fmla="*/ 276225 h 514350"/>
                <a:gd name="connsiteX25" fmla="*/ 304800 w 381000"/>
                <a:gd name="connsiteY25" fmla="*/ 276225 h 514350"/>
                <a:gd name="connsiteX26" fmla="*/ 304800 w 381000"/>
                <a:gd name="connsiteY26" fmla="*/ 257175 h 514350"/>
                <a:gd name="connsiteX27" fmla="*/ 304800 w 381000"/>
                <a:gd name="connsiteY27" fmla="*/ 180975 h 514350"/>
                <a:gd name="connsiteX28" fmla="*/ 76200 w 381000"/>
                <a:gd name="connsiteY28" fmla="*/ 180975 h 514350"/>
                <a:gd name="connsiteX29" fmla="*/ 76200 w 381000"/>
                <a:gd name="connsiteY29" fmla="*/ 200025 h 514350"/>
                <a:gd name="connsiteX30" fmla="*/ 304800 w 381000"/>
                <a:gd name="connsiteY30" fmla="*/ 200025 h 514350"/>
                <a:gd name="connsiteX31" fmla="*/ 304800 w 381000"/>
                <a:gd name="connsiteY31" fmla="*/ 180975 h 514350"/>
                <a:gd name="connsiteX32" fmla="*/ 247650 w 381000"/>
                <a:gd name="connsiteY32" fmla="*/ 0 h 514350"/>
                <a:gd name="connsiteX33" fmla="*/ 276225 w 381000"/>
                <a:gd name="connsiteY33" fmla="*/ 28575 h 514350"/>
                <a:gd name="connsiteX34" fmla="*/ 276225 w 381000"/>
                <a:gd name="connsiteY34" fmla="*/ 47625 h 514350"/>
                <a:gd name="connsiteX35" fmla="*/ 247650 w 381000"/>
                <a:gd name="connsiteY35" fmla="*/ 76200 h 514350"/>
                <a:gd name="connsiteX36" fmla="*/ 133350 w 381000"/>
                <a:gd name="connsiteY36" fmla="*/ 76200 h 514350"/>
                <a:gd name="connsiteX37" fmla="*/ 104775 w 381000"/>
                <a:gd name="connsiteY37" fmla="*/ 47625 h 514350"/>
                <a:gd name="connsiteX38" fmla="*/ 104775 w 381000"/>
                <a:gd name="connsiteY38" fmla="*/ 28575 h 514350"/>
                <a:gd name="connsiteX39" fmla="*/ 133350 w 381000"/>
                <a:gd name="connsiteY39" fmla="*/ 0 h 514350"/>
                <a:gd name="connsiteX40" fmla="*/ 247650 w 381000"/>
                <a:gd name="connsiteY40" fmla="*/ 0 h 514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81000" h="514350">
                  <a:moveTo>
                    <a:pt x="85725" y="38100"/>
                  </a:moveTo>
                  <a:lnTo>
                    <a:pt x="85725" y="57150"/>
                  </a:lnTo>
                  <a:cubicBezTo>
                    <a:pt x="85725" y="77534"/>
                    <a:pt x="101727" y="94202"/>
                    <a:pt x="121920" y="95250"/>
                  </a:cubicBezTo>
                  <a:lnTo>
                    <a:pt x="123825" y="95250"/>
                  </a:lnTo>
                  <a:lnTo>
                    <a:pt x="257175" y="95250"/>
                  </a:lnTo>
                  <a:cubicBezTo>
                    <a:pt x="277559" y="95250"/>
                    <a:pt x="294227" y="79248"/>
                    <a:pt x="295275" y="59055"/>
                  </a:cubicBezTo>
                  <a:lnTo>
                    <a:pt x="295275" y="57150"/>
                  </a:lnTo>
                  <a:lnTo>
                    <a:pt x="295275" y="38100"/>
                  </a:lnTo>
                  <a:lnTo>
                    <a:pt x="352425" y="38100"/>
                  </a:lnTo>
                  <a:cubicBezTo>
                    <a:pt x="368236" y="38100"/>
                    <a:pt x="381000" y="50864"/>
                    <a:pt x="381000" y="66675"/>
                  </a:cubicBezTo>
                  <a:lnTo>
                    <a:pt x="381000" y="485775"/>
                  </a:lnTo>
                  <a:cubicBezTo>
                    <a:pt x="381000" y="501587"/>
                    <a:pt x="368236" y="514350"/>
                    <a:pt x="352425" y="514350"/>
                  </a:cubicBezTo>
                  <a:lnTo>
                    <a:pt x="28575" y="514350"/>
                  </a:lnTo>
                  <a:cubicBezTo>
                    <a:pt x="12764" y="514350"/>
                    <a:pt x="0" y="501587"/>
                    <a:pt x="0" y="485775"/>
                  </a:cubicBezTo>
                  <a:lnTo>
                    <a:pt x="0" y="66675"/>
                  </a:lnTo>
                  <a:cubicBezTo>
                    <a:pt x="0" y="50864"/>
                    <a:pt x="12764" y="38100"/>
                    <a:pt x="28575" y="38100"/>
                  </a:cubicBezTo>
                  <a:lnTo>
                    <a:pt x="85725" y="38100"/>
                  </a:lnTo>
                  <a:close/>
                  <a:moveTo>
                    <a:pt x="190500" y="333375"/>
                  </a:moveTo>
                  <a:lnTo>
                    <a:pt x="76200" y="333375"/>
                  </a:lnTo>
                  <a:lnTo>
                    <a:pt x="76200" y="352425"/>
                  </a:lnTo>
                  <a:lnTo>
                    <a:pt x="190500" y="352425"/>
                  </a:lnTo>
                  <a:lnTo>
                    <a:pt x="190500" y="333375"/>
                  </a:lnTo>
                  <a:close/>
                  <a:moveTo>
                    <a:pt x="304800" y="257175"/>
                  </a:moveTo>
                  <a:lnTo>
                    <a:pt x="76200" y="257175"/>
                  </a:lnTo>
                  <a:lnTo>
                    <a:pt x="76200" y="276225"/>
                  </a:lnTo>
                  <a:lnTo>
                    <a:pt x="304800" y="276225"/>
                  </a:lnTo>
                  <a:lnTo>
                    <a:pt x="304800" y="257175"/>
                  </a:lnTo>
                  <a:close/>
                  <a:moveTo>
                    <a:pt x="304800" y="180975"/>
                  </a:moveTo>
                  <a:lnTo>
                    <a:pt x="76200" y="180975"/>
                  </a:lnTo>
                  <a:lnTo>
                    <a:pt x="76200" y="200025"/>
                  </a:lnTo>
                  <a:lnTo>
                    <a:pt x="304800" y="200025"/>
                  </a:lnTo>
                  <a:lnTo>
                    <a:pt x="304800" y="180975"/>
                  </a:lnTo>
                  <a:close/>
                  <a:moveTo>
                    <a:pt x="247650" y="0"/>
                  </a:moveTo>
                  <a:cubicBezTo>
                    <a:pt x="263461" y="0"/>
                    <a:pt x="276225" y="12763"/>
                    <a:pt x="276225" y="28575"/>
                  </a:cubicBezTo>
                  <a:lnTo>
                    <a:pt x="276225" y="47625"/>
                  </a:lnTo>
                  <a:cubicBezTo>
                    <a:pt x="276225" y="63437"/>
                    <a:pt x="263461" y="76200"/>
                    <a:pt x="247650" y="76200"/>
                  </a:cubicBezTo>
                  <a:lnTo>
                    <a:pt x="133350" y="76200"/>
                  </a:lnTo>
                  <a:cubicBezTo>
                    <a:pt x="117539" y="76200"/>
                    <a:pt x="104775" y="63437"/>
                    <a:pt x="104775" y="47625"/>
                  </a:cubicBezTo>
                  <a:lnTo>
                    <a:pt x="104775" y="28575"/>
                  </a:lnTo>
                  <a:cubicBezTo>
                    <a:pt x="104775" y="12763"/>
                    <a:pt x="117539" y="0"/>
                    <a:pt x="133350" y="0"/>
                  </a:cubicBezTo>
                  <a:lnTo>
                    <a:pt x="247650" y="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80" name="iṧḷíḍe">
              <a:extLst>
                <a:ext uri="{FF2B5EF4-FFF2-40B4-BE49-F238E27FC236}">
                  <a16:creationId xmlns:a16="http://schemas.microsoft.com/office/drawing/2014/main" id="{6012C7C2-21FA-4956-8B4E-F0963EFE7C0F}"/>
                </a:ext>
              </a:extLst>
            </p:cNvPr>
            <p:cNvSpPr/>
            <p:nvPr/>
          </p:nvSpPr>
          <p:spPr bwMode="auto">
            <a:xfrm flipH="1">
              <a:off x="9160960" y="2380750"/>
              <a:ext cx="465578" cy="387600"/>
            </a:xfrm>
            <a:custGeom>
              <a:avLst/>
              <a:gdLst>
                <a:gd name="connsiteX0" fmla="*/ 482197 w 526297"/>
                <a:gd name="connsiteY0" fmla="*/ 133350 h 438150"/>
                <a:gd name="connsiteX1" fmla="*/ 526298 w 526297"/>
                <a:gd name="connsiteY1" fmla="*/ 177451 h 438150"/>
                <a:gd name="connsiteX2" fmla="*/ 526203 w 526297"/>
                <a:gd name="connsiteY2" fmla="*/ 180880 h 438150"/>
                <a:gd name="connsiteX3" fmla="*/ 512867 w 526297"/>
                <a:gd name="connsiteY3" fmla="*/ 354616 h 438150"/>
                <a:gd name="connsiteX4" fmla="*/ 484388 w 526297"/>
                <a:gd name="connsiteY4" fmla="*/ 381000 h 438150"/>
                <a:gd name="connsiteX5" fmla="*/ 453622 w 526297"/>
                <a:gd name="connsiteY5" fmla="*/ 381000 h 438150"/>
                <a:gd name="connsiteX6" fmla="*/ 453622 w 526297"/>
                <a:gd name="connsiteY6" fmla="*/ 438150 h 438150"/>
                <a:gd name="connsiteX7" fmla="*/ 434572 w 526297"/>
                <a:gd name="connsiteY7" fmla="*/ 438150 h 438150"/>
                <a:gd name="connsiteX8" fmla="*/ 434572 w 526297"/>
                <a:gd name="connsiteY8" fmla="*/ 381000 h 438150"/>
                <a:gd name="connsiteX9" fmla="*/ 91672 w 526297"/>
                <a:gd name="connsiteY9" fmla="*/ 381000 h 438150"/>
                <a:gd name="connsiteX10" fmla="*/ 91672 w 526297"/>
                <a:gd name="connsiteY10" fmla="*/ 438150 h 438150"/>
                <a:gd name="connsiteX11" fmla="*/ 72622 w 526297"/>
                <a:gd name="connsiteY11" fmla="*/ 438150 h 438150"/>
                <a:gd name="connsiteX12" fmla="*/ 72622 w 526297"/>
                <a:gd name="connsiteY12" fmla="*/ 381000 h 438150"/>
                <a:gd name="connsiteX13" fmla="*/ 41952 w 526297"/>
                <a:gd name="connsiteY13" fmla="*/ 381000 h 438150"/>
                <a:gd name="connsiteX14" fmla="*/ 13472 w 526297"/>
                <a:gd name="connsiteY14" fmla="*/ 354616 h 438150"/>
                <a:gd name="connsiteX15" fmla="*/ 137 w 526297"/>
                <a:gd name="connsiteY15" fmla="*/ 180880 h 438150"/>
                <a:gd name="connsiteX16" fmla="*/ 40714 w 526297"/>
                <a:gd name="connsiteY16" fmla="*/ 133541 h 438150"/>
                <a:gd name="connsiteX17" fmla="*/ 44142 w 526297"/>
                <a:gd name="connsiteY17" fmla="*/ 133445 h 438150"/>
                <a:gd name="connsiteX18" fmla="*/ 100531 w 526297"/>
                <a:gd name="connsiteY18" fmla="*/ 180213 h 438150"/>
                <a:gd name="connsiteX19" fmla="*/ 120247 w 526297"/>
                <a:gd name="connsiteY19" fmla="*/ 285750 h 438150"/>
                <a:gd name="connsiteX20" fmla="*/ 405997 w 526297"/>
                <a:gd name="connsiteY20" fmla="*/ 285750 h 438150"/>
                <a:gd name="connsiteX21" fmla="*/ 425809 w 526297"/>
                <a:gd name="connsiteY21" fmla="*/ 180118 h 438150"/>
                <a:gd name="connsiteX22" fmla="*/ 482197 w 526297"/>
                <a:gd name="connsiteY22" fmla="*/ 133350 h 438150"/>
                <a:gd name="connsiteX23" fmla="*/ 415522 w 526297"/>
                <a:gd name="connsiteY23" fmla="*/ 0 h 438150"/>
                <a:gd name="connsiteX24" fmla="*/ 482197 w 526297"/>
                <a:gd name="connsiteY24" fmla="*/ 66675 h 438150"/>
                <a:gd name="connsiteX25" fmla="*/ 482197 w 526297"/>
                <a:gd name="connsiteY25" fmla="*/ 114776 h 438150"/>
                <a:gd name="connsiteX26" fmla="*/ 475053 w 526297"/>
                <a:gd name="connsiteY26" fmla="*/ 114300 h 438150"/>
                <a:gd name="connsiteX27" fmla="*/ 410664 w 526297"/>
                <a:gd name="connsiteY27" fmla="*/ 165830 h 438150"/>
                <a:gd name="connsiteX28" fmla="*/ 410188 w 526297"/>
                <a:gd name="connsiteY28" fmla="*/ 168116 h 438150"/>
                <a:gd name="connsiteX29" fmla="*/ 391710 w 526297"/>
                <a:gd name="connsiteY29" fmla="*/ 266700 h 438150"/>
                <a:gd name="connsiteX30" fmla="*/ 134535 w 526297"/>
                <a:gd name="connsiteY30" fmla="*/ 266700 h 438150"/>
                <a:gd name="connsiteX31" fmla="*/ 116057 w 526297"/>
                <a:gd name="connsiteY31" fmla="*/ 168116 h 438150"/>
                <a:gd name="connsiteX32" fmla="*/ 51191 w 526297"/>
                <a:gd name="connsiteY32" fmla="*/ 114300 h 438150"/>
                <a:gd name="connsiteX33" fmla="*/ 53572 w 526297"/>
                <a:gd name="connsiteY33" fmla="*/ 66675 h 438150"/>
                <a:gd name="connsiteX34" fmla="*/ 120247 w 526297"/>
                <a:gd name="connsiteY34" fmla="*/ 0 h 438150"/>
                <a:gd name="connsiteX35" fmla="*/ 415522 w 526297"/>
                <a:gd name="connsiteY35" fmla="*/ 0 h 438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26297" h="438150">
                  <a:moveTo>
                    <a:pt x="482197" y="133350"/>
                  </a:moveTo>
                  <a:cubicBezTo>
                    <a:pt x="506582" y="133350"/>
                    <a:pt x="526298" y="153067"/>
                    <a:pt x="526298" y="177451"/>
                  </a:cubicBezTo>
                  <a:cubicBezTo>
                    <a:pt x="526298" y="178594"/>
                    <a:pt x="526298" y="179737"/>
                    <a:pt x="526203" y="180880"/>
                  </a:cubicBezTo>
                  <a:lnTo>
                    <a:pt x="512867" y="354616"/>
                  </a:lnTo>
                  <a:cubicBezTo>
                    <a:pt x="511724" y="369475"/>
                    <a:pt x="499343" y="381000"/>
                    <a:pt x="484388" y="381000"/>
                  </a:cubicBezTo>
                  <a:lnTo>
                    <a:pt x="453622" y="381000"/>
                  </a:lnTo>
                  <a:lnTo>
                    <a:pt x="453622" y="438150"/>
                  </a:lnTo>
                  <a:lnTo>
                    <a:pt x="434572" y="438150"/>
                  </a:lnTo>
                  <a:lnTo>
                    <a:pt x="434572" y="381000"/>
                  </a:lnTo>
                  <a:lnTo>
                    <a:pt x="91672" y="381000"/>
                  </a:lnTo>
                  <a:lnTo>
                    <a:pt x="91672" y="438150"/>
                  </a:lnTo>
                  <a:lnTo>
                    <a:pt x="72622" y="438150"/>
                  </a:lnTo>
                  <a:lnTo>
                    <a:pt x="72622" y="381000"/>
                  </a:lnTo>
                  <a:lnTo>
                    <a:pt x="41952" y="381000"/>
                  </a:lnTo>
                  <a:cubicBezTo>
                    <a:pt x="26998" y="381000"/>
                    <a:pt x="14615" y="369475"/>
                    <a:pt x="13472" y="354616"/>
                  </a:cubicBezTo>
                  <a:lnTo>
                    <a:pt x="137" y="180880"/>
                  </a:lnTo>
                  <a:cubicBezTo>
                    <a:pt x="-1768" y="156591"/>
                    <a:pt x="16424" y="135350"/>
                    <a:pt x="40714" y="133541"/>
                  </a:cubicBezTo>
                  <a:cubicBezTo>
                    <a:pt x="41857" y="133445"/>
                    <a:pt x="42999" y="133445"/>
                    <a:pt x="44142" y="133445"/>
                  </a:cubicBezTo>
                  <a:cubicBezTo>
                    <a:pt x="71765" y="133445"/>
                    <a:pt x="95482" y="153067"/>
                    <a:pt x="100531" y="180213"/>
                  </a:cubicBezTo>
                  <a:lnTo>
                    <a:pt x="120247" y="285750"/>
                  </a:lnTo>
                  <a:lnTo>
                    <a:pt x="405997" y="285750"/>
                  </a:lnTo>
                  <a:lnTo>
                    <a:pt x="425809" y="180118"/>
                  </a:lnTo>
                  <a:cubicBezTo>
                    <a:pt x="430857" y="152972"/>
                    <a:pt x="454574" y="133350"/>
                    <a:pt x="482197" y="133350"/>
                  </a:cubicBezTo>
                  <a:close/>
                  <a:moveTo>
                    <a:pt x="415522" y="0"/>
                  </a:moveTo>
                  <a:cubicBezTo>
                    <a:pt x="452384" y="0"/>
                    <a:pt x="482197" y="29813"/>
                    <a:pt x="482197" y="66675"/>
                  </a:cubicBezTo>
                  <a:lnTo>
                    <a:pt x="482197" y="114776"/>
                  </a:lnTo>
                  <a:cubicBezTo>
                    <a:pt x="479816" y="114491"/>
                    <a:pt x="477435" y="114300"/>
                    <a:pt x="475053" y="114300"/>
                  </a:cubicBezTo>
                  <a:cubicBezTo>
                    <a:pt x="444097" y="114300"/>
                    <a:pt x="417427" y="135827"/>
                    <a:pt x="410664" y="165830"/>
                  </a:cubicBezTo>
                  <a:lnTo>
                    <a:pt x="410188" y="168116"/>
                  </a:lnTo>
                  <a:lnTo>
                    <a:pt x="391710" y="266700"/>
                  </a:lnTo>
                  <a:lnTo>
                    <a:pt x="134535" y="266700"/>
                  </a:lnTo>
                  <a:lnTo>
                    <a:pt x="116057" y="168116"/>
                  </a:lnTo>
                  <a:cubicBezTo>
                    <a:pt x="110245" y="136874"/>
                    <a:pt x="82909" y="114300"/>
                    <a:pt x="51191" y="114300"/>
                  </a:cubicBezTo>
                  <a:lnTo>
                    <a:pt x="53572" y="66675"/>
                  </a:lnTo>
                  <a:cubicBezTo>
                    <a:pt x="53572" y="29813"/>
                    <a:pt x="83385" y="0"/>
                    <a:pt x="120247" y="0"/>
                  </a:cubicBezTo>
                  <a:lnTo>
                    <a:pt x="415522" y="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81" name="îṩlíḑè">
              <a:extLst>
                <a:ext uri="{FF2B5EF4-FFF2-40B4-BE49-F238E27FC236}">
                  <a16:creationId xmlns:a16="http://schemas.microsoft.com/office/drawing/2014/main" id="{6980EBCD-B426-4B5E-8E55-08BF8B665FCB}"/>
                </a:ext>
              </a:extLst>
            </p:cNvPr>
            <p:cNvSpPr/>
            <p:nvPr/>
          </p:nvSpPr>
          <p:spPr bwMode="auto">
            <a:xfrm flipH="1">
              <a:off x="6867178" y="3251302"/>
              <a:ext cx="456218" cy="415484"/>
            </a:xfrm>
            <a:custGeom>
              <a:avLst/>
              <a:gdLst>
                <a:gd name="connsiteX0" fmla="*/ 123825 w 533400"/>
                <a:gd name="connsiteY0" fmla="*/ 228600 h 485775"/>
                <a:gd name="connsiteX1" fmla="*/ 123825 w 533400"/>
                <a:gd name="connsiteY1" fmla="*/ 276225 h 485775"/>
                <a:gd name="connsiteX2" fmla="*/ 142875 w 533400"/>
                <a:gd name="connsiteY2" fmla="*/ 276225 h 485775"/>
                <a:gd name="connsiteX3" fmla="*/ 142875 w 533400"/>
                <a:gd name="connsiteY3" fmla="*/ 228600 h 485775"/>
                <a:gd name="connsiteX4" fmla="*/ 390525 w 533400"/>
                <a:gd name="connsiteY4" fmla="*/ 228600 h 485775"/>
                <a:gd name="connsiteX5" fmla="*/ 390525 w 533400"/>
                <a:gd name="connsiteY5" fmla="*/ 276225 h 485775"/>
                <a:gd name="connsiteX6" fmla="*/ 409575 w 533400"/>
                <a:gd name="connsiteY6" fmla="*/ 276225 h 485775"/>
                <a:gd name="connsiteX7" fmla="*/ 409575 w 533400"/>
                <a:gd name="connsiteY7" fmla="*/ 228600 h 485775"/>
                <a:gd name="connsiteX8" fmla="*/ 533400 w 533400"/>
                <a:gd name="connsiteY8" fmla="*/ 228600 h 485775"/>
                <a:gd name="connsiteX9" fmla="*/ 533400 w 533400"/>
                <a:gd name="connsiteY9" fmla="*/ 457200 h 485775"/>
                <a:gd name="connsiteX10" fmla="*/ 504825 w 533400"/>
                <a:gd name="connsiteY10" fmla="*/ 485775 h 485775"/>
                <a:gd name="connsiteX11" fmla="*/ 28575 w 533400"/>
                <a:gd name="connsiteY11" fmla="*/ 485775 h 485775"/>
                <a:gd name="connsiteX12" fmla="*/ 0 w 533400"/>
                <a:gd name="connsiteY12" fmla="*/ 457200 h 485775"/>
                <a:gd name="connsiteX13" fmla="*/ 0 w 533400"/>
                <a:gd name="connsiteY13" fmla="*/ 228600 h 485775"/>
                <a:gd name="connsiteX14" fmla="*/ 123825 w 533400"/>
                <a:gd name="connsiteY14" fmla="*/ 228600 h 485775"/>
                <a:gd name="connsiteX15" fmla="*/ 371475 w 533400"/>
                <a:gd name="connsiteY15" fmla="*/ 0 h 485775"/>
                <a:gd name="connsiteX16" fmla="*/ 409575 w 533400"/>
                <a:gd name="connsiteY16" fmla="*/ 36195 h 485775"/>
                <a:gd name="connsiteX17" fmla="*/ 409575 w 533400"/>
                <a:gd name="connsiteY17" fmla="*/ 38100 h 485775"/>
                <a:gd name="connsiteX18" fmla="*/ 409575 w 533400"/>
                <a:gd name="connsiteY18" fmla="*/ 114300 h 485775"/>
                <a:gd name="connsiteX19" fmla="*/ 504825 w 533400"/>
                <a:gd name="connsiteY19" fmla="*/ 114300 h 485775"/>
                <a:gd name="connsiteX20" fmla="*/ 533400 w 533400"/>
                <a:gd name="connsiteY20" fmla="*/ 142875 h 485775"/>
                <a:gd name="connsiteX21" fmla="*/ 533400 w 533400"/>
                <a:gd name="connsiteY21" fmla="*/ 209550 h 485775"/>
                <a:gd name="connsiteX22" fmla="*/ 0 w 533400"/>
                <a:gd name="connsiteY22" fmla="*/ 209550 h 485775"/>
                <a:gd name="connsiteX23" fmla="*/ 0 w 533400"/>
                <a:gd name="connsiteY23" fmla="*/ 142875 h 485775"/>
                <a:gd name="connsiteX24" fmla="*/ 28575 w 533400"/>
                <a:gd name="connsiteY24" fmla="*/ 114300 h 485775"/>
                <a:gd name="connsiteX25" fmla="*/ 123825 w 533400"/>
                <a:gd name="connsiteY25" fmla="*/ 114300 h 485775"/>
                <a:gd name="connsiteX26" fmla="*/ 123825 w 533400"/>
                <a:gd name="connsiteY26" fmla="*/ 38100 h 485775"/>
                <a:gd name="connsiteX27" fmla="*/ 160020 w 533400"/>
                <a:gd name="connsiteY27" fmla="*/ 0 h 485775"/>
                <a:gd name="connsiteX28" fmla="*/ 161925 w 533400"/>
                <a:gd name="connsiteY28" fmla="*/ 0 h 485775"/>
                <a:gd name="connsiteX29" fmla="*/ 371475 w 533400"/>
                <a:gd name="connsiteY29" fmla="*/ 0 h 485775"/>
                <a:gd name="connsiteX30" fmla="*/ 371475 w 533400"/>
                <a:gd name="connsiteY30" fmla="*/ 19050 h 485775"/>
                <a:gd name="connsiteX31" fmla="*/ 161925 w 533400"/>
                <a:gd name="connsiteY31" fmla="*/ 19050 h 485775"/>
                <a:gd name="connsiteX32" fmla="*/ 142970 w 533400"/>
                <a:gd name="connsiteY32" fmla="*/ 36671 h 485775"/>
                <a:gd name="connsiteX33" fmla="*/ 142875 w 533400"/>
                <a:gd name="connsiteY33" fmla="*/ 38100 h 485775"/>
                <a:gd name="connsiteX34" fmla="*/ 142875 w 533400"/>
                <a:gd name="connsiteY34" fmla="*/ 114300 h 485775"/>
                <a:gd name="connsiteX35" fmla="*/ 390525 w 533400"/>
                <a:gd name="connsiteY35" fmla="*/ 114300 h 485775"/>
                <a:gd name="connsiteX36" fmla="*/ 390525 w 533400"/>
                <a:gd name="connsiteY36" fmla="*/ 38100 h 485775"/>
                <a:gd name="connsiteX37" fmla="*/ 374333 w 533400"/>
                <a:gd name="connsiteY37" fmla="*/ 19241 h 485775"/>
                <a:gd name="connsiteX38" fmla="*/ 372904 w 533400"/>
                <a:gd name="connsiteY38" fmla="*/ 19050 h 485775"/>
                <a:gd name="connsiteX39" fmla="*/ 371475 w 533400"/>
                <a:gd name="connsiteY39" fmla="*/ 19050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533400" h="485775">
                  <a:moveTo>
                    <a:pt x="123825" y="228600"/>
                  </a:moveTo>
                  <a:lnTo>
                    <a:pt x="123825" y="276225"/>
                  </a:lnTo>
                  <a:lnTo>
                    <a:pt x="142875" y="276225"/>
                  </a:lnTo>
                  <a:lnTo>
                    <a:pt x="142875" y="228600"/>
                  </a:lnTo>
                  <a:lnTo>
                    <a:pt x="390525" y="228600"/>
                  </a:lnTo>
                  <a:lnTo>
                    <a:pt x="390525" y="276225"/>
                  </a:lnTo>
                  <a:lnTo>
                    <a:pt x="409575" y="276225"/>
                  </a:lnTo>
                  <a:lnTo>
                    <a:pt x="409575" y="228600"/>
                  </a:lnTo>
                  <a:lnTo>
                    <a:pt x="533400" y="228600"/>
                  </a:lnTo>
                  <a:lnTo>
                    <a:pt x="533400" y="457200"/>
                  </a:lnTo>
                  <a:cubicBezTo>
                    <a:pt x="533400" y="473012"/>
                    <a:pt x="520637" y="485775"/>
                    <a:pt x="504825" y="485775"/>
                  </a:cubicBezTo>
                  <a:lnTo>
                    <a:pt x="28575" y="485775"/>
                  </a:lnTo>
                  <a:cubicBezTo>
                    <a:pt x="12763" y="485775"/>
                    <a:pt x="0" y="473012"/>
                    <a:pt x="0" y="457200"/>
                  </a:cubicBezTo>
                  <a:lnTo>
                    <a:pt x="0" y="228600"/>
                  </a:lnTo>
                  <a:lnTo>
                    <a:pt x="123825" y="228600"/>
                  </a:lnTo>
                  <a:close/>
                  <a:moveTo>
                    <a:pt x="371475" y="0"/>
                  </a:moveTo>
                  <a:cubicBezTo>
                    <a:pt x="391859" y="0"/>
                    <a:pt x="408527" y="16002"/>
                    <a:pt x="409575" y="36195"/>
                  </a:cubicBezTo>
                  <a:lnTo>
                    <a:pt x="409575" y="38100"/>
                  </a:lnTo>
                  <a:lnTo>
                    <a:pt x="409575" y="114300"/>
                  </a:lnTo>
                  <a:lnTo>
                    <a:pt x="504825" y="114300"/>
                  </a:lnTo>
                  <a:cubicBezTo>
                    <a:pt x="520637" y="114300"/>
                    <a:pt x="533400" y="127064"/>
                    <a:pt x="533400" y="142875"/>
                  </a:cubicBezTo>
                  <a:lnTo>
                    <a:pt x="533400" y="209550"/>
                  </a:lnTo>
                  <a:lnTo>
                    <a:pt x="0" y="209550"/>
                  </a:lnTo>
                  <a:lnTo>
                    <a:pt x="0" y="142875"/>
                  </a:lnTo>
                  <a:cubicBezTo>
                    <a:pt x="0" y="127064"/>
                    <a:pt x="12763" y="114300"/>
                    <a:pt x="28575" y="114300"/>
                  </a:cubicBezTo>
                  <a:lnTo>
                    <a:pt x="123825" y="114300"/>
                  </a:lnTo>
                  <a:lnTo>
                    <a:pt x="123825" y="38100"/>
                  </a:lnTo>
                  <a:cubicBezTo>
                    <a:pt x="123825" y="17716"/>
                    <a:pt x="139828" y="1048"/>
                    <a:pt x="160020" y="0"/>
                  </a:cubicBezTo>
                  <a:lnTo>
                    <a:pt x="161925" y="0"/>
                  </a:lnTo>
                  <a:lnTo>
                    <a:pt x="371475" y="0"/>
                  </a:lnTo>
                  <a:close/>
                  <a:moveTo>
                    <a:pt x="371475" y="19050"/>
                  </a:moveTo>
                  <a:lnTo>
                    <a:pt x="161925" y="19050"/>
                  </a:lnTo>
                  <a:cubicBezTo>
                    <a:pt x="151923" y="19050"/>
                    <a:pt x="143637" y="26861"/>
                    <a:pt x="142970" y="36671"/>
                  </a:cubicBezTo>
                  <a:lnTo>
                    <a:pt x="142875" y="38100"/>
                  </a:lnTo>
                  <a:lnTo>
                    <a:pt x="142875" y="114300"/>
                  </a:lnTo>
                  <a:lnTo>
                    <a:pt x="390525" y="114300"/>
                  </a:lnTo>
                  <a:lnTo>
                    <a:pt x="390525" y="38100"/>
                  </a:lnTo>
                  <a:cubicBezTo>
                    <a:pt x="390525" y="28575"/>
                    <a:pt x="383477" y="20669"/>
                    <a:pt x="374333" y="19241"/>
                  </a:cubicBezTo>
                  <a:lnTo>
                    <a:pt x="372904" y="19050"/>
                  </a:lnTo>
                  <a:lnTo>
                    <a:pt x="371475" y="1905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cxnSp>
          <p:nvCxnSpPr>
            <p:cNvPr id="82" name="ïšliḋe">
              <a:extLst>
                <a:ext uri="{FF2B5EF4-FFF2-40B4-BE49-F238E27FC236}">
                  <a16:creationId xmlns:a16="http://schemas.microsoft.com/office/drawing/2014/main" id="{268A753C-C6A9-485E-B571-B7B16D0ECDE8}"/>
                </a:ext>
              </a:extLst>
            </p:cNvPr>
            <p:cNvCxnSpPr>
              <a:cxnSpLocks/>
            </p:cNvCxnSpPr>
            <p:nvPr/>
          </p:nvCxnSpPr>
          <p:spPr>
            <a:xfrm>
              <a:off x="4146553" y="4682420"/>
              <a:ext cx="176400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íṧľîḓé">
              <a:extLst>
                <a:ext uri="{FF2B5EF4-FFF2-40B4-BE49-F238E27FC236}">
                  <a16:creationId xmlns:a16="http://schemas.microsoft.com/office/drawing/2014/main" id="{E56506BF-984F-4F1B-A5BE-AD6FCDC48816}"/>
                </a:ext>
              </a:extLst>
            </p:cNvPr>
            <p:cNvCxnSpPr>
              <a:cxnSpLocks/>
            </p:cNvCxnSpPr>
            <p:nvPr/>
          </p:nvCxnSpPr>
          <p:spPr>
            <a:xfrm>
              <a:off x="6213287" y="3932677"/>
              <a:ext cx="176400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î$ḻíďé">
              <a:extLst>
                <a:ext uri="{FF2B5EF4-FFF2-40B4-BE49-F238E27FC236}">
                  <a16:creationId xmlns:a16="http://schemas.microsoft.com/office/drawing/2014/main" id="{44560FF2-69C4-4406-8DEB-8A43D14E9778}"/>
                </a:ext>
              </a:extLst>
            </p:cNvPr>
            <p:cNvCxnSpPr>
              <a:cxnSpLocks/>
            </p:cNvCxnSpPr>
            <p:nvPr/>
          </p:nvCxnSpPr>
          <p:spPr>
            <a:xfrm>
              <a:off x="8511749" y="3014586"/>
              <a:ext cx="176400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36497390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ṥlîḍ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śḻíďe">
            <a:extLst>
              <a:ext uri="{FF2B5EF4-FFF2-40B4-BE49-F238E27FC236}">
                <a16:creationId xmlns:a16="http://schemas.microsoft.com/office/drawing/2014/main" id="{3BBBB8F3-9EDD-403B-B87E-C3F6E2AD9B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îṣľiḑé">
            <a:extLst>
              <a:ext uri="{FF2B5EF4-FFF2-40B4-BE49-F238E27FC236}">
                <a16:creationId xmlns:a16="http://schemas.microsoft.com/office/drawing/2014/main" id="{C4077D39-A2EB-4207-800D-5CAE43D459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íṧľiḓé">
            <a:extLst>
              <a:ext uri="{FF2B5EF4-FFF2-40B4-BE49-F238E27FC236}">
                <a16:creationId xmlns:a16="http://schemas.microsoft.com/office/drawing/2014/main" id="{6F0A5FDA-6491-44A2-8A63-B501415C3B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grpSp>
        <p:nvGrpSpPr>
          <p:cNvPr id="30" name="iṥḻíďe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4CAA42AC-DAD1-401C-96F9-C5951DFC5560}"/>
              </a:ext>
            </a:extLst>
          </p:cNvPr>
          <p:cNvGrpSpPr>
            <a:grpSpLocks noChangeAspect="1"/>
          </p:cNvGrpSpPr>
          <p:nvPr/>
        </p:nvGrpSpPr>
        <p:grpSpPr>
          <a:xfrm>
            <a:off x="669925" y="1748577"/>
            <a:ext cx="10850563" cy="3767246"/>
            <a:chOff x="669925" y="1748577"/>
            <a:chExt cx="10850563" cy="3767246"/>
          </a:xfrm>
        </p:grpSpPr>
        <p:grpSp>
          <p:nvGrpSpPr>
            <p:cNvPr id="31" name="iṡľîde">
              <a:extLst>
                <a:ext uri="{FF2B5EF4-FFF2-40B4-BE49-F238E27FC236}">
                  <a16:creationId xmlns:a16="http://schemas.microsoft.com/office/drawing/2014/main" id="{737AE910-1EB4-43E5-AF54-8D1A8F7143B2}"/>
                </a:ext>
              </a:extLst>
            </p:cNvPr>
            <p:cNvGrpSpPr/>
            <p:nvPr/>
          </p:nvGrpSpPr>
          <p:grpSpPr>
            <a:xfrm>
              <a:off x="4209107" y="1748577"/>
              <a:ext cx="3761087" cy="3767246"/>
              <a:chOff x="4209107" y="1748577"/>
              <a:chExt cx="3761087" cy="3767246"/>
            </a:xfrm>
          </p:grpSpPr>
          <p:sp>
            <p:nvSpPr>
              <p:cNvPr id="47" name="i$ľíḍê">
                <a:extLst>
                  <a:ext uri="{FF2B5EF4-FFF2-40B4-BE49-F238E27FC236}">
                    <a16:creationId xmlns:a16="http://schemas.microsoft.com/office/drawing/2014/main" id="{240B1541-3AD5-4F95-8881-BBA79E83B558}"/>
                  </a:ext>
                </a:extLst>
              </p:cNvPr>
              <p:cNvSpPr/>
              <p:nvPr/>
            </p:nvSpPr>
            <p:spPr>
              <a:xfrm>
                <a:off x="5171391" y="1748577"/>
                <a:ext cx="2787661" cy="128961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68" h="21033" extrusionOk="0">
                    <a:moveTo>
                      <a:pt x="971" y="5974"/>
                    </a:moveTo>
                    <a:cubicBezTo>
                      <a:pt x="3506" y="8385"/>
                      <a:pt x="6310" y="9259"/>
                      <a:pt x="9067" y="8500"/>
                    </a:cubicBezTo>
                    <a:cubicBezTo>
                      <a:pt x="12027" y="7685"/>
                      <a:pt x="14803" y="5028"/>
                      <a:pt x="17042" y="868"/>
                    </a:cubicBezTo>
                    <a:cubicBezTo>
                      <a:pt x="17290" y="327"/>
                      <a:pt x="17629" y="15"/>
                      <a:pt x="17985" y="0"/>
                    </a:cubicBezTo>
                    <a:cubicBezTo>
                      <a:pt x="18343" y="-14"/>
                      <a:pt x="18690" y="274"/>
                      <a:pt x="18947" y="800"/>
                    </a:cubicBezTo>
                    <a:lnTo>
                      <a:pt x="21171" y="5725"/>
                    </a:lnTo>
                    <a:cubicBezTo>
                      <a:pt x="21381" y="6107"/>
                      <a:pt x="21519" y="6637"/>
                      <a:pt x="21557" y="7217"/>
                    </a:cubicBezTo>
                    <a:cubicBezTo>
                      <a:pt x="21587" y="7667"/>
                      <a:pt x="21556" y="8116"/>
                      <a:pt x="21480" y="8527"/>
                    </a:cubicBezTo>
                    <a:cubicBezTo>
                      <a:pt x="21396" y="8984"/>
                      <a:pt x="21257" y="9395"/>
                      <a:pt x="21070" y="9715"/>
                    </a:cubicBezTo>
                    <a:cubicBezTo>
                      <a:pt x="18821" y="13981"/>
                      <a:pt x="16159" y="17167"/>
                      <a:pt x="13268" y="19055"/>
                    </a:cubicBezTo>
                    <a:cubicBezTo>
                      <a:pt x="10067" y="21145"/>
                      <a:pt x="6675" y="21586"/>
                      <a:pt x="3376" y="20342"/>
                    </a:cubicBezTo>
                    <a:cubicBezTo>
                      <a:pt x="3113" y="20235"/>
                      <a:pt x="2869" y="19976"/>
                      <a:pt x="2672" y="19594"/>
                    </a:cubicBezTo>
                    <a:cubicBezTo>
                      <a:pt x="2447" y="19159"/>
                      <a:pt x="2292" y="18586"/>
                      <a:pt x="2231" y="17955"/>
                    </a:cubicBezTo>
                    <a:cubicBezTo>
                      <a:pt x="2003" y="16237"/>
                      <a:pt x="1721" y="14553"/>
                      <a:pt x="1388" y="12914"/>
                    </a:cubicBezTo>
                    <a:cubicBezTo>
                      <a:pt x="1028" y="11146"/>
                      <a:pt x="609" y="9434"/>
                      <a:pt x="134" y="7791"/>
                    </a:cubicBezTo>
                    <a:cubicBezTo>
                      <a:pt x="62" y="7574"/>
                      <a:pt x="20" y="7330"/>
                      <a:pt x="5" y="7082"/>
                    </a:cubicBezTo>
                    <a:cubicBezTo>
                      <a:pt x="-13" y="6762"/>
                      <a:pt x="15" y="6420"/>
                      <a:pt x="122" y="6161"/>
                    </a:cubicBezTo>
                    <a:cubicBezTo>
                      <a:pt x="227" y="5908"/>
                      <a:pt x="379" y="5804"/>
                      <a:pt x="529" y="5784"/>
                    </a:cubicBezTo>
                    <a:cubicBezTo>
                      <a:pt x="677" y="5764"/>
                      <a:pt x="830" y="5824"/>
                      <a:pt x="971" y="5974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>
                <a:miter lim="400000"/>
              </a:ln>
            </p:spPr>
            <p:txBody>
              <a:bodyPr lIns="71437" tIns="71437" rIns="71437" bIns="71437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 sz="3200" cap="none">
                    <a:solidFill>
                      <a:srgbClr val="000000"/>
                    </a:solidFill>
                  </a:defRPr>
                </a:pPr>
                <a:endParaRPr/>
              </a:p>
            </p:txBody>
          </p:sp>
          <p:sp>
            <p:nvSpPr>
              <p:cNvPr id="48" name="i$ḻíde">
                <a:extLst>
                  <a:ext uri="{FF2B5EF4-FFF2-40B4-BE49-F238E27FC236}">
                    <a16:creationId xmlns:a16="http://schemas.microsoft.com/office/drawing/2014/main" id="{23079B01-7133-4B3C-958A-8243D837BDA8}"/>
                  </a:ext>
                </a:extLst>
              </p:cNvPr>
              <p:cNvSpPr/>
              <p:nvPr/>
            </p:nvSpPr>
            <p:spPr>
              <a:xfrm rot="16221438">
                <a:off x="3460082" y="2516232"/>
                <a:ext cx="2787661" cy="128961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68" h="21033" extrusionOk="0">
                    <a:moveTo>
                      <a:pt x="971" y="5974"/>
                    </a:moveTo>
                    <a:cubicBezTo>
                      <a:pt x="3506" y="8385"/>
                      <a:pt x="6310" y="9259"/>
                      <a:pt x="9067" y="8500"/>
                    </a:cubicBezTo>
                    <a:cubicBezTo>
                      <a:pt x="12027" y="7685"/>
                      <a:pt x="14803" y="5028"/>
                      <a:pt x="17042" y="868"/>
                    </a:cubicBezTo>
                    <a:cubicBezTo>
                      <a:pt x="17290" y="327"/>
                      <a:pt x="17629" y="15"/>
                      <a:pt x="17985" y="0"/>
                    </a:cubicBezTo>
                    <a:cubicBezTo>
                      <a:pt x="18343" y="-14"/>
                      <a:pt x="18690" y="274"/>
                      <a:pt x="18947" y="800"/>
                    </a:cubicBezTo>
                    <a:lnTo>
                      <a:pt x="21171" y="5725"/>
                    </a:lnTo>
                    <a:cubicBezTo>
                      <a:pt x="21381" y="6107"/>
                      <a:pt x="21519" y="6637"/>
                      <a:pt x="21557" y="7217"/>
                    </a:cubicBezTo>
                    <a:cubicBezTo>
                      <a:pt x="21587" y="7667"/>
                      <a:pt x="21556" y="8116"/>
                      <a:pt x="21480" y="8527"/>
                    </a:cubicBezTo>
                    <a:cubicBezTo>
                      <a:pt x="21396" y="8984"/>
                      <a:pt x="21257" y="9395"/>
                      <a:pt x="21070" y="9715"/>
                    </a:cubicBezTo>
                    <a:cubicBezTo>
                      <a:pt x="18821" y="13981"/>
                      <a:pt x="16159" y="17167"/>
                      <a:pt x="13268" y="19055"/>
                    </a:cubicBezTo>
                    <a:cubicBezTo>
                      <a:pt x="10067" y="21145"/>
                      <a:pt x="6675" y="21586"/>
                      <a:pt x="3376" y="20342"/>
                    </a:cubicBezTo>
                    <a:cubicBezTo>
                      <a:pt x="3113" y="20235"/>
                      <a:pt x="2869" y="19976"/>
                      <a:pt x="2672" y="19594"/>
                    </a:cubicBezTo>
                    <a:cubicBezTo>
                      <a:pt x="2447" y="19159"/>
                      <a:pt x="2292" y="18586"/>
                      <a:pt x="2231" y="17955"/>
                    </a:cubicBezTo>
                    <a:cubicBezTo>
                      <a:pt x="2003" y="16237"/>
                      <a:pt x="1721" y="14553"/>
                      <a:pt x="1388" y="12914"/>
                    </a:cubicBezTo>
                    <a:cubicBezTo>
                      <a:pt x="1028" y="11146"/>
                      <a:pt x="609" y="9434"/>
                      <a:pt x="134" y="7791"/>
                    </a:cubicBezTo>
                    <a:cubicBezTo>
                      <a:pt x="62" y="7574"/>
                      <a:pt x="20" y="7330"/>
                      <a:pt x="5" y="7082"/>
                    </a:cubicBezTo>
                    <a:cubicBezTo>
                      <a:pt x="-13" y="6762"/>
                      <a:pt x="15" y="6420"/>
                      <a:pt x="122" y="6161"/>
                    </a:cubicBezTo>
                    <a:cubicBezTo>
                      <a:pt x="227" y="5908"/>
                      <a:pt x="379" y="5804"/>
                      <a:pt x="529" y="5784"/>
                    </a:cubicBezTo>
                    <a:cubicBezTo>
                      <a:pt x="677" y="5764"/>
                      <a:pt x="830" y="5824"/>
                      <a:pt x="971" y="597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2700">
                <a:noFill/>
                <a:miter lim="400000"/>
              </a:ln>
            </p:spPr>
            <p:txBody>
              <a:bodyPr lIns="71437" tIns="71437" rIns="71437" bIns="71437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 sz="3200" cap="none">
                    <a:solidFill>
                      <a:srgbClr val="000000"/>
                    </a:solidFill>
                  </a:defRPr>
                </a:pPr>
                <a:endParaRPr/>
              </a:p>
            </p:txBody>
          </p:sp>
          <p:sp>
            <p:nvSpPr>
              <p:cNvPr id="49" name="iṩļíde">
                <a:extLst>
                  <a:ext uri="{FF2B5EF4-FFF2-40B4-BE49-F238E27FC236}">
                    <a16:creationId xmlns:a16="http://schemas.microsoft.com/office/drawing/2014/main" id="{2DB1E95B-C69F-4044-B51C-40C77F1A83DE}"/>
                  </a:ext>
                </a:extLst>
              </p:cNvPr>
              <p:cNvSpPr/>
              <p:nvPr/>
            </p:nvSpPr>
            <p:spPr>
              <a:xfrm rot="10771382">
                <a:off x="4220247" y="4226210"/>
                <a:ext cx="2787661" cy="128961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68" h="21033" extrusionOk="0">
                    <a:moveTo>
                      <a:pt x="971" y="5974"/>
                    </a:moveTo>
                    <a:cubicBezTo>
                      <a:pt x="3506" y="8385"/>
                      <a:pt x="6310" y="9259"/>
                      <a:pt x="9067" y="8500"/>
                    </a:cubicBezTo>
                    <a:cubicBezTo>
                      <a:pt x="12027" y="7685"/>
                      <a:pt x="14803" y="5028"/>
                      <a:pt x="17042" y="868"/>
                    </a:cubicBezTo>
                    <a:cubicBezTo>
                      <a:pt x="17290" y="327"/>
                      <a:pt x="17629" y="15"/>
                      <a:pt x="17985" y="0"/>
                    </a:cubicBezTo>
                    <a:cubicBezTo>
                      <a:pt x="18343" y="-14"/>
                      <a:pt x="18690" y="274"/>
                      <a:pt x="18947" y="800"/>
                    </a:cubicBezTo>
                    <a:lnTo>
                      <a:pt x="21171" y="5725"/>
                    </a:lnTo>
                    <a:cubicBezTo>
                      <a:pt x="21381" y="6107"/>
                      <a:pt x="21519" y="6637"/>
                      <a:pt x="21557" y="7217"/>
                    </a:cubicBezTo>
                    <a:cubicBezTo>
                      <a:pt x="21587" y="7667"/>
                      <a:pt x="21556" y="8116"/>
                      <a:pt x="21480" y="8527"/>
                    </a:cubicBezTo>
                    <a:cubicBezTo>
                      <a:pt x="21396" y="8984"/>
                      <a:pt x="21257" y="9395"/>
                      <a:pt x="21070" y="9715"/>
                    </a:cubicBezTo>
                    <a:cubicBezTo>
                      <a:pt x="18821" y="13981"/>
                      <a:pt x="16159" y="17167"/>
                      <a:pt x="13268" y="19055"/>
                    </a:cubicBezTo>
                    <a:cubicBezTo>
                      <a:pt x="10067" y="21145"/>
                      <a:pt x="6675" y="21586"/>
                      <a:pt x="3376" y="20342"/>
                    </a:cubicBezTo>
                    <a:cubicBezTo>
                      <a:pt x="3113" y="20235"/>
                      <a:pt x="2869" y="19976"/>
                      <a:pt x="2672" y="19594"/>
                    </a:cubicBezTo>
                    <a:cubicBezTo>
                      <a:pt x="2447" y="19159"/>
                      <a:pt x="2292" y="18586"/>
                      <a:pt x="2231" y="17955"/>
                    </a:cubicBezTo>
                    <a:cubicBezTo>
                      <a:pt x="2003" y="16237"/>
                      <a:pt x="1721" y="14553"/>
                      <a:pt x="1388" y="12914"/>
                    </a:cubicBezTo>
                    <a:cubicBezTo>
                      <a:pt x="1028" y="11146"/>
                      <a:pt x="609" y="9434"/>
                      <a:pt x="134" y="7791"/>
                    </a:cubicBezTo>
                    <a:cubicBezTo>
                      <a:pt x="62" y="7574"/>
                      <a:pt x="20" y="7330"/>
                      <a:pt x="5" y="7082"/>
                    </a:cubicBezTo>
                    <a:cubicBezTo>
                      <a:pt x="-13" y="6762"/>
                      <a:pt x="15" y="6420"/>
                      <a:pt x="122" y="6161"/>
                    </a:cubicBezTo>
                    <a:cubicBezTo>
                      <a:pt x="227" y="5908"/>
                      <a:pt x="379" y="5804"/>
                      <a:pt x="529" y="5784"/>
                    </a:cubicBezTo>
                    <a:cubicBezTo>
                      <a:pt x="677" y="5764"/>
                      <a:pt x="830" y="5824"/>
                      <a:pt x="971" y="5974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>
                <a:miter lim="400000"/>
              </a:ln>
            </p:spPr>
            <p:txBody>
              <a:bodyPr lIns="71437" tIns="71437" rIns="71437" bIns="71437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 sz="3200" cap="none">
                    <a:solidFill>
                      <a:srgbClr val="000000"/>
                    </a:solidFill>
                  </a:defRPr>
                </a:pPr>
                <a:endParaRPr/>
              </a:p>
            </p:txBody>
          </p:sp>
          <p:sp>
            <p:nvSpPr>
              <p:cNvPr id="50" name="isḷîḑê">
                <a:extLst>
                  <a:ext uri="{FF2B5EF4-FFF2-40B4-BE49-F238E27FC236}">
                    <a16:creationId xmlns:a16="http://schemas.microsoft.com/office/drawing/2014/main" id="{8397BB58-3174-464A-96C4-C10A4099F6FF}"/>
                  </a:ext>
                </a:extLst>
              </p:cNvPr>
              <p:cNvSpPr/>
              <p:nvPr/>
            </p:nvSpPr>
            <p:spPr>
              <a:xfrm rot="5419948">
                <a:off x="5931557" y="3451065"/>
                <a:ext cx="2787661" cy="128961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68" h="21033" extrusionOk="0">
                    <a:moveTo>
                      <a:pt x="971" y="5974"/>
                    </a:moveTo>
                    <a:cubicBezTo>
                      <a:pt x="3506" y="8385"/>
                      <a:pt x="6310" y="9259"/>
                      <a:pt x="9067" y="8500"/>
                    </a:cubicBezTo>
                    <a:cubicBezTo>
                      <a:pt x="12027" y="7685"/>
                      <a:pt x="14803" y="5028"/>
                      <a:pt x="17042" y="868"/>
                    </a:cubicBezTo>
                    <a:cubicBezTo>
                      <a:pt x="17290" y="327"/>
                      <a:pt x="17629" y="15"/>
                      <a:pt x="17985" y="0"/>
                    </a:cubicBezTo>
                    <a:cubicBezTo>
                      <a:pt x="18343" y="-14"/>
                      <a:pt x="18690" y="274"/>
                      <a:pt x="18947" y="800"/>
                    </a:cubicBezTo>
                    <a:lnTo>
                      <a:pt x="21171" y="5725"/>
                    </a:lnTo>
                    <a:cubicBezTo>
                      <a:pt x="21381" y="6107"/>
                      <a:pt x="21519" y="6637"/>
                      <a:pt x="21557" y="7217"/>
                    </a:cubicBezTo>
                    <a:cubicBezTo>
                      <a:pt x="21587" y="7667"/>
                      <a:pt x="21556" y="8116"/>
                      <a:pt x="21480" y="8527"/>
                    </a:cubicBezTo>
                    <a:cubicBezTo>
                      <a:pt x="21396" y="8984"/>
                      <a:pt x="21257" y="9395"/>
                      <a:pt x="21070" y="9715"/>
                    </a:cubicBezTo>
                    <a:cubicBezTo>
                      <a:pt x="18821" y="13981"/>
                      <a:pt x="16159" y="17167"/>
                      <a:pt x="13268" y="19055"/>
                    </a:cubicBezTo>
                    <a:cubicBezTo>
                      <a:pt x="10067" y="21145"/>
                      <a:pt x="6675" y="21586"/>
                      <a:pt x="3376" y="20342"/>
                    </a:cubicBezTo>
                    <a:cubicBezTo>
                      <a:pt x="3113" y="20235"/>
                      <a:pt x="2869" y="19976"/>
                      <a:pt x="2672" y="19594"/>
                    </a:cubicBezTo>
                    <a:cubicBezTo>
                      <a:pt x="2447" y="19159"/>
                      <a:pt x="2292" y="18586"/>
                      <a:pt x="2231" y="17955"/>
                    </a:cubicBezTo>
                    <a:cubicBezTo>
                      <a:pt x="2003" y="16237"/>
                      <a:pt x="1721" y="14553"/>
                      <a:pt x="1388" y="12914"/>
                    </a:cubicBezTo>
                    <a:cubicBezTo>
                      <a:pt x="1028" y="11146"/>
                      <a:pt x="609" y="9434"/>
                      <a:pt x="134" y="7791"/>
                    </a:cubicBezTo>
                    <a:cubicBezTo>
                      <a:pt x="62" y="7574"/>
                      <a:pt x="20" y="7330"/>
                      <a:pt x="5" y="7082"/>
                    </a:cubicBezTo>
                    <a:cubicBezTo>
                      <a:pt x="-13" y="6762"/>
                      <a:pt x="15" y="6420"/>
                      <a:pt x="122" y="6161"/>
                    </a:cubicBezTo>
                    <a:cubicBezTo>
                      <a:pt x="227" y="5908"/>
                      <a:pt x="379" y="5804"/>
                      <a:pt x="529" y="5784"/>
                    </a:cubicBezTo>
                    <a:cubicBezTo>
                      <a:pt x="677" y="5764"/>
                      <a:pt x="830" y="5824"/>
                      <a:pt x="971" y="5974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>
                <a:miter lim="400000"/>
              </a:ln>
            </p:spPr>
            <p:txBody>
              <a:bodyPr lIns="71437" tIns="71437" rIns="71437" bIns="71437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 sz="3200" cap="none">
                    <a:solidFill>
                      <a:srgbClr val="000000"/>
                    </a:solidFill>
                  </a:defRPr>
                </a:pPr>
                <a:endParaRPr/>
              </a:p>
            </p:txBody>
          </p:sp>
          <p:sp>
            <p:nvSpPr>
              <p:cNvPr id="51" name="iśľïdé">
                <a:extLst>
                  <a:ext uri="{FF2B5EF4-FFF2-40B4-BE49-F238E27FC236}">
                    <a16:creationId xmlns:a16="http://schemas.microsoft.com/office/drawing/2014/main" id="{6F1171A7-9D1A-4617-B918-53D7577B891E}"/>
                  </a:ext>
                </a:extLst>
              </p:cNvPr>
              <p:cNvSpPr/>
              <p:nvPr/>
            </p:nvSpPr>
            <p:spPr>
              <a:xfrm>
                <a:off x="4384394" y="1907867"/>
                <a:ext cx="637012" cy="586957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lc="http://schemas.openxmlformats.org/drawingml/2006/lockedCanvas" xmlns:a16="http://schemas.microsoft.com/office/drawing/2014/main" xmlns:a14="http://schemas.microsoft.com/office/drawing/2010/main" xmlns:p14="http://schemas.microsoft.com/office/powerpoint/2010/main" xmlns:ma14="http://schemas.microsoft.com/office/mac/drawingml/2011/main" xmlns="" val="1"/>
                </a:ext>
              </a:extLst>
            </p:spPr>
            <p:txBody>
              <a:bodyPr wrap="square" lIns="90000" tIns="46800" rIns="90000" bIns="4680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sz="3200" dirty="0"/>
                  <a:t>01</a:t>
                </a:r>
              </a:p>
            </p:txBody>
          </p:sp>
          <p:sp>
            <p:nvSpPr>
              <p:cNvPr id="52" name="îşļíďè">
                <a:extLst>
                  <a:ext uri="{FF2B5EF4-FFF2-40B4-BE49-F238E27FC236}">
                    <a16:creationId xmlns:a16="http://schemas.microsoft.com/office/drawing/2014/main" id="{2DDEFC14-5D67-4F32-AA9D-E92F8B0E247F}"/>
                  </a:ext>
                </a:extLst>
              </p:cNvPr>
              <p:cNvSpPr/>
              <p:nvPr/>
            </p:nvSpPr>
            <p:spPr>
              <a:xfrm>
                <a:off x="7149320" y="1907867"/>
                <a:ext cx="637012" cy="586957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lc="http://schemas.openxmlformats.org/drawingml/2006/lockedCanvas" xmlns:a16="http://schemas.microsoft.com/office/drawing/2014/main" xmlns:a14="http://schemas.microsoft.com/office/drawing/2010/main" xmlns:p14="http://schemas.microsoft.com/office/powerpoint/2010/main" xmlns:ma14="http://schemas.microsoft.com/office/mac/drawingml/2011/main" xmlns="" val="1"/>
                </a:ext>
              </a:extLst>
            </p:spPr>
            <p:txBody>
              <a:bodyPr wrap="square" lIns="90000" tIns="46800" rIns="90000" bIns="4680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sz="3200" dirty="0">
                    <a:solidFill>
                      <a:schemeClr val="tx1"/>
                    </a:solidFill>
                  </a:rPr>
                  <a:t>02</a:t>
                </a:r>
              </a:p>
            </p:txBody>
          </p:sp>
          <p:sp>
            <p:nvSpPr>
              <p:cNvPr id="53" name="íşlîdé">
                <a:extLst>
                  <a:ext uri="{FF2B5EF4-FFF2-40B4-BE49-F238E27FC236}">
                    <a16:creationId xmlns:a16="http://schemas.microsoft.com/office/drawing/2014/main" id="{5692F4DC-9D61-4B0E-883B-A1AC678EA9E2}"/>
                  </a:ext>
                </a:extLst>
              </p:cNvPr>
              <p:cNvSpPr/>
              <p:nvPr/>
            </p:nvSpPr>
            <p:spPr>
              <a:xfrm>
                <a:off x="7201765" y="4702966"/>
                <a:ext cx="637012" cy="586957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lc="http://schemas.openxmlformats.org/drawingml/2006/lockedCanvas" xmlns:a16="http://schemas.microsoft.com/office/drawing/2014/main" xmlns:a14="http://schemas.microsoft.com/office/drawing/2010/main" xmlns:p14="http://schemas.microsoft.com/office/powerpoint/2010/main" xmlns:ma14="http://schemas.microsoft.com/office/mac/drawingml/2011/main" xmlns="" val="1"/>
                </a:ext>
              </a:extLst>
            </p:spPr>
            <p:txBody>
              <a:bodyPr wrap="square" lIns="90000" tIns="46800" rIns="90000" bIns="4680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sz="3200" dirty="0">
                    <a:solidFill>
                      <a:schemeClr val="tx1"/>
                    </a:solidFill>
                  </a:rPr>
                  <a:t>03</a:t>
                </a:r>
              </a:p>
            </p:txBody>
          </p:sp>
          <p:sp>
            <p:nvSpPr>
              <p:cNvPr id="54" name="ïṣļîḋè">
                <a:extLst>
                  <a:ext uri="{FF2B5EF4-FFF2-40B4-BE49-F238E27FC236}">
                    <a16:creationId xmlns:a16="http://schemas.microsoft.com/office/drawing/2014/main" id="{DA9F0AB1-1FD7-43A7-847B-FD4A356276CA}"/>
                  </a:ext>
                </a:extLst>
              </p:cNvPr>
              <p:cNvSpPr/>
              <p:nvPr/>
            </p:nvSpPr>
            <p:spPr>
              <a:xfrm>
                <a:off x="4384394" y="4749654"/>
                <a:ext cx="637012" cy="586957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lc="http://schemas.openxmlformats.org/drawingml/2006/lockedCanvas" xmlns:a16="http://schemas.microsoft.com/office/drawing/2014/main" xmlns:a14="http://schemas.microsoft.com/office/drawing/2010/main" xmlns:p14="http://schemas.microsoft.com/office/powerpoint/2010/main" xmlns:ma14="http://schemas.microsoft.com/office/mac/drawingml/2011/main" xmlns="" val="1"/>
                </a:ext>
              </a:extLst>
            </p:spPr>
            <p:txBody>
              <a:bodyPr wrap="square" lIns="90000" tIns="46800" rIns="90000" bIns="4680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sz="3200" dirty="0">
                    <a:solidFill>
                      <a:schemeClr val="tx1"/>
                    </a:solidFill>
                  </a:rPr>
                  <a:t>04</a:t>
                </a:r>
              </a:p>
            </p:txBody>
          </p:sp>
        </p:grpSp>
        <p:grpSp>
          <p:nvGrpSpPr>
            <p:cNvPr id="32" name="îşliḍê">
              <a:extLst>
                <a:ext uri="{FF2B5EF4-FFF2-40B4-BE49-F238E27FC236}">
                  <a16:creationId xmlns:a16="http://schemas.microsoft.com/office/drawing/2014/main" id="{E31DEDED-4198-4DB1-92BA-18B78ADB9176}"/>
                </a:ext>
              </a:extLst>
            </p:cNvPr>
            <p:cNvGrpSpPr/>
            <p:nvPr/>
          </p:nvGrpSpPr>
          <p:grpSpPr>
            <a:xfrm>
              <a:off x="8489335" y="3840709"/>
              <a:ext cx="3031153" cy="1111889"/>
              <a:chOff x="673100" y="1237334"/>
              <a:chExt cx="3228944" cy="1111889"/>
            </a:xfrm>
          </p:grpSpPr>
          <p:sp>
            <p:nvSpPr>
              <p:cNvPr id="45" name="íṥļíḍe">
                <a:extLst>
                  <a:ext uri="{FF2B5EF4-FFF2-40B4-BE49-F238E27FC236}">
                    <a16:creationId xmlns:a16="http://schemas.microsoft.com/office/drawing/2014/main" id="{53B1DBD7-5E33-41A1-81E3-2EAF020CDBF7}"/>
                  </a:ext>
                </a:extLst>
              </p:cNvPr>
              <p:cNvSpPr/>
              <p:nvPr/>
            </p:nvSpPr>
            <p:spPr bwMode="auto">
              <a:xfrm>
                <a:off x="673100" y="1624932"/>
                <a:ext cx="3228944" cy="7242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71450" indent="-171450" algn="r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 algn="r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46" name="íślíďe">
                <a:extLst>
                  <a:ext uri="{FF2B5EF4-FFF2-40B4-BE49-F238E27FC236}">
                    <a16:creationId xmlns:a16="http://schemas.microsoft.com/office/drawing/2014/main" id="{EE508A48-FD65-443B-93A7-85A1F284D391}"/>
                  </a:ext>
                </a:extLst>
              </p:cNvPr>
              <p:cNvSpPr txBox="1"/>
              <p:nvPr/>
            </p:nvSpPr>
            <p:spPr bwMode="auto">
              <a:xfrm>
                <a:off x="673100" y="1237334"/>
                <a:ext cx="3228944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33" name="îṧļide">
              <a:extLst>
                <a:ext uri="{FF2B5EF4-FFF2-40B4-BE49-F238E27FC236}">
                  <a16:creationId xmlns:a16="http://schemas.microsoft.com/office/drawing/2014/main" id="{085FEB46-CD25-4F01-BA83-7A7A3BEC6201}"/>
                </a:ext>
              </a:extLst>
            </p:cNvPr>
            <p:cNvGrpSpPr/>
            <p:nvPr/>
          </p:nvGrpSpPr>
          <p:grpSpPr>
            <a:xfrm>
              <a:off x="8489335" y="2324502"/>
              <a:ext cx="3031153" cy="1111889"/>
              <a:chOff x="673100" y="1237334"/>
              <a:chExt cx="3228944" cy="1111889"/>
            </a:xfrm>
          </p:grpSpPr>
          <p:sp>
            <p:nvSpPr>
              <p:cNvPr id="43" name="ïŝ1iḓê">
                <a:extLst>
                  <a:ext uri="{FF2B5EF4-FFF2-40B4-BE49-F238E27FC236}">
                    <a16:creationId xmlns:a16="http://schemas.microsoft.com/office/drawing/2014/main" id="{F9CE9980-9491-4CED-B502-FAC97023A0EA}"/>
                  </a:ext>
                </a:extLst>
              </p:cNvPr>
              <p:cNvSpPr/>
              <p:nvPr/>
            </p:nvSpPr>
            <p:spPr bwMode="auto">
              <a:xfrm>
                <a:off x="673100" y="1624932"/>
                <a:ext cx="3228944" cy="7242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71450" indent="-171450" algn="r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 algn="r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44" name="íś1ïde">
                <a:extLst>
                  <a:ext uri="{FF2B5EF4-FFF2-40B4-BE49-F238E27FC236}">
                    <a16:creationId xmlns:a16="http://schemas.microsoft.com/office/drawing/2014/main" id="{E3439777-0D6B-4E9A-AB08-7E165337E00F}"/>
                  </a:ext>
                </a:extLst>
              </p:cNvPr>
              <p:cNvSpPr txBox="1"/>
              <p:nvPr/>
            </p:nvSpPr>
            <p:spPr bwMode="auto">
              <a:xfrm>
                <a:off x="673100" y="1237334"/>
                <a:ext cx="3228944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34" name="iṡļîďè">
              <a:extLst>
                <a:ext uri="{FF2B5EF4-FFF2-40B4-BE49-F238E27FC236}">
                  <a16:creationId xmlns:a16="http://schemas.microsoft.com/office/drawing/2014/main" id="{B657BD48-56ED-4FD7-9179-C773374DAAFE}"/>
                </a:ext>
              </a:extLst>
            </p:cNvPr>
            <p:cNvGrpSpPr/>
            <p:nvPr/>
          </p:nvGrpSpPr>
          <p:grpSpPr>
            <a:xfrm>
              <a:off x="673100" y="3840709"/>
              <a:ext cx="3031153" cy="1111889"/>
              <a:chOff x="673100" y="1237334"/>
              <a:chExt cx="3228944" cy="1111889"/>
            </a:xfrm>
          </p:grpSpPr>
          <p:sp>
            <p:nvSpPr>
              <p:cNvPr id="41" name="ïṧļidé">
                <a:extLst>
                  <a:ext uri="{FF2B5EF4-FFF2-40B4-BE49-F238E27FC236}">
                    <a16:creationId xmlns:a16="http://schemas.microsoft.com/office/drawing/2014/main" id="{31418F22-791D-42E4-B878-A8AC34F1BB91}"/>
                  </a:ext>
                </a:extLst>
              </p:cNvPr>
              <p:cNvSpPr/>
              <p:nvPr/>
            </p:nvSpPr>
            <p:spPr bwMode="auto">
              <a:xfrm>
                <a:off x="673100" y="1624932"/>
                <a:ext cx="3228944" cy="7242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42" name="íṡḷídè">
                <a:extLst>
                  <a:ext uri="{FF2B5EF4-FFF2-40B4-BE49-F238E27FC236}">
                    <a16:creationId xmlns:a16="http://schemas.microsoft.com/office/drawing/2014/main" id="{C2778CB3-5B3A-4BF6-8899-D39160B971AE}"/>
                  </a:ext>
                </a:extLst>
              </p:cNvPr>
              <p:cNvSpPr txBox="1"/>
              <p:nvPr/>
            </p:nvSpPr>
            <p:spPr bwMode="auto">
              <a:xfrm>
                <a:off x="673100" y="1237334"/>
                <a:ext cx="3228944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35" name="ïṣḻiḋê">
              <a:extLst>
                <a:ext uri="{FF2B5EF4-FFF2-40B4-BE49-F238E27FC236}">
                  <a16:creationId xmlns:a16="http://schemas.microsoft.com/office/drawing/2014/main" id="{0051CACD-2D7B-445F-8CD4-3AA519F500BC}"/>
                </a:ext>
              </a:extLst>
            </p:cNvPr>
            <p:cNvGrpSpPr/>
            <p:nvPr/>
          </p:nvGrpSpPr>
          <p:grpSpPr>
            <a:xfrm>
              <a:off x="673100" y="2324502"/>
              <a:ext cx="3031153" cy="1111889"/>
              <a:chOff x="673100" y="1237334"/>
              <a:chExt cx="3228944" cy="1111889"/>
            </a:xfrm>
          </p:grpSpPr>
          <p:sp>
            <p:nvSpPr>
              <p:cNvPr id="39" name="ïśḷîde">
                <a:extLst>
                  <a:ext uri="{FF2B5EF4-FFF2-40B4-BE49-F238E27FC236}">
                    <a16:creationId xmlns:a16="http://schemas.microsoft.com/office/drawing/2014/main" id="{C9ABED75-FFF5-49C9-AD86-75A677FB408C}"/>
                  </a:ext>
                </a:extLst>
              </p:cNvPr>
              <p:cNvSpPr/>
              <p:nvPr/>
            </p:nvSpPr>
            <p:spPr bwMode="auto">
              <a:xfrm>
                <a:off x="673100" y="1624932"/>
                <a:ext cx="3228944" cy="7242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40" name="iṩliḋé">
                <a:extLst>
                  <a:ext uri="{FF2B5EF4-FFF2-40B4-BE49-F238E27FC236}">
                    <a16:creationId xmlns:a16="http://schemas.microsoft.com/office/drawing/2014/main" id="{CD4B6DC7-B3B4-4657-892A-0B9288D772FA}"/>
                  </a:ext>
                </a:extLst>
              </p:cNvPr>
              <p:cNvSpPr txBox="1"/>
              <p:nvPr/>
            </p:nvSpPr>
            <p:spPr bwMode="auto">
              <a:xfrm>
                <a:off x="673100" y="1237334"/>
                <a:ext cx="3228944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cxnSp>
          <p:nvCxnSpPr>
            <p:cNvPr id="36" name="îšḻide">
              <a:extLst>
                <a:ext uri="{FF2B5EF4-FFF2-40B4-BE49-F238E27FC236}">
                  <a16:creationId xmlns:a16="http://schemas.microsoft.com/office/drawing/2014/main" id="{30728802-6304-4954-9505-C7A876DDEEC2}"/>
                </a:ext>
              </a:extLst>
            </p:cNvPr>
            <p:cNvCxnSpPr/>
            <p:nvPr/>
          </p:nvCxnSpPr>
          <p:spPr>
            <a:xfrm>
              <a:off x="669925" y="3580411"/>
              <a:ext cx="2822305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îšļíḓè">
              <a:extLst>
                <a:ext uri="{FF2B5EF4-FFF2-40B4-BE49-F238E27FC236}">
                  <a16:creationId xmlns:a16="http://schemas.microsoft.com/office/drawing/2014/main" id="{2D0A5CFA-1B5C-458F-8A45-2EF88B66FF99}"/>
                </a:ext>
              </a:extLst>
            </p:cNvPr>
            <p:cNvCxnSpPr/>
            <p:nvPr/>
          </p:nvCxnSpPr>
          <p:spPr>
            <a:xfrm>
              <a:off x="8696595" y="3580411"/>
              <a:ext cx="2822305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íş1îdé">
              <a:extLst>
                <a:ext uri="{FF2B5EF4-FFF2-40B4-BE49-F238E27FC236}">
                  <a16:creationId xmlns:a16="http://schemas.microsoft.com/office/drawing/2014/main" id="{7E053E34-AB74-4C8C-8088-1FD8C07B7612}"/>
                </a:ext>
              </a:extLst>
            </p:cNvPr>
            <p:cNvSpPr/>
            <p:nvPr/>
          </p:nvSpPr>
          <p:spPr bwMode="auto">
            <a:xfrm>
              <a:off x="5769624" y="3317888"/>
              <a:ext cx="640054" cy="628624"/>
            </a:xfrm>
            <a:custGeom>
              <a:avLst/>
              <a:gdLst>
                <a:gd name="connsiteX0" fmla="*/ 342900 w 533400"/>
                <a:gd name="connsiteY0" fmla="*/ 276225 h 523875"/>
                <a:gd name="connsiteX1" fmla="*/ 371475 w 533400"/>
                <a:gd name="connsiteY1" fmla="*/ 304800 h 523875"/>
                <a:gd name="connsiteX2" fmla="*/ 371475 w 533400"/>
                <a:gd name="connsiteY2" fmla="*/ 495300 h 523875"/>
                <a:gd name="connsiteX3" fmla="*/ 342900 w 533400"/>
                <a:gd name="connsiteY3" fmla="*/ 523875 h 523875"/>
                <a:gd name="connsiteX4" fmla="*/ 190500 w 533400"/>
                <a:gd name="connsiteY4" fmla="*/ 523875 h 523875"/>
                <a:gd name="connsiteX5" fmla="*/ 161925 w 533400"/>
                <a:gd name="connsiteY5" fmla="*/ 495300 h 523875"/>
                <a:gd name="connsiteX6" fmla="*/ 161925 w 533400"/>
                <a:gd name="connsiteY6" fmla="*/ 304800 h 523875"/>
                <a:gd name="connsiteX7" fmla="*/ 190500 w 533400"/>
                <a:gd name="connsiteY7" fmla="*/ 276225 h 523875"/>
                <a:gd name="connsiteX8" fmla="*/ 342900 w 533400"/>
                <a:gd name="connsiteY8" fmla="*/ 276225 h 523875"/>
                <a:gd name="connsiteX9" fmla="*/ 142875 w 533400"/>
                <a:gd name="connsiteY9" fmla="*/ 114300 h 523875"/>
                <a:gd name="connsiteX10" fmla="*/ 179070 w 533400"/>
                <a:gd name="connsiteY10" fmla="*/ 152400 h 523875"/>
                <a:gd name="connsiteX11" fmla="*/ 180975 w 533400"/>
                <a:gd name="connsiteY11" fmla="*/ 152400 h 523875"/>
                <a:gd name="connsiteX12" fmla="*/ 352425 w 533400"/>
                <a:gd name="connsiteY12" fmla="*/ 152400 h 523875"/>
                <a:gd name="connsiteX13" fmla="*/ 390525 w 533400"/>
                <a:gd name="connsiteY13" fmla="*/ 116205 h 523875"/>
                <a:gd name="connsiteX14" fmla="*/ 390525 w 533400"/>
                <a:gd name="connsiteY14" fmla="*/ 114300 h 523875"/>
                <a:gd name="connsiteX15" fmla="*/ 504825 w 533400"/>
                <a:gd name="connsiteY15" fmla="*/ 114300 h 523875"/>
                <a:gd name="connsiteX16" fmla="*/ 533400 w 533400"/>
                <a:gd name="connsiteY16" fmla="*/ 142875 h 523875"/>
                <a:gd name="connsiteX17" fmla="*/ 533400 w 533400"/>
                <a:gd name="connsiteY17" fmla="*/ 381000 h 523875"/>
                <a:gd name="connsiteX18" fmla="*/ 504825 w 533400"/>
                <a:gd name="connsiteY18" fmla="*/ 409575 h 523875"/>
                <a:gd name="connsiteX19" fmla="*/ 390525 w 533400"/>
                <a:gd name="connsiteY19" fmla="*/ 409575 h 523875"/>
                <a:gd name="connsiteX20" fmla="*/ 390525 w 533400"/>
                <a:gd name="connsiteY20" fmla="*/ 295275 h 523875"/>
                <a:gd name="connsiteX21" fmla="*/ 354330 w 533400"/>
                <a:gd name="connsiteY21" fmla="*/ 257175 h 523875"/>
                <a:gd name="connsiteX22" fmla="*/ 352425 w 533400"/>
                <a:gd name="connsiteY22" fmla="*/ 257175 h 523875"/>
                <a:gd name="connsiteX23" fmla="*/ 180975 w 533400"/>
                <a:gd name="connsiteY23" fmla="*/ 257175 h 523875"/>
                <a:gd name="connsiteX24" fmla="*/ 142875 w 533400"/>
                <a:gd name="connsiteY24" fmla="*/ 293370 h 523875"/>
                <a:gd name="connsiteX25" fmla="*/ 142875 w 533400"/>
                <a:gd name="connsiteY25" fmla="*/ 295275 h 523875"/>
                <a:gd name="connsiteX26" fmla="*/ 142875 w 533400"/>
                <a:gd name="connsiteY26" fmla="*/ 409575 h 523875"/>
                <a:gd name="connsiteX27" fmla="*/ 28575 w 533400"/>
                <a:gd name="connsiteY27" fmla="*/ 409575 h 523875"/>
                <a:gd name="connsiteX28" fmla="*/ 0 w 533400"/>
                <a:gd name="connsiteY28" fmla="*/ 381000 h 523875"/>
                <a:gd name="connsiteX29" fmla="*/ 0 w 533400"/>
                <a:gd name="connsiteY29" fmla="*/ 200787 h 523875"/>
                <a:gd name="connsiteX30" fmla="*/ 10287 w 533400"/>
                <a:gd name="connsiteY30" fmla="*/ 174784 h 523875"/>
                <a:gd name="connsiteX31" fmla="*/ 55436 w 533400"/>
                <a:gd name="connsiteY31" fmla="*/ 126397 h 523875"/>
                <a:gd name="connsiteX32" fmla="*/ 83248 w 533400"/>
                <a:gd name="connsiteY32" fmla="*/ 114300 h 523875"/>
                <a:gd name="connsiteX33" fmla="*/ 142875 w 533400"/>
                <a:gd name="connsiteY33" fmla="*/ 114300 h 523875"/>
                <a:gd name="connsiteX34" fmla="*/ 461963 w 533400"/>
                <a:gd name="connsiteY34" fmla="*/ 171450 h 523875"/>
                <a:gd name="connsiteX35" fmla="*/ 447675 w 533400"/>
                <a:gd name="connsiteY35" fmla="*/ 185738 h 523875"/>
                <a:gd name="connsiteX36" fmla="*/ 461963 w 533400"/>
                <a:gd name="connsiteY36" fmla="*/ 200025 h 523875"/>
                <a:gd name="connsiteX37" fmla="*/ 476250 w 533400"/>
                <a:gd name="connsiteY37" fmla="*/ 185738 h 523875"/>
                <a:gd name="connsiteX38" fmla="*/ 461963 w 533400"/>
                <a:gd name="connsiteY38" fmla="*/ 171450 h 523875"/>
                <a:gd name="connsiteX39" fmla="*/ 342900 w 533400"/>
                <a:gd name="connsiteY39" fmla="*/ 0 h 523875"/>
                <a:gd name="connsiteX40" fmla="*/ 371475 w 533400"/>
                <a:gd name="connsiteY40" fmla="*/ 28575 h 523875"/>
                <a:gd name="connsiteX41" fmla="*/ 371475 w 533400"/>
                <a:gd name="connsiteY41" fmla="*/ 104775 h 523875"/>
                <a:gd name="connsiteX42" fmla="*/ 342900 w 533400"/>
                <a:gd name="connsiteY42" fmla="*/ 133350 h 523875"/>
                <a:gd name="connsiteX43" fmla="*/ 190500 w 533400"/>
                <a:gd name="connsiteY43" fmla="*/ 133350 h 523875"/>
                <a:gd name="connsiteX44" fmla="*/ 161925 w 533400"/>
                <a:gd name="connsiteY44" fmla="*/ 104775 h 523875"/>
                <a:gd name="connsiteX45" fmla="*/ 161925 w 533400"/>
                <a:gd name="connsiteY45" fmla="*/ 28575 h 523875"/>
                <a:gd name="connsiteX46" fmla="*/ 190500 w 533400"/>
                <a:gd name="connsiteY46" fmla="*/ 0 h 523875"/>
                <a:gd name="connsiteX47" fmla="*/ 342900 w 533400"/>
                <a:gd name="connsiteY47" fmla="*/ 0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533400" h="523875">
                  <a:moveTo>
                    <a:pt x="342900" y="276225"/>
                  </a:moveTo>
                  <a:cubicBezTo>
                    <a:pt x="358711" y="276225"/>
                    <a:pt x="371475" y="288989"/>
                    <a:pt x="371475" y="304800"/>
                  </a:cubicBezTo>
                  <a:lnTo>
                    <a:pt x="371475" y="495300"/>
                  </a:lnTo>
                  <a:cubicBezTo>
                    <a:pt x="371475" y="511112"/>
                    <a:pt x="358711" y="523875"/>
                    <a:pt x="342900" y="523875"/>
                  </a:cubicBezTo>
                  <a:lnTo>
                    <a:pt x="190500" y="523875"/>
                  </a:lnTo>
                  <a:cubicBezTo>
                    <a:pt x="174689" y="523875"/>
                    <a:pt x="161925" y="511112"/>
                    <a:pt x="161925" y="495300"/>
                  </a:cubicBezTo>
                  <a:lnTo>
                    <a:pt x="161925" y="304800"/>
                  </a:lnTo>
                  <a:cubicBezTo>
                    <a:pt x="161925" y="288989"/>
                    <a:pt x="174689" y="276225"/>
                    <a:pt x="190500" y="276225"/>
                  </a:cubicBezTo>
                  <a:lnTo>
                    <a:pt x="342900" y="276225"/>
                  </a:lnTo>
                  <a:close/>
                  <a:moveTo>
                    <a:pt x="142875" y="114300"/>
                  </a:moveTo>
                  <a:cubicBezTo>
                    <a:pt x="142875" y="134684"/>
                    <a:pt x="158877" y="151352"/>
                    <a:pt x="179070" y="152400"/>
                  </a:cubicBezTo>
                  <a:lnTo>
                    <a:pt x="180975" y="152400"/>
                  </a:lnTo>
                  <a:lnTo>
                    <a:pt x="352425" y="152400"/>
                  </a:lnTo>
                  <a:cubicBezTo>
                    <a:pt x="372809" y="152400"/>
                    <a:pt x="389477" y="136398"/>
                    <a:pt x="390525" y="116205"/>
                  </a:cubicBezTo>
                  <a:lnTo>
                    <a:pt x="390525" y="114300"/>
                  </a:lnTo>
                  <a:lnTo>
                    <a:pt x="504825" y="114300"/>
                  </a:lnTo>
                  <a:cubicBezTo>
                    <a:pt x="520636" y="114300"/>
                    <a:pt x="533400" y="127064"/>
                    <a:pt x="533400" y="142875"/>
                  </a:cubicBezTo>
                  <a:lnTo>
                    <a:pt x="533400" y="381000"/>
                  </a:lnTo>
                  <a:cubicBezTo>
                    <a:pt x="533400" y="396812"/>
                    <a:pt x="520636" y="409575"/>
                    <a:pt x="504825" y="409575"/>
                  </a:cubicBezTo>
                  <a:lnTo>
                    <a:pt x="390525" y="409575"/>
                  </a:lnTo>
                  <a:lnTo>
                    <a:pt x="390525" y="295275"/>
                  </a:lnTo>
                  <a:cubicBezTo>
                    <a:pt x="390525" y="274892"/>
                    <a:pt x="374523" y="258223"/>
                    <a:pt x="354330" y="257175"/>
                  </a:cubicBezTo>
                  <a:lnTo>
                    <a:pt x="352425" y="257175"/>
                  </a:lnTo>
                  <a:lnTo>
                    <a:pt x="180975" y="257175"/>
                  </a:lnTo>
                  <a:cubicBezTo>
                    <a:pt x="160591" y="257175"/>
                    <a:pt x="143923" y="273177"/>
                    <a:pt x="142875" y="293370"/>
                  </a:cubicBezTo>
                  <a:lnTo>
                    <a:pt x="142875" y="295275"/>
                  </a:lnTo>
                  <a:lnTo>
                    <a:pt x="142875" y="409575"/>
                  </a:lnTo>
                  <a:lnTo>
                    <a:pt x="28575" y="409575"/>
                  </a:lnTo>
                  <a:cubicBezTo>
                    <a:pt x="12763" y="409575"/>
                    <a:pt x="0" y="396812"/>
                    <a:pt x="0" y="381000"/>
                  </a:cubicBezTo>
                  <a:lnTo>
                    <a:pt x="0" y="200787"/>
                  </a:lnTo>
                  <a:cubicBezTo>
                    <a:pt x="0" y="191167"/>
                    <a:pt x="3620" y="181832"/>
                    <a:pt x="10287" y="174784"/>
                  </a:cubicBezTo>
                  <a:lnTo>
                    <a:pt x="55436" y="126397"/>
                  </a:lnTo>
                  <a:cubicBezTo>
                    <a:pt x="62675" y="118682"/>
                    <a:pt x="72771" y="114300"/>
                    <a:pt x="83248" y="114300"/>
                  </a:cubicBezTo>
                  <a:lnTo>
                    <a:pt x="142875" y="114300"/>
                  </a:lnTo>
                  <a:close/>
                  <a:moveTo>
                    <a:pt x="461963" y="171450"/>
                  </a:moveTo>
                  <a:cubicBezTo>
                    <a:pt x="454057" y="171450"/>
                    <a:pt x="447675" y="177832"/>
                    <a:pt x="447675" y="185738"/>
                  </a:cubicBezTo>
                  <a:cubicBezTo>
                    <a:pt x="447675" y="193643"/>
                    <a:pt x="454057" y="200025"/>
                    <a:pt x="461963" y="200025"/>
                  </a:cubicBezTo>
                  <a:cubicBezTo>
                    <a:pt x="469868" y="200025"/>
                    <a:pt x="476250" y="193643"/>
                    <a:pt x="476250" y="185738"/>
                  </a:cubicBezTo>
                  <a:cubicBezTo>
                    <a:pt x="476250" y="177832"/>
                    <a:pt x="469868" y="171450"/>
                    <a:pt x="461963" y="171450"/>
                  </a:cubicBezTo>
                  <a:close/>
                  <a:moveTo>
                    <a:pt x="342900" y="0"/>
                  </a:moveTo>
                  <a:cubicBezTo>
                    <a:pt x="358711" y="0"/>
                    <a:pt x="371475" y="12763"/>
                    <a:pt x="371475" y="28575"/>
                  </a:cubicBezTo>
                  <a:lnTo>
                    <a:pt x="371475" y="104775"/>
                  </a:lnTo>
                  <a:cubicBezTo>
                    <a:pt x="371475" y="120587"/>
                    <a:pt x="358711" y="133350"/>
                    <a:pt x="342900" y="133350"/>
                  </a:cubicBezTo>
                  <a:lnTo>
                    <a:pt x="190500" y="133350"/>
                  </a:lnTo>
                  <a:cubicBezTo>
                    <a:pt x="174689" y="133350"/>
                    <a:pt x="161925" y="120587"/>
                    <a:pt x="161925" y="104775"/>
                  </a:cubicBezTo>
                  <a:lnTo>
                    <a:pt x="161925" y="28575"/>
                  </a:lnTo>
                  <a:cubicBezTo>
                    <a:pt x="161925" y="12763"/>
                    <a:pt x="174689" y="0"/>
                    <a:pt x="190500" y="0"/>
                  </a:cubicBezTo>
                  <a:lnTo>
                    <a:pt x="34290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5434840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ş1î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śḷîďé">
            <a:extLst>
              <a:ext uri="{FF2B5EF4-FFF2-40B4-BE49-F238E27FC236}">
                <a16:creationId xmlns:a16="http://schemas.microsoft.com/office/drawing/2014/main" id="{E1EB56BC-C820-421F-9CC2-71B51990F4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î$liďe">
            <a:extLst>
              <a:ext uri="{FF2B5EF4-FFF2-40B4-BE49-F238E27FC236}">
                <a16:creationId xmlns:a16="http://schemas.microsoft.com/office/drawing/2014/main" id="{591EECEC-1A58-4D31-A737-22726F2FB0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îŝľïḓè">
            <a:extLst>
              <a:ext uri="{FF2B5EF4-FFF2-40B4-BE49-F238E27FC236}">
                <a16:creationId xmlns:a16="http://schemas.microsoft.com/office/drawing/2014/main" id="{B43C1E0A-621F-41A2-A132-365AFAEFB5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grpSp>
        <p:nvGrpSpPr>
          <p:cNvPr id="167" name="iṡļíḋe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9F74DAB-BE46-4E35-A63A-B2DD230AC5DA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359340"/>
            <a:ext cx="10845800" cy="4641734"/>
            <a:chOff x="673100" y="1340096"/>
            <a:chExt cx="10845800" cy="4641734"/>
          </a:xfrm>
        </p:grpSpPr>
        <p:sp>
          <p:nvSpPr>
            <p:cNvPr id="168" name="ïṥľîdè">
              <a:extLst>
                <a:ext uri="{FF2B5EF4-FFF2-40B4-BE49-F238E27FC236}">
                  <a16:creationId xmlns:a16="http://schemas.microsoft.com/office/drawing/2014/main" id="{63F5E3EB-0117-447D-A7EE-0FE90FFD0BAB}"/>
                </a:ext>
              </a:extLst>
            </p:cNvPr>
            <p:cNvSpPr/>
            <p:nvPr/>
          </p:nvSpPr>
          <p:spPr>
            <a:xfrm>
              <a:off x="673100" y="4490068"/>
              <a:ext cx="10845800" cy="524953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/>
            </a:p>
          </p:txBody>
        </p:sp>
        <p:cxnSp>
          <p:nvCxnSpPr>
            <p:cNvPr id="169" name="íšḻiḑê">
              <a:extLst>
                <a:ext uri="{FF2B5EF4-FFF2-40B4-BE49-F238E27FC236}">
                  <a16:creationId xmlns:a16="http://schemas.microsoft.com/office/drawing/2014/main" id="{E0FB723E-1800-4CBC-BB32-969C189E91ED}"/>
                </a:ext>
              </a:extLst>
            </p:cNvPr>
            <p:cNvCxnSpPr/>
            <p:nvPr/>
          </p:nvCxnSpPr>
          <p:spPr>
            <a:xfrm>
              <a:off x="1479956" y="3152158"/>
              <a:ext cx="0" cy="130866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0" name="íşḻiďé">
              <a:extLst>
                <a:ext uri="{FF2B5EF4-FFF2-40B4-BE49-F238E27FC236}">
                  <a16:creationId xmlns:a16="http://schemas.microsoft.com/office/drawing/2014/main" id="{B40F5E8D-FBEB-4054-86D5-66BEF7C4392C}"/>
                </a:ext>
              </a:extLst>
            </p:cNvPr>
            <p:cNvSpPr txBox="1"/>
            <p:nvPr/>
          </p:nvSpPr>
          <p:spPr>
            <a:xfrm>
              <a:off x="673100" y="5015021"/>
              <a:ext cx="1613711" cy="96680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/>
                <a:t>Supporting 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/>
                <a:t>Supporting text </a:t>
              </a:r>
              <a:r>
                <a:rPr lang="en-US" altLang="zh-CN" sz="1000"/>
                <a:t>here.</a:t>
              </a:r>
              <a:endParaRPr lang="en-US" altLang="zh-CN" sz="100" dirty="0"/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/>
                <a:t>……</a:t>
              </a:r>
            </a:p>
          </p:txBody>
        </p:sp>
        <p:sp>
          <p:nvSpPr>
            <p:cNvPr id="171" name="is1ïdè">
              <a:extLst>
                <a:ext uri="{FF2B5EF4-FFF2-40B4-BE49-F238E27FC236}">
                  <a16:creationId xmlns:a16="http://schemas.microsoft.com/office/drawing/2014/main" id="{BEB01CB8-45EE-4952-B9E1-977715255145}"/>
                </a:ext>
              </a:extLst>
            </p:cNvPr>
            <p:cNvSpPr/>
            <p:nvPr/>
          </p:nvSpPr>
          <p:spPr>
            <a:xfrm>
              <a:off x="881935" y="2749644"/>
              <a:ext cx="1196041" cy="347828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200" b="1">
                  <a:solidFill>
                    <a:schemeClr val="bg1"/>
                  </a:solidFill>
                </a:rPr>
                <a:t>Text</a:t>
              </a:r>
              <a:endParaRPr lang="zh-CN" alt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172" name="i$lîḑé">
              <a:extLst>
                <a:ext uri="{FF2B5EF4-FFF2-40B4-BE49-F238E27FC236}">
                  <a16:creationId xmlns:a16="http://schemas.microsoft.com/office/drawing/2014/main" id="{F873719B-D8D8-459B-BFA0-6C34D395DCBB}"/>
                </a:ext>
              </a:extLst>
            </p:cNvPr>
            <p:cNvSpPr/>
            <p:nvPr/>
          </p:nvSpPr>
          <p:spPr>
            <a:xfrm>
              <a:off x="881935" y="4556937"/>
              <a:ext cx="1196041" cy="391215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400" b="1">
                  <a:solidFill>
                    <a:schemeClr val="tx1"/>
                  </a:solidFill>
                </a:rPr>
                <a:t>2015</a:t>
              </a:r>
              <a:endParaRPr lang="zh-CN" altLang="en-US" sz="1400" b="1" dirty="0">
                <a:solidFill>
                  <a:schemeClr val="tx1"/>
                </a:solidFill>
              </a:endParaRPr>
            </a:p>
          </p:txBody>
        </p:sp>
        <p:sp>
          <p:nvSpPr>
            <p:cNvPr id="173" name="i$1ïḑè">
              <a:extLst>
                <a:ext uri="{FF2B5EF4-FFF2-40B4-BE49-F238E27FC236}">
                  <a16:creationId xmlns:a16="http://schemas.microsoft.com/office/drawing/2014/main" id="{B40F5E8D-FBEB-4054-86D5-66BEF7C4392C}"/>
                </a:ext>
              </a:extLst>
            </p:cNvPr>
            <p:cNvSpPr txBox="1"/>
            <p:nvPr/>
          </p:nvSpPr>
          <p:spPr>
            <a:xfrm>
              <a:off x="2738561" y="5015021"/>
              <a:ext cx="1613711" cy="96680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/>
                <a:t>Supporting text</a:t>
              </a:r>
              <a:r>
                <a:rPr lang="en-US" altLang="zh-CN" sz="1000" dirty="0"/>
                <a:t>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/>
                <a:t>Supporting 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/>
                <a:t>……</a:t>
              </a:r>
            </a:p>
          </p:txBody>
        </p:sp>
        <p:sp>
          <p:nvSpPr>
            <p:cNvPr id="174" name="iš1ïḓe">
              <a:extLst>
                <a:ext uri="{FF2B5EF4-FFF2-40B4-BE49-F238E27FC236}">
                  <a16:creationId xmlns:a16="http://schemas.microsoft.com/office/drawing/2014/main" id="{E053A017-E670-4090-A813-44A06E6E2D35}"/>
                </a:ext>
              </a:extLst>
            </p:cNvPr>
            <p:cNvSpPr/>
            <p:nvPr/>
          </p:nvSpPr>
          <p:spPr>
            <a:xfrm>
              <a:off x="2947396" y="4556937"/>
              <a:ext cx="1196041" cy="391215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400" b="1">
                  <a:solidFill>
                    <a:schemeClr val="tx1"/>
                  </a:solidFill>
                </a:rPr>
                <a:t>2016</a:t>
              </a:r>
              <a:endParaRPr lang="zh-CN" altLang="en-US" sz="1400" b="1" dirty="0">
                <a:solidFill>
                  <a:schemeClr val="tx1"/>
                </a:solidFill>
              </a:endParaRPr>
            </a:p>
          </p:txBody>
        </p:sp>
        <p:cxnSp>
          <p:nvCxnSpPr>
            <p:cNvPr id="175" name="íṡ1îḍé">
              <a:extLst>
                <a:ext uri="{FF2B5EF4-FFF2-40B4-BE49-F238E27FC236}">
                  <a16:creationId xmlns:a16="http://schemas.microsoft.com/office/drawing/2014/main" id="{6D020018-D83D-449D-AD9E-04A49455DEE5}"/>
                </a:ext>
              </a:extLst>
            </p:cNvPr>
            <p:cNvCxnSpPr/>
            <p:nvPr/>
          </p:nvCxnSpPr>
          <p:spPr>
            <a:xfrm>
              <a:off x="5610878" y="3152158"/>
              <a:ext cx="0" cy="130866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6" name="íSļide">
              <a:extLst>
                <a:ext uri="{FF2B5EF4-FFF2-40B4-BE49-F238E27FC236}">
                  <a16:creationId xmlns:a16="http://schemas.microsoft.com/office/drawing/2014/main" id="{B40F5E8D-FBEB-4054-86D5-66BEF7C4392C}"/>
                </a:ext>
              </a:extLst>
            </p:cNvPr>
            <p:cNvSpPr txBox="1"/>
            <p:nvPr/>
          </p:nvSpPr>
          <p:spPr>
            <a:xfrm>
              <a:off x="4804022" y="5015021"/>
              <a:ext cx="1613711" cy="96680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/>
                <a:t>Supporting text</a:t>
              </a:r>
              <a:r>
                <a:rPr lang="en-US" altLang="zh-CN" sz="1000" dirty="0"/>
                <a:t>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/>
                <a:t>Supporting 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/>
                <a:t>……</a:t>
              </a:r>
            </a:p>
          </p:txBody>
        </p:sp>
        <p:sp>
          <p:nvSpPr>
            <p:cNvPr id="177" name="ïşļïḑê">
              <a:extLst>
                <a:ext uri="{FF2B5EF4-FFF2-40B4-BE49-F238E27FC236}">
                  <a16:creationId xmlns:a16="http://schemas.microsoft.com/office/drawing/2014/main" id="{C8B2DBF1-3F97-4C3F-AB84-7DF9D0C707E6}"/>
                </a:ext>
              </a:extLst>
            </p:cNvPr>
            <p:cNvSpPr/>
            <p:nvPr/>
          </p:nvSpPr>
          <p:spPr>
            <a:xfrm>
              <a:off x="5012857" y="2749644"/>
              <a:ext cx="1196041" cy="347828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200" b="1">
                  <a:solidFill>
                    <a:schemeClr val="bg1"/>
                  </a:solidFill>
                </a:rPr>
                <a:t>Text</a:t>
              </a:r>
              <a:endParaRPr lang="zh-CN" alt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178" name="išlídè">
              <a:extLst>
                <a:ext uri="{FF2B5EF4-FFF2-40B4-BE49-F238E27FC236}">
                  <a16:creationId xmlns:a16="http://schemas.microsoft.com/office/drawing/2014/main" id="{62D4C41C-6B23-4855-B30C-A84A0B1BCE7D}"/>
                </a:ext>
              </a:extLst>
            </p:cNvPr>
            <p:cNvSpPr/>
            <p:nvPr/>
          </p:nvSpPr>
          <p:spPr>
            <a:xfrm>
              <a:off x="5012857" y="4556937"/>
              <a:ext cx="1196041" cy="391215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400" b="1">
                  <a:solidFill>
                    <a:schemeClr val="tx1"/>
                  </a:solidFill>
                </a:rPr>
                <a:t>2017</a:t>
              </a:r>
              <a:endParaRPr lang="zh-CN" altLang="en-US" sz="1400" b="1" dirty="0">
                <a:solidFill>
                  <a:schemeClr val="tx1"/>
                </a:solidFill>
              </a:endParaRPr>
            </a:p>
          </p:txBody>
        </p:sp>
        <p:cxnSp>
          <p:nvCxnSpPr>
            <p:cNvPr id="179" name="ïṥľîďê">
              <a:extLst>
                <a:ext uri="{FF2B5EF4-FFF2-40B4-BE49-F238E27FC236}">
                  <a16:creationId xmlns:a16="http://schemas.microsoft.com/office/drawing/2014/main" id="{70BED330-5CE9-4093-83FA-016E477DEDE2}"/>
                </a:ext>
              </a:extLst>
            </p:cNvPr>
            <p:cNvCxnSpPr/>
            <p:nvPr/>
          </p:nvCxnSpPr>
          <p:spPr>
            <a:xfrm>
              <a:off x="3545417" y="2203882"/>
              <a:ext cx="0" cy="2256936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íśľiḑé">
              <a:extLst>
                <a:ext uri="{FF2B5EF4-FFF2-40B4-BE49-F238E27FC236}">
                  <a16:creationId xmlns:a16="http://schemas.microsoft.com/office/drawing/2014/main" id="{366E308D-D994-48F7-A581-A2C87B82B173}"/>
                </a:ext>
              </a:extLst>
            </p:cNvPr>
            <p:cNvCxnSpPr/>
            <p:nvPr/>
          </p:nvCxnSpPr>
          <p:spPr>
            <a:xfrm>
              <a:off x="7676339" y="2203882"/>
              <a:ext cx="0" cy="2256936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1" name="íṡḷîdé">
              <a:extLst>
                <a:ext uri="{FF2B5EF4-FFF2-40B4-BE49-F238E27FC236}">
                  <a16:creationId xmlns:a16="http://schemas.microsoft.com/office/drawing/2014/main" id="{B40F5E8D-FBEB-4054-86D5-66BEF7C4392C}"/>
                </a:ext>
              </a:extLst>
            </p:cNvPr>
            <p:cNvSpPr txBox="1"/>
            <p:nvPr/>
          </p:nvSpPr>
          <p:spPr>
            <a:xfrm>
              <a:off x="6869483" y="5015021"/>
              <a:ext cx="1613711" cy="96680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/>
                <a:t>Supporting </a:t>
              </a:r>
              <a:r>
                <a:rPr lang="en-US" altLang="zh-CN" sz="1000" dirty="0"/>
                <a:t>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/>
                <a:t>Supporting 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/>
                <a:t>……</a:t>
              </a:r>
            </a:p>
          </p:txBody>
        </p:sp>
        <p:sp>
          <p:nvSpPr>
            <p:cNvPr id="182" name="iS1ïďé">
              <a:extLst>
                <a:ext uri="{FF2B5EF4-FFF2-40B4-BE49-F238E27FC236}">
                  <a16:creationId xmlns:a16="http://schemas.microsoft.com/office/drawing/2014/main" id="{FA58A457-91A4-452E-AAF9-6AB93E52E7CC}"/>
                </a:ext>
              </a:extLst>
            </p:cNvPr>
            <p:cNvSpPr/>
            <p:nvPr/>
          </p:nvSpPr>
          <p:spPr>
            <a:xfrm>
              <a:off x="2947396" y="1801368"/>
              <a:ext cx="1196041" cy="347828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200" b="1">
                  <a:solidFill>
                    <a:schemeClr val="bg1"/>
                  </a:solidFill>
                </a:rPr>
                <a:t>Text</a:t>
              </a:r>
              <a:endParaRPr lang="zh-CN" alt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183" name="ï$liďê">
              <a:extLst>
                <a:ext uri="{FF2B5EF4-FFF2-40B4-BE49-F238E27FC236}">
                  <a16:creationId xmlns:a16="http://schemas.microsoft.com/office/drawing/2014/main" id="{B86197FF-E0EC-442C-8544-A6ECC652B1EB}"/>
                </a:ext>
              </a:extLst>
            </p:cNvPr>
            <p:cNvSpPr/>
            <p:nvPr/>
          </p:nvSpPr>
          <p:spPr>
            <a:xfrm>
              <a:off x="7078318" y="1801368"/>
              <a:ext cx="1196041" cy="347828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200" b="1">
                  <a:solidFill>
                    <a:schemeClr val="bg1"/>
                  </a:solidFill>
                </a:rPr>
                <a:t>Text</a:t>
              </a:r>
              <a:endParaRPr lang="zh-CN" alt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184" name="ïšlïďê">
              <a:extLst>
                <a:ext uri="{FF2B5EF4-FFF2-40B4-BE49-F238E27FC236}">
                  <a16:creationId xmlns:a16="http://schemas.microsoft.com/office/drawing/2014/main" id="{56F1C4F0-AE96-43E3-99BD-4AB1225D0656}"/>
                </a:ext>
              </a:extLst>
            </p:cNvPr>
            <p:cNvSpPr/>
            <p:nvPr/>
          </p:nvSpPr>
          <p:spPr>
            <a:xfrm>
              <a:off x="7078318" y="4556937"/>
              <a:ext cx="1196041" cy="391215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400" b="1">
                  <a:solidFill>
                    <a:schemeClr val="tx1"/>
                  </a:solidFill>
                </a:rPr>
                <a:t>2018</a:t>
              </a:r>
              <a:endParaRPr lang="zh-CN" altLang="en-US" sz="1400" b="1" dirty="0">
                <a:solidFill>
                  <a:schemeClr val="tx1"/>
                </a:solidFill>
              </a:endParaRPr>
            </a:p>
          </p:txBody>
        </p:sp>
        <p:cxnSp>
          <p:nvCxnSpPr>
            <p:cNvPr id="185" name="íş1îḑê">
              <a:extLst>
                <a:ext uri="{FF2B5EF4-FFF2-40B4-BE49-F238E27FC236}">
                  <a16:creationId xmlns:a16="http://schemas.microsoft.com/office/drawing/2014/main" id="{1D0EAF2A-F2B2-4634-8162-FB3D1274F3C6}"/>
                </a:ext>
              </a:extLst>
            </p:cNvPr>
            <p:cNvCxnSpPr/>
            <p:nvPr/>
          </p:nvCxnSpPr>
          <p:spPr>
            <a:xfrm>
              <a:off x="9741802" y="3152158"/>
              <a:ext cx="0" cy="130866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6" name="ïṧľïḑè">
              <a:extLst>
                <a:ext uri="{FF2B5EF4-FFF2-40B4-BE49-F238E27FC236}">
                  <a16:creationId xmlns:a16="http://schemas.microsoft.com/office/drawing/2014/main" id="{B40F5E8D-FBEB-4054-86D5-66BEF7C4392C}"/>
                </a:ext>
              </a:extLst>
            </p:cNvPr>
            <p:cNvSpPr txBox="1"/>
            <p:nvPr/>
          </p:nvSpPr>
          <p:spPr>
            <a:xfrm>
              <a:off x="8934946" y="5015021"/>
              <a:ext cx="1613711" cy="96680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/>
                <a:t>Supporting </a:t>
              </a:r>
              <a:r>
                <a:rPr lang="en-US" altLang="zh-CN" sz="1000" dirty="0"/>
                <a:t>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/>
                <a:t>Supporting 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/>
                <a:t>……</a:t>
              </a:r>
            </a:p>
          </p:txBody>
        </p:sp>
        <p:sp>
          <p:nvSpPr>
            <p:cNvPr id="187" name="iṥḷîḋe">
              <a:extLst>
                <a:ext uri="{FF2B5EF4-FFF2-40B4-BE49-F238E27FC236}">
                  <a16:creationId xmlns:a16="http://schemas.microsoft.com/office/drawing/2014/main" id="{33D59F38-F307-4EB2-BB77-EB1EE087657D}"/>
                </a:ext>
              </a:extLst>
            </p:cNvPr>
            <p:cNvSpPr/>
            <p:nvPr/>
          </p:nvSpPr>
          <p:spPr>
            <a:xfrm>
              <a:off x="9143781" y="2749644"/>
              <a:ext cx="1196041" cy="347828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200" b="1">
                  <a:solidFill>
                    <a:schemeClr val="bg1"/>
                  </a:solidFill>
                </a:rPr>
                <a:t>Text</a:t>
              </a:r>
              <a:endParaRPr lang="zh-CN" alt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188" name="íşḷïḓé">
              <a:extLst>
                <a:ext uri="{FF2B5EF4-FFF2-40B4-BE49-F238E27FC236}">
                  <a16:creationId xmlns:a16="http://schemas.microsoft.com/office/drawing/2014/main" id="{74AB7032-9BC5-4E60-A9F9-2EF7CAE8EB4C}"/>
                </a:ext>
              </a:extLst>
            </p:cNvPr>
            <p:cNvSpPr/>
            <p:nvPr/>
          </p:nvSpPr>
          <p:spPr>
            <a:xfrm>
              <a:off x="9143781" y="4556937"/>
              <a:ext cx="1196041" cy="391215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400" b="1">
                  <a:solidFill>
                    <a:schemeClr val="tx1"/>
                  </a:solidFill>
                </a:rPr>
                <a:t>2019</a:t>
              </a:r>
              <a:endParaRPr lang="zh-CN" altLang="en-US" sz="1400" b="1" dirty="0">
                <a:solidFill>
                  <a:schemeClr val="tx1"/>
                </a:solidFill>
              </a:endParaRPr>
            </a:p>
          </p:txBody>
        </p:sp>
        <p:sp>
          <p:nvSpPr>
            <p:cNvPr id="189" name="îśľîḍê">
              <a:extLst>
                <a:ext uri="{FF2B5EF4-FFF2-40B4-BE49-F238E27FC236}">
                  <a16:creationId xmlns:a16="http://schemas.microsoft.com/office/drawing/2014/main" id="{8B2F8D10-299A-4FFB-9384-0F22784FC2CA}"/>
                </a:ext>
              </a:extLst>
            </p:cNvPr>
            <p:cNvSpPr/>
            <p:nvPr/>
          </p:nvSpPr>
          <p:spPr>
            <a:xfrm>
              <a:off x="1312964" y="2288371"/>
              <a:ext cx="333981" cy="406585"/>
            </a:xfrm>
            <a:custGeom>
              <a:avLst/>
              <a:gdLst>
                <a:gd name="connsiteX0" fmla="*/ 283464 w 438150"/>
                <a:gd name="connsiteY0" fmla="*/ 0 h 533400"/>
                <a:gd name="connsiteX1" fmla="*/ 285750 w 438150"/>
                <a:gd name="connsiteY1" fmla="*/ 95 h 533400"/>
                <a:gd name="connsiteX2" fmla="*/ 285750 w 438150"/>
                <a:gd name="connsiteY2" fmla="*/ 123825 h 533400"/>
                <a:gd name="connsiteX3" fmla="*/ 285845 w 438150"/>
                <a:gd name="connsiteY3" fmla="*/ 125540 h 533400"/>
                <a:gd name="connsiteX4" fmla="*/ 314325 w 438150"/>
                <a:gd name="connsiteY4" fmla="*/ 152400 h 533400"/>
                <a:gd name="connsiteX5" fmla="*/ 314325 w 438150"/>
                <a:gd name="connsiteY5" fmla="*/ 152400 h 533400"/>
                <a:gd name="connsiteX6" fmla="*/ 438055 w 438150"/>
                <a:gd name="connsiteY6" fmla="*/ 152400 h 533400"/>
                <a:gd name="connsiteX7" fmla="*/ 438150 w 438150"/>
                <a:gd name="connsiteY7" fmla="*/ 154686 h 533400"/>
                <a:gd name="connsiteX8" fmla="*/ 438150 w 438150"/>
                <a:gd name="connsiteY8" fmla="*/ 504825 h 533400"/>
                <a:gd name="connsiteX9" fmla="*/ 409575 w 438150"/>
                <a:gd name="connsiteY9" fmla="*/ 533400 h 533400"/>
                <a:gd name="connsiteX10" fmla="*/ 28575 w 438150"/>
                <a:gd name="connsiteY10" fmla="*/ 533400 h 533400"/>
                <a:gd name="connsiteX11" fmla="*/ 0 w 438150"/>
                <a:gd name="connsiteY11" fmla="*/ 504825 h 533400"/>
                <a:gd name="connsiteX12" fmla="*/ 0 w 438150"/>
                <a:gd name="connsiteY12" fmla="*/ 28575 h 533400"/>
                <a:gd name="connsiteX13" fmla="*/ 28575 w 438150"/>
                <a:gd name="connsiteY13" fmla="*/ 0 h 533400"/>
                <a:gd name="connsiteX14" fmla="*/ 283464 w 438150"/>
                <a:gd name="connsiteY14" fmla="*/ 0 h 533400"/>
                <a:gd name="connsiteX15" fmla="*/ 247650 w 438150"/>
                <a:gd name="connsiteY15" fmla="*/ 200025 h 533400"/>
                <a:gd name="connsiteX16" fmla="*/ 152400 w 438150"/>
                <a:gd name="connsiteY16" fmla="*/ 200025 h 533400"/>
                <a:gd name="connsiteX17" fmla="*/ 152400 w 438150"/>
                <a:gd name="connsiteY17" fmla="*/ 409575 h 533400"/>
                <a:gd name="connsiteX18" fmla="*/ 171450 w 438150"/>
                <a:gd name="connsiteY18" fmla="*/ 409575 h 533400"/>
                <a:gd name="connsiteX19" fmla="*/ 171450 w 438150"/>
                <a:gd name="connsiteY19" fmla="*/ 314325 h 533400"/>
                <a:gd name="connsiteX20" fmla="*/ 247650 w 438150"/>
                <a:gd name="connsiteY20" fmla="*/ 314325 h 533400"/>
                <a:gd name="connsiteX21" fmla="*/ 249746 w 438150"/>
                <a:gd name="connsiteY21" fmla="*/ 314325 h 533400"/>
                <a:gd name="connsiteX22" fmla="*/ 304800 w 438150"/>
                <a:gd name="connsiteY22" fmla="*/ 257175 h 533400"/>
                <a:gd name="connsiteX23" fmla="*/ 247650 w 438150"/>
                <a:gd name="connsiteY23" fmla="*/ 200025 h 533400"/>
                <a:gd name="connsiteX24" fmla="*/ 247650 w 438150"/>
                <a:gd name="connsiteY24" fmla="*/ 200025 h 533400"/>
                <a:gd name="connsiteX25" fmla="*/ 247650 w 438150"/>
                <a:gd name="connsiteY25" fmla="*/ 219075 h 533400"/>
                <a:gd name="connsiteX26" fmla="*/ 285750 w 438150"/>
                <a:gd name="connsiteY26" fmla="*/ 257175 h 533400"/>
                <a:gd name="connsiteX27" fmla="*/ 247650 w 438150"/>
                <a:gd name="connsiteY27" fmla="*/ 295275 h 533400"/>
                <a:gd name="connsiteX28" fmla="*/ 247650 w 438150"/>
                <a:gd name="connsiteY28" fmla="*/ 295275 h 533400"/>
                <a:gd name="connsiteX29" fmla="*/ 171450 w 438150"/>
                <a:gd name="connsiteY29" fmla="*/ 295275 h 533400"/>
                <a:gd name="connsiteX30" fmla="*/ 171450 w 438150"/>
                <a:gd name="connsiteY30" fmla="*/ 219075 h 533400"/>
                <a:gd name="connsiteX31" fmla="*/ 247650 w 438150"/>
                <a:gd name="connsiteY31" fmla="*/ 219075 h 533400"/>
                <a:gd name="connsiteX32" fmla="*/ 428625 w 438150"/>
                <a:gd name="connsiteY32" fmla="*/ 133350 h 533400"/>
                <a:gd name="connsiteX33" fmla="*/ 314325 w 438150"/>
                <a:gd name="connsiteY33" fmla="*/ 133350 h 533400"/>
                <a:gd name="connsiteX34" fmla="*/ 313182 w 438150"/>
                <a:gd name="connsiteY34" fmla="*/ 133255 h 533400"/>
                <a:gd name="connsiteX35" fmla="*/ 304800 w 438150"/>
                <a:gd name="connsiteY35" fmla="*/ 123825 h 533400"/>
                <a:gd name="connsiteX36" fmla="*/ 304800 w 438150"/>
                <a:gd name="connsiteY36" fmla="*/ 123825 h 533400"/>
                <a:gd name="connsiteX37" fmla="*/ 304800 w 438150"/>
                <a:gd name="connsiteY37" fmla="*/ 9525 h 533400"/>
                <a:gd name="connsiteX38" fmla="*/ 428625 w 438150"/>
                <a:gd name="connsiteY38" fmla="*/ 13335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38150" h="533400">
                  <a:moveTo>
                    <a:pt x="283464" y="0"/>
                  </a:moveTo>
                  <a:cubicBezTo>
                    <a:pt x="284226" y="0"/>
                    <a:pt x="284988" y="0"/>
                    <a:pt x="285750" y="95"/>
                  </a:cubicBezTo>
                  <a:lnTo>
                    <a:pt x="285750" y="123825"/>
                  </a:lnTo>
                  <a:lnTo>
                    <a:pt x="285845" y="125540"/>
                  </a:lnTo>
                  <a:cubicBezTo>
                    <a:pt x="286703" y="140494"/>
                    <a:pt x="299085" y="152400"/>
                    <a:pt x="314325" y="152400"/>
                  </a:cubicBezTo>
                  <a:lnTo>
                    <a:pt x="314325" y="152400"/>
                  </a:lnTo>
                  <a:lnTo>
                    <a:pt x="438055" y="152400"/>
                  </a:lnTo>
                  <a:cubicBezTo>
                    <a:pt x="438150" y="153162"/>
                    <a:pt x="438150" y="153924"/>
                    <a:pt x="438150" y="154686"/>
                  </a:cubicBezTo>
                  <a:lnTo>
                    <a:pt x="438150" y="504825"/>
                  </a:lnTo>
                  <a:cubicBezTo>
                    <a:pt x="438150" y="520637"/>
                    <a:pt x="425387" y="533400"/>
                    <a:pt x="409575" y="533400"/>
                  </a:cubicBezTo>
                  <a:lnTo>
                    <a:pt x="28575" y="533400"/>
                  </a:lnTo>
                  <a:cubicBezTo>
                    <a:pt x="12764" y="533400"/>
                    <a:pt x="0" y="520637"/>
                    <a:pt x="0" y="504825"/>
                  </a:cubicBezTo>
                  <a:lnTo>
                    <a:pt x="0" y="28575"/>
                  </a:lnTo>
                  <a:cubicBezTo>
                    <a:pt x="0" y="12763"/>
                    <a:pt x="12764" y="0"/>
                    <a:pt x="28575" y="0"/>
                  </a:cubicBezTo>
                  <a:lnTo>
                    <a:pt x="283464" y="0"/>
                  </a:lnTo>
                  <a:close/>
                  <a:moveTo>
                    <a:pt x="247650" y="200025"/>
                  </a:moveTo>
                  <a:lnTo>
                    <a:pt x="152400" y="200025"/>
                  </a:lnTo>
                  <a:lnTo>
                    <a:pt x="152400" y="409575"/>
                  </a:lnTo>
                  <a:lnTo>
                    <a:pt x="171450" y="409575"/>
                  </a:lnTo>
                  <a:lnTo>
                    <a:pt x="171450" y="314325"/>
                  </a:lnTo>
                  <a:lnTo>
                    <a:pt x="247650" y="314325"/>
                  </a:lnTo>
                  <a:lnTo>
                    <a:pt x="249746" y="314325"/>
                  </a:lnTo>
                  <a:cubicBezTo>
                    <a:pt x="280321" y="313182"/>
                    <a:pt x="304800" y="288036"/>
                    <a:pt x="304800" y="257175"/>
                  </a:cubicBezTo>
                  <a:cubicBezTo>
                    <a:pt x="304800" y="225647"/>
                    <a:pt x="279178" y="200025"/>
                    <a:pt x="247650" y="200025"/>
                  </a:cubicBezTo>
                  <a:lnTo>
                    <a:pt x="247650" y="200025"/>
                  </a:lnTo>
                  <a:close/>
                  <a:moveTo>
                    <a:pt x="247650" y="219075"/>
                  </a:moveTo>
                  <a:cubicBezTo>
                    <a:pt x="268700" y="219075"/>
                    <a:pt x="285750" y="236125"/>
                    <a:pt x="285750" y="257175"/>
                  </a:cubicBezTo>
                  <a:cubicBezTo>
                    <a:pt x="285750" y="278225"/>
                    <a:pt x="268700" y="295275"/>
                    <a:pt x="247650" y="295275"/>
                  </a:cubicBezTo>
                  <a:lnTo>
                    <a:pt x="247650" y="295275"/>
                  </a:lnTo>
                  <a:lnTo>
                    <a:pt x="171450" y="295275"/>
                  </a:lnTo>
                  <a:lnTo>
                    <a:pt x="171450" y="219075"/>
                  </a:lnTo>
                  <a:lnTo>
                    <a:pt x="247650" y="219075"/>
                  </a:lnTo>
                  <a:close/>
                  <a:moveTo>
                    <a:pt x="428625" y="133350"/>
                  </a:moveTo>
                  <a:lnTo>
                    <a:pt x="314325" y="133350"/>
                  </a:lnTo>
                  <a:lnTo>
                    <a:pt x="313182" y="133255"/>
                  </a:lnTo>
                  <a:cubicBezTo>
                    <a:pt x="308515" y="132779"/>
                    <a:pt x="304800" y="128683"/>
                    <a:pt x="304800" y="123825"/>
                  </a:cubicBezTo>
                  <a:lnTo>
                    <a:pt x="304800" y="123825"/>
                  </a:lnTo>
                  <a:lnTo>
                    <a:pt x="304800" y="9525"/>
                  </a:lnTo>
                  <a:lnTo>
                    <a:pt x="428625" y="133350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/>
            </a:p>
          </p:txBody>
        </p:sp>
        <p:sp>
          <p:nvSpPr>
            <p:cNvPr id="190" name="íṥľïḋe">
              <a:extLst>
                <a:ext uri="{FF2B5EF4-FFF2-40B4-BE49-F238E27FC236}">
                  <a16:creationId xmlns:a16="http://schemas.microsoft.com/office/drawing/2014/main" id="{5351F107-D992-42CB-97CE-898E7043D605}"/>
                </a:ext>
              </a:extLst>
            </p:cNvPr>
            <p:cNvSpPr/>
            <p:nvPr/>
          </p:nvSpPr>
          <p:spPr>
            <a:xfrm>
              <a:off x="3342124" y="1390919"/>
              <a:ext cx="406585" cy="304939"/>
            </a:xfrm>
            <a:custGeom>
              <a:avLst/>
              <a:gdLst>
                <a:gd name="connsiteX0" fmla="*/ 504825 w 533400"/>
                <a:gd name="connsiteY0" fmla="*/ 0 h 400050"/>
                <a:gd name="connsiteX1" fmla="*/ 533400 w 533400"/>
                <a:gd name="connsiteY1" fmla="*/ 28575 h 400050"/>
                <a:gd name="connsiteX2" fmla="*/ 533400 w 533400"/>
                <a:gd name="connsiteY2" fmla="*/ 371475 h 400050"/>
                <a:gd name="connsiteX3" fmla="*/ 504825 w 533400"/>
                <a:gd name="connsiteY3" fmla="*/ 400050 h 400050"/>
                <a:gd name="connsiteX4" fmla="*/ 28575 w 533400"/>
                <a:gd name="connsiteY4" fmla="*/ 400050 h 400050"/>
                <a:gd name="connsiteX5" fmla="*/ 0 w 533400"/>
                <a:gd name="connsiteY5" fmla="*/ 371475 h 400050"/>
                <a:gd name="connsiteX6" fmla="*/ 0 w 533400"/>
                <a:gd name="connsiteY6" fmla="*/ 28575 h 400050"/>
                <a:gd name="connsiteX7" fmla="*/ 28575 w 533400"/>
                <a:gd name="connsiteY7" fmla="*/ 0 h 400050"/>
                <a:gd name="connsiteX8" fmla="*/ 504825 w 533400"/>
                <a:gd name="connsiteY8" fmla="*/ 0 h 400050"/>
                <a:gd name="connsiteX9" fmla="*/ 390811 w 533400"/>
                <a:gd name="connsiteY9" fmla="*/ 198025 h 400050"/>
                <a:gd name="connsiteX10" fmla="*/ 350806 w 533400"/>
                <a:gd name="connsiteY10" fmla="*/ 203549 h 400050"/>
                <a:gd name="connsiteX11" fmla="*/ 350806 w 533400"/>
                <a:gd name="connsiteY11" fmla="*/ 203549 h 400050"/>
                <a:gd name="connsiteX12" fmla="*/ 266510 w 533400"/>
                <a:gd name="connsiteY12" fmla="*/ 314992 h 400050"/>
                <a:gd name="connsiteX13" fmla="*/ 264033 w 533400"/>
                <a:gd name="connsiteY13" fmla="*/ 317849 h 400050"/>
                <a:gd name="connsiteX14" fmla="*/ 223647 w 533400"/>
                <a:gd name="connsiteY14" fmla="*/ 318135 h 400050"/>
                <a:gd name="connsiteX15" fmla="*/ 223647 w 533400"/>
                <a:gd name="connsiteY15" fmla="*/ 318135 h 400050"/>
                <a:gd name="connsiteX16" fmla="*/ 161544 w 533400"/>
                <a:gd name="connsiteY16" fmla="*/ 256794 h 400050"/>
                <a:gd name="connsiteX17" fmla="*/ 159639 w 533400"/>
                <a:gd name="connsiteY17" fmla="*/ 255079 h 400050"/>
                <a:gd name="connsiteX18" fmla="*/ 119444 w 533400"/>
                <a:gd name="connsiteY18" fmla="*/ 258985 h 400050"/>
                <a:gd name="connsiteX19" fmla="*/ 119444 w 533400"/>
                <a:gd name="connsiteY19" fmla="*/ 258985 h 400050"/>
                <a:gd name="connsiteX20" fmla="*/ 31909 w 533400"/>
                <a:gd name="connsiteY20" fmla="*/ 365474 h 400050"/>
                <a:gd name="connsiteX21" fmla="*/ 29718 w 533400"/>
                <a:gd name="connsiteY21" fmla="*/ 371475 h 400050"/>
                <a:gd name="connsiteX22" fmla="*/ 39243 w 533400"/>
                <a:gd name="connsiteY22" fmla="*/ 381000 h 400050"/>
                <a:gd name="connsiteX23" fmla="*/ 39243 w 533400"/>
                <a:gd name="connsiteY23" fmla="*/ 381000 h 400050"/>
                <a:gd name="connsiteX24" fmla="*/ 496634 w 533400"/>
                <a:gd name="connsiteY24" fmla="*/ 381000 h 400050"/>
                <a:gd name="connsiteX25" fmla="*/ 501872 w 533400"/>
                <a:gd name="connsiteY25" fmla="*/ 379381 h 400050"/>
                <a:gd name="connsiteX26" fmla="*/ 504539 w 533400"/>
                <a:gd name="connsiteY26" fmla="*/ 366141 h 400050"/>
                <a:gd name="connsiteX27" fmla="*/ 504539 w 533400"/>
                <a:gd name="connsiteY27" fmla="*/ 366141 h 400050"/>
                <a:gd name="connsiteX28" fmla="*/ 397383 w 533400"/>
                <a:gd name="connsiteY28" fmla="*/ 204883 h 400050"/>
                <a:gd name="connsiteX29" fmla="*/ 390811 w 533400"/>
                <a:gd name="connsiteY29" fmla="*/ 198025 h 400050"/>
                <a:gd name="connsiteX30" fmla="*/ 95250 w 533400"/>
                <a:gd name="connsiteY30" fmla="*/ 57150 h 400050"/>
                <a:gd name="connsiteX31" fmla="*/ 57150 w 533400"/>
                <a:gd name="connsiteY31" fmla="*/ 95250 h 400050"/>
                <a:gd name="connsiteX32" fmla="*/ 95250 w 533400"/>
                <a:gd name="connsiteY32" fmla="*/ 133350 h 400050"/>
                <a:gd name="connsiteX33" fmla="*/ 133350 w 533400"/>
                <a:gd name="connsiteY33" fmla="*/ 95250 h 400050"/>
                <a:gd name="connsiteX34" fmla="*/ 95250 w 533400"/>
                <a:gd name="connsiteY34" fmla="*/ 57150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33400" h="400050">
                  <a:moveTo>
                    <a:pt x="504825" y="0"/>
                  </a:moveTo>
                  <a:cubicBezTo>
                    <a:pt x="520637" y="0"/>
                    <a:pt x="533400" y="12764"/>
                    <a:pt x="533400" y="28575"/>
                  </a:cubicBezTo>
                  <a:lnTo>
                    <a:pt x="533400" y="371475"/>
                  </a:lnTo>
                  <a:cubicBezTo>
                    <a:pt x="533400" y="387287"/>
                    <a:pt x="520637" y="400050"/>
                    <a:pt x="504825" y="400050"/>
                  </a:cubicBezTo>
                  <a:lnTo>
                    <a:pt x="28575" y="400050"/>
                  </a:lnTo>
                  <a:cubicBezTo>
                    <a:pt x="12763" y="400050"/>
                    <a:pt x="0" y="387287"/>
                    <a:pt x="0" y="371475"/>
                  </a:cubicBezTo>
                  <a:lnTo>
                    <a:pt x="0" y="28575"/>
                  </a:lnTo>
                  <a:cubicBezTo>
                    <a:pt x="0" y="12764"/>
                    <a:pt x="12763" y="0"/>
                    <a:pt x="28575" y="0"/>
                  </a:cubicBezTo>
                  <a:lnTo>
                    <a:pt x="504825" y="0"/>
                  </a:lnTo>
                  <a:close/>
                  <a:moveTo>
                    <a:pt x="390811" y="198025"/>
                  </a:moveTo>
                  <a:cubicBezTo>
                    <a:pt x="378238" y="188500"/>
                    <a:pt x="360331" y="190976"/>
                    <a:pt x="350806" y="203549"/>
                  </a:cubicBezTo>
                  <a:lnTo>
                    <a:pt x="350806" y="203549"/>
                  </a:lnTo>
                  <a:lnTo>
                    <a:pt x="266510" y="314992"/>
                  </a:lnTo>
                  <a:cubicBezTo>
                    <a:pt x="265747" y="316040"/>
                    <a:pt x="264890" y="316897"/>
                    <a:pt x="264033" y="317849"/>
                  </a:cubicBezTo>
                  <a:cubicBezTo>
                    <a:pt x="252984" y="329089"/>
                    <a:pt x="234887" y="329184"/>
                    <a:pt x="223647" y="318135"/>
                  </a:cubicBezTo>
                  <a:lnTo>
                    <a:pt x="223647" y="318135"/>
                  </a:lnTo>
                  <a:lnTo>
                    <a:pt x="161544" y="256794"/>
                  </a:lnTo>
                  <a:cubicBezTo>
                    <a:pt x="160877" y="256223"/>
                    <a:pt x="160306" y="255556"/>
                    <a:pt x="159639" y="255079"/>
                  </a:cubicBezTo>
                  <a:cubicBezTo>
                    <a:pt x="147447" y="245078"/>
                    <a:pt x="129445" y="246793"/>
                    <a:pt x="119444" y="258985"/>
                  </a:cubicBezTo>
                  <a:lnTo>
                    <a:pt x="119444" y="258985"/>
                  </a:lnTo>
                  <a:lnTo>
                    <a:pt x="31909" y="365474"/>
                  </a:lnTo>
                  <a:cubicBezTo>
                    <a:pt x="30480" y="367189"/>
                    <a:pt x="29718" y="369284"/>
                    <a:pt x="29718" y="371475"/>
                  </a:cubicBezTo>
                  <a:cubicBezTo>
                    <a:pt x="29718" y="376714"/>
                    <a:pt x="34004" y="381000"/>
                    <a:pt x="39243" y="381000"/>
                  </a:cubicBezTo>
                  <a:lnTo>
                    <a:pt x="39243" y="381000"/>
                  </a:lnTo>
                  <a:lnTo>
                    <a:pt x="496634" y="381000"/>
                  </a:lnTo>
                  <a:cubicBezTo>
                    <a:pt x="498538" y="381000"/>
                    <a:pt x="500348" y="380429"/>
                    <a:pt x="501872" y="379381"/>
                  </a:cubicBezTo>
                  <a:cubicBezTo>
                    <a:pt x="506254" y="376428"/>
                    <a:pt x="507397" y="370523"/>
                    <a:pt x="504539" y="366141"/>
                  </a:cubicBezTo>
                  <a:lnTo>
                    <a:pt x="504539" y="366141"/>
                  </a:lnTo>
                  <a:lnTo>
                    <a:pt x="397383" y="204883"/>
                  </a:lnTo>
                  <a:cubicBezTo>
                    <a:pt x="395573" y="202311"/>
                    <a:pt x="393382" y="199930"/>
                    <a:pt x="390811" y="198025"/>
                  </a:cubicBezTo>
                  <a:close/>
                  <a:moveTo>
                    <a:pt x="95250" y="57150"/>
                  </a:moveTo>
                  <a:cubicBezTo>
                    <a:pt x="74200" y="57150"/>
                    <a:pt x="57150" y="74200"/>
                    <a:pt x="57150" y="95250"/>
                  </a:cubicBezTo>
                  <a:cubicBezTo>
                    <a:pt x="57150" y="116300"/>
                    <a:pt x="74200" y="133350"/>
                    <a:pt x="95250" y="133350"/>
                  </a:cubicBezTo>
                  <a:cubicBezTo>
                    <a:pt x="116300" y="133350"/>
                    <a:pt x="133350" y="116300"/>
                    <a:pt x="133350" y="95250"/>
                  </a:cubicBezTo>
                  <a:cubicBezTo>
                    <a:pt x="133350" y="74200"/>
                    <a:pt x="116300" y="57150"/>
                    <a:pt x="95250" y="5715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/>
            </a:p>
          </p:txBody>
        </p:sp>
        <p:sp>
          <p:nvSpPr>
            <p:cNvPr id="191" name="íṥľiďe">
              <a:extLst>
                <a:ext uri="{FF2B5EF4-FFF2-40B4-BE49-F238E27FC236}">
                  <a16:creationId xmlns:a16="http://schemas.microsoft.com/office/drawing/2014/main" id="{3417C159-5017-42A8-84FA-86409E4AD7C5}"/>
                </a:ext>
              </a:extLst>
            </p:cNvPr>
            <p:cNvSpPr/>
            <p:nvPr/>
          </p:nvSpPr>
          <p:spPr>
            <a:xfrm>
              <a:off x="5407584" y="2292001"/>
              <a:ext cx="406585" cy="399325"/>
            </a:xfrm>
            <a:custGeom>
              <a:avLst/>
              <a:gdLst>
                <a:gd name="connsiteX0" fmla="*/ 342900 w 533400"/>
                <a:gd name="connsiteY0" fmla="*/ 276225 h 523875"/>
                <a:gd name="connsiteX1" fmla="*/ 371475 w 533400"/>
                <a:gd name="connsiteY1" fmla="*/ 304800 h 523875"/>
                <a:gd name="connsiteX2" fmla="*/ 371475 w 533400"/>
                <a:gd name="connsiteY2" fmla="*/ 495300 h 523875"/>
                <a:gd name="connsiteX3" fmla="*/ 342900 w 533400"/>
                <a:gd name="connsiteY3" fmla="*/ 523875 h 523875"/>
                <a:gd name="connsiteX4" fmla="*/ 190500 w 533400"/>
                <a:gd name="connsiteY4" fmla="*/ 523875 h 523875"/>
                <a:gd name="connsiteX5" fmla="*/ 161925 w 533400"/>
                <a:gd name="connsiteY5" fmla="*/ 495300 h 523875"/>
                <a:gd name="connsiteX6" fmla="*/ 161925 w 533400"/>
                <a:gd name="connsiteY6" fmla="*/ 304800 h 523875"/>
                <a:gd name="connsiteX7" fmla="*/ 190500 w 533400"/>
                <a:gd name="connsiteY7" fmla="*/ 276225 h 523875"/>
                <a:gd name="connsiteX8" fmla="*/ 342900 w 533400"/>
                <a:gd name="connsiteY8" fmla="*/ 276225 h 523875"/>
                <a:gd name="connsiteX9" fmla="*/ 142875 w 533400"/>
                <a:gd name="connsiteY9" fmla="*/ 114300 h 523875"/>
                <a:gd name="connsiteX10" fmla="*/ 179070 w 533400"/>
                <a:gd name="connsiteY10" fmla="*/ 152400 h 523875"/>
                <a:gd name="connsiteX11" fmla="*/ 180975 w 533400"/>
                <a:gd name="connsiteY11" fmla="*/ 152400 h 523875"/>
                <a:gd name="connsiteX12" fmla="*/ 352425 w 533400"/>
                <a:gd name="connsiteY12" fmla="*/ 152400 h 523875"/>
                <a:gd name="connsiteX13" fmla="*/ 390525 w 533400"/>
                <a:gd name="connsiteY13" fmla="*/ 116205 h 523875"/>
                <a:gd name="connsiteX14" fmla="*/ 390525 w 533400"/>
                <a:gd name="connsiteY14" fmla="*/ 114300 h 523875"/>
                <a:gd name="connsiteX15" fmla="*/ 504825 w 533400"/>
                <a:gd name="connsiteY15" fmla="*/ 114300 h 523875"/>
                <a:gd name="connsiteX16" fmla="*/ 533400 w 533400"/>
                <a:gd name="connsiteY16" fmla="*/ 142875 h 523875"/>
                <a:gd name="connsiteX17" fmla="*/ 533400 w 533400"/>
                <a:gd name="connsiteY17" fmla="*/ 381000 h 523875"/>
                <a:gd name="connsiteX18" fmla="*/ 504825 w 533400"/>
                <a:gd name="connsiteY18" fmla="*/ 409575 h 523875"/>
                <a:gd name="connsiteX19" fmla="*/ 390525 w 533400"/>
                <a:gd name="connsiteY19" fmla="*/ 409575 h 523875"/>
                <a:gd name="connsiteX20" fmla="*/ 390525 w 533400"/>
                <a:gd name="connsiteY20" fmla="*/ 295275 h 523875"/>
                <a:gd name="connsiteX21" fmla="*/ 354330 w 533400"/>
                <a:gd name="connsiteY21" fmla="*/ 257175 h 523875"/>
                <a:gd name="connsiteX22" fmla="*/ 352425 w 533400"/>
                <a:gd name="connsiteY22" fmla="*/ 257175 h 523875"/>
                <a:gd name="connsiteX23" fmla="*/ 180975 w 533400"/>
                <a:gd name="connsiteY23" fmla="*/ 257175 h 523875"/>
                <a:gd name="connsiteX24" fmla="*/ 142875 w 533400"/>
                <a:gd name="connsiteY24" fmla="*/ 293370 h 523875"/>
                <a:gd name="connsiteX25" fmla="*/ 142875 w 533400"/>
                <a:gd name="connsiteY25" fmla="*/ 295275 h 523875"/>
                <a:gd name="connsiteX26" fmla="*/ 142875 w 533400"/>
                <a:gd name="connsiteY26" fmla="*/ 409575 h 523875"/>
                <a:gd name="connsiteX27" fmla="*/ 28575 w 533400"/>
                <a:gd name="connsiteY27" fmla="*/ 409575 h 523875"/>
                <a:gd name="connsiteX28" fmla="*/ 0 w 533400"/>
                <a:gd name="connsiteY28" fmla="*/ 381000 h 523875"/>
                <a:gd name="connsiteX29" fmla="*/ 0 w 533400"/>
                <a:gd name="connsiteY29" fmla="*/ 200787 h 523875"/>
                <a:gd name="connsiteX30" fmla="*/ 10287 w 533400"/>
                <a:gd name="connsiteY30" fmla="*/ 174784 h 523875"/>
                <a:gd name="connsiteX31" fmla="*/ 55436 w 533400"/>
                <a:gd name="connsiteY31" fmla="*/ 126397 h 523875"/>
                <a:gd name="connsiteX32" fmla="*/ 83248 w 533400"/>
                <a:gd name="connsiteY32" fmla="*/ 114300 h 523875"/>
                <a:gd name="connsiteX33" fmla="*/ 142875 w 533400"/>
                <a:gd name="connsiteY33" fmla="*/ 114300 h 523875"/>
                <a:gd name="connsiteX34" fmla="*/ 461963 w 533400"/>
                <a:gd name="connsiteY34" fmla="*/ 171450 h 523875"/>
                <a:gd name="connsiteX35" fmla="*/ 447675 w 533400"/>
                <a:gd name="connsiteY35" fmla="*/ 185738 h 523875"/>
                <a:gd name="connsiteX36" fmla="*/ 461963 w 533400"/>
                <a:gd name="connsiteY36" fmla="*/ 200025 h 523875"/>
                <a:gd name="connsiteX37" fmla="*/ 476250 w 533400"/>
                <a:gd name="connsiteY37" fmla="*/ 185738 h 523875"/>
                <a:gd name="connsiteX38" fmla="*/ 461963 w 533400"/>
                <a:gd name="connsiteY38" fmla="*/ 171450 h 523875"/>
                <a:gd name="connsiteX39" fmla="*/ 342900 w 533400"/>
                <a:gd name="connsiteY39" fmla="*/ 0 h 523875"/>
                <a:gd name="connsiteX40" fmla="*/ 371475 w 533400"/>
                <a:gd name="connsiteY40" fmla="*/ 28575 h 523875"/>
                <a:gd name="connsiteX41" fmla="*/ 371475 w 533400"/>
                <a:gd name="connsiteY41" fmla="*/ 104775 h 523875"/>
                <a:gd name="connsiteX42" fmla="*/ 342900 w 533400"/>
                <a:gd name="connsiteY42" fmla="*/ 133350 h 523875"/>
                <a:gd name="connsiteX43" fmla="*/ 190500 w 533400"/>
                <a:gd name="connsiteY43" fmla="*/ 133350 h 523875"/>
                <a:gd name="connsiteX44" fmla="*/ 161925 w 533400"/>
                <a:gd name="connsiteY44" fmla="*/ 104775 h 523875"/>
                <a:gd name="connsiteX45" fmla="*/ 161925 w 533400"/>
                <a:gd name="connsiteY45" fmla="*/ 28575 h 523875"/>
                <a:gd name="connsiteX46" fmla="*/ 190500 w 533400"/>
                <a:gd name="connsiteY46" fmla="*/ 0 h 523875"/>
                <a:gd name="connsiteX47" fmla="*/ 342900 w 533400"/>
                <a:gd name="connsiteY47" fmla="*/ 0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533400" h="523875">
                  <a:moveTo>
                    <a:pt x="342900" y="276225"/>
                  </a:moveTo>
                  <a:cubicBezTo>
                    <a:pt x="358711" y="276225"/>
                    <a:pt x="371475" y="288989"/>
                    <a:pt x="371475" y="304800"/>
                  </a:cubicBezTo>
                  <a:lnTo>
                    <a:pt x="371475" y="495300"/>
                  </a:lnTo>
                  <a:cubicBezTo>
                    <a:pt x="371475" y="511112"/>
                    <a:pt x="358711" y="523875"/>
                    <a:pt x="342900" y="523875"/>
                  </a:cubicBezTo>
                  <a:lnTo>
                    <a:pt x="190500" y="523875"/>
                  </a:lnTo>
                  <a:cubicBezTo>
                    <a:pt x="174689" y="523875"/>
                    <a:pt x="161925" y="511112"/>
                    <a:pt x="161925" y="495300"/>
                  </a:cubicBezTo>
                  <a:lnTo>
                    <a:pt x="161925" y="304800"/>
                  </a:lnTo>
                  <a:cubicBezTo>
                    <a:pt x="161925" y="288989"/>
                    <a:pt x="174689" y="276225"/>
                    <a:pt x="190500" y="276225"/>
                  </a:cubicBezTo>
                  <a:lnTo>
                    <a:pt x="342900" y="276225"/>
                  </a:lnTo>
                  <a:close/>
                  <a:moveTo>
                    <a:pt x="142875" y="114300"/>
                  </a:moveTo>
                  <a:cubicBezTo>
                    <a:pt x="142875" y="134684"/>
                    <a:pt x="158877" y="151352"/>
                    <a:pt x="179070" y="152400"/>
                  </a:cubicBezTo>
                  <a:lnTo>
                    <a:pt x="180975" y="152400"/>
                  </a:lnTo>
                  <a:lnTo>
                    <a:pt x="352425" y="152400"/>
                  </a:lnTo>
                  <a:cubicBezTo>
                    <a:pt x="372809" y="152400"/>
                    <a:pt x="389477" y="136398"/>
                    <a:pt x="390525" y="116205"/>
                  </a:cubicBezTo>
                  <a:lnTo>
                    <a:pt x="390525" y="114300"/>
                  </a:lnTo>
                  <a:lnTo>
                    <a:pt x="504825" y="114300"/>
                  </a:lnTo>
                  <a:cubicBezTo>
                    <a:pt x="520636" y="114300"/>
                    <a:pt x="533400" y="127064"/>
                    <a:pt x="533400" y="142875"/>
                  </a:cubicBezTo>
                  <a:lnTo>
                    <a:pt x="533400" y="381000"/>
                  </a:lnTo>
                  <a:cubicBezTo>
                    <a:pt x="533400" y="396812"/>
                    <a:pt x="520636" y="409575"/>
                    <a:pt x="504825" y="409575"/>
                  </a:cubicBezTo>
                  <a:lnTo>
                    <a:pt x="390525" y="409575"/>
                  </a:lnTo>
                  <a:lnTo>
                    <a:pt x="390525" y="295275"/>
                  </a:lnTo>
                  <a:cubicBezTo>
                    <a:pt x="390525" y="274892"/>
                    <a:pt x="374523" y="258223"/>
                    <a:pt x="354330" y="257175"/>
                  </a:cubicBezTo>
                  <a:lnTo>
                    <a:pt x="352425" y="257175"/>
                  </a:lnTo>
                  <a:lnTo>
                    <a:pt x="180975" y="257175"/>
                  </a:lnTo>
                  <a:cubicBezTo>
                    <a:pt x="160591" y="257175"/>
                    <a:pt x="143923" y="273177"/>
                    <a:pt x="142875" y="293370"/>
                  </a:cubicBezTo>
                  <a:lnTo>
                    <a:pt x="142875" y="295275"/>
                  </a:lnTo>
                  <a:lnTo>
                    <a:pt x="142875" y="409575"/>
                  </a:lnTo>
                  <a:lnTo>
                    <a:pt x="28575" y="409575"/>
                  </a:lnTo>
                  <a:cubicBezTo>
                    <a:pt x="12763" y="409575"/>
                    <a:pt x="0" y="396812"/>
                    <a:pt x="0" y="381000"/>
                  </a:cubicBezTo>
                  <a:lnTo>
                    <a:pt x="0" y="200787"/>
                  </a:lnTo>
                  <a:cubicBezTo>
                    <a:pt x="0" y="191167"/>
                    <a:pt x="3620" y="181832"/>
                    <a:pt x="10287" y="174784"/>
                  </a:cubicBezTo>
                  <a:lnTo>
                    <a:pt x="55436" y="126397"/>
                  </a:lnTo>
                  <a:cubicBezTo>
                    <a:pt x="62675" y="118682"/>
                    <a:pt x="72771" y="114300"/>
                    <a:pt x="83248" y="114300"/>
                  </a:cubicBezTo>
                  <a:lnTo>
                    <a:pt x="142875" y="114300"/>
                  </a:lnTo>
                  <a:close/>
                  <a:moveTo>
                    <a:pt x="461963" y="171450"/>
                  </a:moveTo>
                  <a:cubicBezTo>
                    <a:pt x="454057" y="171450"/>
                    <a:pt x="447675" y="177832"/>
                    <a:pt x="447675" y="185738"/>
                  </a:cubicBezTo>
                  <a:cubicBezTo>
                    <a:pt x="447675" y="193643"/>
                    <a:pt x="454057" y="200025"/>
                    <a:pt x="461963" y="200025"/>
                  </a:cubicBezTo>
                  <a:cubicBezTo>
                    <a:pt x="469868" y="200025"/>
                    <a:pt x="476250" y="193643"/>
                    <a:pt x="476250" y="185738"/>
                  </a:cubicBezTo>
                  <a:cubicBezTo>
                    <a:pt x="476250" y="177832"/>
                    <a:pt x="469868" y="171450"/>
                    <a:pt x="461963" y="171450"/>
                  </a:cubicBezTo>
                  <a:close/>
                  <a:moveTo>
                    <a:pt x="342900" y="0"/>
                  </a:moveTo>
                  <a:cubicBezTo>
                    <a:pt x="358711" y="0"/>
                    <a:pt x="371475" y="12763"/>
                    <a:pt x="371475" y="28575"/>
                  </a:cubicBezTo>
                  <a:lnTo>
                    <a:pt x="371475" y="104775"/>
                  </a:lnTo>
                  <a:cubicBezTo>
                    <a:pt x="371475" y="120587"/>
                    <a:pt x="358711" y="133350"/>
                    <a:pt x="342900" y="133350"/>
                  </a:cubicBezTo>
                  <a:lnTo>
                    <a:pt x="190500" y="133350"/>
                  </a:lnTo>
                  <a:cubicBezTo>
                    <a:pt x="174689" y="133350"/>
                    <a:pt x="161925" y="120587"/>
                    <a:pt x="161925" y="104775"/>
                  </a:cubicBezTo>
                  <a:lnTo>
                    <a:pt x="161925" y="28575"/>
                  </a:lnTo>
                  <a:cubicBezTo>
                    <a:pt x="161925" y="12763"/>
                    <a:pt x="174689" y="0"/>
                    <a:pt x="190500" y="0"/>
                  </a:cubicBezTo>
                  <a:lnTo>
                    <a:pt x="342900" y="0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/>
            </a:p>
          </p:txBody>
        </p:sp>
        <p:sp>
          <p:nvSpPr>
            <p:cNvPr id="192" name="íšļïdè">
              <a:extLst>
                <a:ext uri="{FF2B5EF4-FFF2-40B4-BE49-F238E27FC236}">
                  <a16:creationId xmlns:a16="http://schemas.microsoft.com/office/drawing/2014/main" id="{AEE4E26D-42EB-41D3-A93A-02899526D59E}"/>
                </a:ext>
              </a:extLst>
            </p:cNvPr>
            <p:cNvSpPr/>
            <p:nvPr/>
          </p:nvSpPr>
          <p:spPr>
            <a:xfrm>
              <a:off x="7490877" y="1340096"/>
              <a:ext cx="370920" cy="406585"/>
            </a:xfrm>
            <a:custGeom>
              <a:avLst/>
              <a:gdLst>
                <a:gd name="connsiteX0" fmla="*/ 247650 w 495300"/>
                <a:gd name="connsiteY0" fmla="*/ 0 h 542925"/>
                <a:gd name="connsiteX1" fmla="*/ 495300 w 495300"/>
                <a:gd name="connsiteY1" fmla="*/ 247650 h 542925"/>
                <a:gd name="connsiteX2" fmla="*/ 322707 w 495300"/>
                <a:gd name="connsiteY2" fmla="*/ 483775 h 542925"/>
                <a:gd name="connsiteX3" fmla="*/ 345853 w 495300"/>
                <a:gd name="connsiteY3" fmla="*/ 523875 h 542925"/>
                <a:gd name="connsiteX4" fmla="*/ 419100 w 495300"/>
                <a:gd name="connsiteY4" fmla="*/ 523875 h 542925"/>
                <a:gd name="connsiteX5" fmla="*/ 419100 w 495300"/>
                <a:gd name="connsiteY5" fmla="*/ 542925 h 542925"/>
                <a:gd name="connsiteX6" fmla="*/ 76200 w 495300"/>
                <a:gd name="connsiteY6" fmla="*/ 542925 h 542925"/>
                <a:gd name="connsiteX7" fmla="*/ 76200 w 495300"/>
                <a:gd name="connsiteY7" fmla="*/ 523875 h 542925"/>
                <a:gd name="connsiteX8" fmla="*/ 149447 w 495300"/>
                <a:gd name="connsiteY8" fmla="*/ 523875 h 542925"/>
                <a:gd name="connsiteX9" fmla="*/ 172593 w 495300"/>
                <a:gd name="connsiteY9" fmla="*/ 483775 h 542925"/>
                <a:gd name="connsiteX10" fmla="*/ 0 w 495300"/>
                <a:gd name="connsiteY10" fmla="*/ 247650 h 542925"/>
                <a:gd name="connsiteX11" fmla="*/ 247650 w 495300"/>
                <a:gd name="connsiteY11" fmla="*/ 0 h 542925"/>
                <a:gd name="connsiteX12" fmla="*/ 191643 w 495300"/>
                <a:gd name="connsiteY12" fmla="*/ 488918 h 542925"/>
                <a:gd name="connsiteX13" fmla="*/ 171450 w 495300"/>
                <a:gd name="connsiteY13" fmla="*/ 523875 h 542925"/>
                <a:gd name="connsiteX14" fmla="*/ 323850 w 495300"/>
                <a:gd name="connsiteY14" fmla="*/ 523875 h 542925"/>
                <a:gd name="connsiteX15" fmla="*/ 303657 w 495300"/>
                <a:gd name="connsiteY15" fmla="*/ 488918 h 542925"/>
                <a:gd name="connsiteX16" fmla="*/ 247650 w 495300"/>
                <a:gd name="connsiteY16" fmla="*/ 495300 h 542925"/>
                <a:gd name="connsiteX17" fmla="*/ 191643 w 495300"/>
                <a:gd name="connsiteY17" fmla="*/ 488918 h 542925"/>
                <a:gd name="connsiteX18" fmla="*/ 247650 w 495300"/>
                <a:gd name="connsiteY18" fmla="*/ 142875 h 542925"/>
                <a:gd name="connsiteX19" fmla="*/ 142875 w 495300"/>
                <a:gd name="connsiteY19" fmla="*/ 247650 h 542925"/>
                <a:gd name="connsiteX20" fmla="*/ 247650 w 495300"/>
                <a:gd name="connsiteY20" fmla="*/ 352425 h 542925"/>
                <a:gd name="connsiteX21" fmla="*/ 352425 w 495300"/>
                <a:gd name="connsiteY21" fmla="*/ 247650 h 542925"/>
                <a:gd name="connsiteX22" fmla="*/ 247650 w 495300"/>
                <a:gd name="connsiteY22" fmla="*/ 142875 h 542925"/>
                <a:gd name="connsiteX23" fmla="*/ 366713 w 495300"/>
                <a:gd name="connsiteY23" fmla="*/ 114300 h 542925"/>
                <a:gd name="connsiteX24" fmla="*/ 352425 w 495300"/>
                <a:gd name="connsiteY24" fmla="*/ 128588 h 542925"/>
                <a:gd name="connsiteX25" fmla="*/ 366713 w 495300"/>
                <a:gd name="connsiteY25" fmla="*/ 142875 h 542925"/>
                <a:gd name="connsiteX26" fmla="*/ 381000 w 495300"/>
                <a:gd name="connsiteY26" fmla="*/ 128588 h 542925"/>
                <a:gd name="connsiteX27" fmla="*/ 366713 w 495300"/>
                <a:gd name="connsiteY27" fmla="*/ 114300 h 542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95300" h="542925">
                  <a:moveTo>
                    <a:pt x="247650" y="0"/>
                  </a:moveTo>
                  <a:cubicBezTo>
                    <a:pt x="384429" y="0"/>
                    <a:pt x="495300" y="110871"/>
                    <a:pt x="495300" y="247650"/>
                  </a:cubicBezTo>
                  <a:cubicBezTo>
                    <a:pt x="495300" y="358235"/>
                    <a:pt x="422815" y="451961"/>
                    <a:pt x="322707" y="483775"/>
                  </a:cubicBezTo>
                  <a:lnTo>
                    <a:pt x="345853" y="523875"/>
                  </a:lnTo>
                  <a:lnTo>
                    <a:pt x="419100" y="523875"/>
                  </a:lnTo>
                  <a:lnTo>
                    <a:pt x="419100" y="542925"/>
                  </a:lnTo>
                  <a:lnTo>
                    <a:pt x="76200" y="542925"/>
                  </a:lnTo>
                  <a:lnTo>
                    <a:pt x="76200" y="523875"/>
                  </a:lnTo>
                  <a:lnTo>
                    <a:pt x="149447" y="523875"/>
                  </a:lnTo>
                  <a:lnTo>
                    <a:pt x="172593" y="483775"/>
                  </a:lnTo>
                  <a:cubicBezTo>
                    <a:pt x="72485" y="451961"/>
                    <a:pt x="0" y="358235"/>
                    <a:pt x="0" y="247650"/>
                  </a:cubicBezTo>
                  <a:cubicBezTo>
                    <a:pt x="0" y="110871"/>
                    <a:pt x="110871" y="0"/>
                    <a:pt x="247650" y="0"/>
                  </a:cubicBezTo>
                  <a:close/>
                  <a:moveTo>
                    <a:pt x="191643" y="488918"/>
                  </a:moveTo>
                  <a:lnTo>
                    <a:pt x="171450" y="523875"/>
                  </a:lnTo>
                  <a:lnTo>
                    <a:pt x="323850" y="523875"/>
                  </a:lnTo>
                  <a:lnTo>
                    <a:pt x="303657" y="488918"/>
                  </a:lnTo>
                  <a:cubicBezTo>
                    <a:pt x="285655" y="493109"/>
                    <a:pt x="266891" y="495300"/>
                    <a:pt x="247650" y="495300"/>
                  </a:cubicBezTo>
                  <a:cubicBezTo>
                    <a:pt x="228409" y="495300"/>
                    <a:pt x="209645" y="493109"/>
                    <a:pt x="191643" y="488918"/>
                  </a:cubicBezTo>
                  <a:close/>
                  <a:moveTo>
                    <a:pt x="247650" y="142875"/>
                  </a:moveTo>
                  <a:cubicBezTo>
                    <a:pt x="189738" y="142875"/>
                    <a:pt x="142875" y="189738"/>
                    <a:pt x="142875" y="247650"/>
                  </a:cubicBezTo>
                  <a:cubicBezTo>
                    <a:pt x="142875" y="305562"/>
                    <a:pt x="189738" y="352425"/>
                    <a:pt x="247650" y="352425"/>
                  </a:cubicBezTo>
                  <a:cubicBezTo>
                    <a:pt x="305562" y="352425"/>
                    <a:pt x="352425" y="305562"/>
                    <a:pt x="352425" y="247650"/>
                  </a:cubicBezTo>
                  <a:cubicBezTo>
                    <a:pt x="352425" y="189738"/>
                    <a:pt x="305562" y="142875"/>
                    <a:pt x="247650" y="142875"/>
                  </a:cubicBezTo>
                  <a:close/>
                  <a:moveTo>
                    <a:pt x="366713" y="114300"/>
                  </a:moveTo>
                  <a:cubicBezTo>
                    <a:pt x="358807" y="114300"/>
                    <a:pt x="352425" y="120682"/>
                    <a:pt x="352425" y="128588"/>
                  </a:cubicBezTo>
                  <a:cubicBezTo>
                    <a:pt x="352425" y="136493"/>
                    <a:pt x="358807" y="142875"/>
                    <a:pt x="366713" y="142875"/>
                  </a:cubicBezTo>
                  <a:cubicBezTo>
                    <a:pt x="374618" y="142875"/>
                    <a:pt x="381000" y="136493"/>
                    <a:pt x="381000" y="128588"/>
                  </a:cubicBezTo>
                  <a:cubicBezTo>
                    <a:pt x="381000" y="120682"/>
                    <a:pt x="374618" y="114300"/>
                    <a:pt x="366713" y="11430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/>
            </a:p>
          </p:txBody>
        </p:sp>
        <p:sp>
          <p:nvSpPr>
            <p:cNvPr id="193" name="isļiḍê">
              <a:extLst>
                <a:ext uri="{FF2B5EF4-FFF2-40B4-BE49-F238E27FC236}">
                  <a16:creationId xmlns:a16="http://schemas.microsoft.com/office/drawing/2014/main" id="{CF10C170-5090-4ACD-9EB1-1E99D28A63E6}"/>
                </a:ext>
              </a:extLst>
            </p:cNvPr>
            <p:cNvSpPr/>
            <p:nvPr/>
          </p:nvSpPr>
          <p:spPr>
            <a:xfrm>
              <a:off x="9549596" y="2288371"/>
              <a:ext cx="384408" cy="406585"/>
            </a:xfrm>
            <a:custGeom>
              <a:avLst/>
              <a:gdLst>
                <a:gd name="connsiteX0" fmla="*/ 371475 w 495300"/>
                <a:gd name="connsiteY0" fmla="*/ 0 h 523875"/>
                <a:gd name="connsiteX1" fmla="*/ 400050 w 495300"/>
                <a:gd name="connsiteY1" fmla="*/ 28575 h 523875"/>
                <a:gd name="connsiteX2" fmla="*/ 400050 w 495300"/>
                <a:gd name="connsiteY2" fmla="*/ 133350 h 523875"/>
                <a:gd name="connsiteX3" fmla="*/ 371475 w 495300"/>
                <a:gd name="connsiteY3" fmla="*/ 161925 h 523875"/>
                <a:gd name="connsiteX4" fmla="*/ 257175 w 495300"/>
                <a:gd name="connsiteY4" fmla="*/ 161925 h 523875"/>
                <a:gd name="connsiteX5" fmla="*/ 257175 w 495300"/>
                <a:gd name="connsiteY5" fmla="*/ 285750 h 523875"/>
                <a:gd name="connsiteX6" fmla="*/ 419100 w 495300"/>
                <a:gd name="connsiteY6" fmla="*/ 285750 h 523875"/>
                <a:gd name="connsiteX7" fmla="*/ 457200 w 495300"/>
                <a:gd name="connsiteY7" fmla="*/ 321945 h 523875"/>
                <a:gd name="connsiteX8" fmla="*/ 457200 w 495300"/>
                <a:gd name="connsiteY8" fmla="*/ 323850 h 523875"/>
                <a:gd name="connsiteX9" fmla="*/ 457200 w 495300"/>
                <a:gd name="connsiteY9" fmla="*/ 428625 h 523875"/>
                <a:gd name="connsiteX10" fmla="*/ 476250 w 495300"/>
                <a:gd name="connsiteY10" fmla="*/ 428625 h 523875"/>
                <a:gd name="connsiteX11" fmla="*/ 495300 w 495300"/>
                <a:gd name="connsiteY11" fmla="*/ 447675 h 523875"/>
                <a:gd name="connsiteX12" fmla="*/ 495300 w 495300"/>
                <a:gd name="connsiteY12" fmla="*/ 504825 h 523875"/>
                <a:gd name="connsiteX13" fmla="*/ 476250 w 495300"/>
                <a:gd name="connsiteY13" fmla="*/ 523875 h 523875"/>
                <a:gd name="connsiteX14" fmla="*/ 419100 w 495300"/>
                <a:gd name="connsiteY14" fmla="*/ 523875 h 523875"/>
                <a:gd name="connsiteX15" fmla="*/ 400050 w 495300"/>
                <a:gd name="connsiteY15" fmla="*/ 504825 h 523875"/>
                <a:gd name="connsiteX16" fmla="*/ 400050 w 495300"/>
                <a:gd name="connsiteY16" fmla="*/ 447675 h 523875"/>
                <a:gd name="connsiteX17" fmla="*/ 419100 w 495300"/>
                <a:gd name="connsiteY17" fmla="*/ 428625 h 523875"/>
                <a:gd name="connsiteX18" fmla="*/ 438150 w 495300"/>
                <a:gd name="connsiteY18" fmla="*/ 428625 h 523875"/>
                <a:gd name="connsiteX19" fmla="*/ 438150 w 495300"/>
                <a:gd name="connsiteY19" fmla="*/ 323850 h 523875"/>
                <a:gd name="connsiteX20" fmla="*/ 420529 w 495300"/>
                <a:gd name="connsiteY20" fmla="*/ 304895 h 523875"/>
                <a:gd name="connsiteX21" fmla="*/ 419100 w 495300"/>
                <a:gd name="connsiteY21" fmla="*/ 304800 h 523875"/>
                <a:gd name="connsiteX22" fmla="*/ 257175 w 495300"/>
                <a:gd name="connsiteY22" fmla="*/ 304800 h 523875"/>
                <a:gd name="connsiteX23" fmla="*/ 257175 w 495300"/>
                <a:gd name="connsiteY23" fmla="*/ 428625 h 523875"/>
                <a:gd name="connsiteX24" fmla="*/ 276225 w 495300"/>
                <a:gd name="connsiteY24" fmla="*/ 428625 h 523875"/>
                <a:gd name="connsiteX25" fmla="*/ 295275 w 495300"/>
                <a:gd name="connsiteY25" fmla="*/ 447675 h 523875"/>
                <a:gd name="connsiteX26" fmla="*/ 295275 w 495300"/>
                <a:gd name="connsiteY26" fmla="*/ 504825 h 523875"/>
                <a:gd name="connsiteX27" fmla="*/ 276225 w 495300"/>
                <a:gd name="connsiteY27" fmla="*/ 523875 h 523875"/>
                <a:gd name="connsiteX28" fmla="*/ 219075 w 495300"/>
                <a:gd name="connsiteY28" fmla="*/ 523875 h 523875"/>
                <a:gd name="connsiteX29" fmla="*/ 200025 w 495300"/>
                <a:gd name="connsiteY29" fmla="*/ 504825 h 523875"/>
                <a:gd name="connsiteX30" fmla="*/ 200025 w 495300"/>
                <a:gd name="connsiteY30" fmla="*/ 447675 h 523875"/>
                <a:gd name="connsiteX31" fmla="*/ 219075 w 495300"/>
                <a:gd name="connsiteY31" fmla="*/ 428625 h 523875"/>
                <a:gd name="connsiteX32" fmla="*/ 238125 w 495300"/>
                <a:gd name="connsiteY32" fmla="*/ 428625 h 523875"/>
                <a:gd name="connsiteX33" fmla="*/ 238125 w 495300"/>
                <a:gd name="connsiteY33" fmla="*/ 304800 h 523875"/>
                <a:gd name="connsiteX34" fmla="*/ 76200 w 495300"/>
                <a:gd name="connsiteY34" fmla="*/ 304800 h 523875"/>
                <a:gd name="connsiteX35" fmla="*/ 57245 w 495300"/>
                <a:gd name="connsiteY35" fmla="*/ 322421 h 523875"/>
                <a:gd name="connsiteX36" fmla="*/ 57150 w 495300"/>
                <a:gd name="connsiteY36" fmla="*/ 323850 h 523875"/>
                <a:gd name="connsiteX37" fmla="*/ 57150 w 495300"/>
                <a:gd name="connsiteY37" fmla="*/ 428625 h 523875"/>
                <a:gd name="connsiteX38" fmla="*/ 76200 w 495300"/>
                <a:gd name="connsiteY38" fmla="*/ 428625 h 523875"/>
                <a:gd name="connsiteX39" fmla="*/ 95250 w 495300"/>
                <a:gd name="connsiteY39" fmla="*/ 447675 h 523875"/>
                <a:gd name="connsiteX40" fmla="*/ 95250 w 495300"/>
                <a:gd name="connsiteY40" fmla="*/ 504825 h 523875"/>
                <a:gd name="connsiteX41" fmla="*/ 76200 w 495300"/>
                <a:gd name="connsiteY41" fmla="*/ 523875 h 523875"/>
                <a:gd name="connsiteX42" fmla="*/ 19050 w 495300"/>
                <a:gd name="connsiteY42" fmla="*/ 523875 h 523875"/>
                <a:gd name="connsiteX43" fmla="*/ 0 w 495300"/>
                <a:gd name="connsiteY43" fmla="*/ 504825 h 523875"/>
                <a:gd name="connsiteX44" fmla="*/ 0 w 495300"/>
                <a:gd name="connsiteY44" fmla="*/ 447675 h 523875"/>
                <a:gd name="connsiteX45" fmla="*/ 19050 w 495300"/>
                <a:gd name="connsiteY45" fmla="*/ 428625 h 523875"/>
                <a:gd name="connsiteX46" fmla="*/ 38100 w 495300"/>
                <a:gd name="connsiteY46" fmla="*/ 428625 h 523875"/>
                <a:gd name="connsiteX47" fmla="*/ 38100 w 495300"/>
                <a:gd name="connsiteY47" fmla="*/ 323850 h 523875"/>
                <a:gd name="connsiteX48" fmla="*/ 74295 w 495300"/>
                <a:gd name="connsiteY48" fmla="*/ 285750 h 523875"/>
                <a:gd name="connsiteX49" fmla="*/ 76200 w 495300"/>
                <a:gd name="connsiteY49" fmla="*/ 285750 h 523875"/>
                <a:gd name="connsiteX50" fmla="*/ 238125 w 495300"/>
                <a:gd name="connsiteY50" fmla="*/ 285750 h 523875"/>
                <a:gd name="connsiteX51" fmla="*/ 238125 w 495300"/>
                <a:gd name="connsiteY51" fmla="*/ 161925 h 523875"/>
                <a:gd name="connsiteX52" fmla="*/ 123825 w 495300"/>
                <a:gd name="connsiteY52" fmla="*/ 161925 h 523875"/>
                <a:gd name="connsiteX53" fmla="*/ 95250 w 495300"/>
                <a:gd name="connsiteY53" fmla="*/ 133350 h 523875"/>
                <a:gd name="connsiteX54" fmla="*/ 95250 w 495300"/>
                <a:gd name="connsiteY54" fmla="*/ 28575 h 523875"/>
                <a:gd name="connsiteX55" fmla="*/ 123825 w 495300"/>
                <a:gd name="connsiteY55" fmla="*/ 0 h 523875"/>
                <a:gd name="connsiteX56" fmla="*/ 371475 w 495300"/>
                <a:gd name="connsiteY56" fmla="*/ 0 h 523875"/>
                <a:gd name="connsiteX57" fmla="*/ 147638 w 495300"/>
                <a:gd name="connsiteY57" fmla="*/ 95250 h 523875"/>
                <a:gd name="connsiteX58" fmla="*/ 133350 w 495300"/>
                <a:gd name="connsiteY58" fmla="*/ 109538 h 523875"/>
                <a:gd name="connsiteX59" fmla="*/ 147638 w 495300"/>
                <a:gd name="connsiteY59" fmla="*/ 123825 h 523875"/>
                <a:gd name="connsiteX60" fmla="*/ 161925 w 495300"/>
                <a:gd name="connsiteY60" fmla="*/ 109538 h 523875"/>
                <a:gd name="connsiteX61" fmla="*/ 147638 w 495300"/>
                <a:gd name="connsiteY61" fmla="*/ 95250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495300" h="523875">
                  <a:moveTo>
                    <a:pt x="371475" y="0"/>
                  </a:moveTo>
                  <a:cubicBezTo>
                    <a:pt x="387287" y="0"/>
                    <a:pt x="400050" y="12763"/>
                    <a:pt x="400050" y="28575"/>
                  </a:cubicBezTo>
                  <a:lnTo>
                    <a:pt x="400050" y="133350"/>
                  </a:lnTo>
                  <a:cubicBezTo>
                    <a:pt x="400050" y="149162"/>
                    <a:pt x="387287" y="161925"/>
                    <a:pt x="371475" y="161925"/>
                  </a:cubicBezTo>
                  <a:lnTo>
                    <a:pt x="257175" y="161925"/>
                  </a:lnTo>
                  <a:lnTo>
                    <a:pt x="257175" y="285750"/>
                  </a:lnTo>
                  <a:lnTo>
                    <a:pt x="419100" y="285750"/>
                  </a:lnTo>
                  <a:cubicBezTo>
                    <a:pt x="439484" y="285750"/>
                    <a:pt x="456152" y="301752"/>
                    <a:pt x="457200" y="321945"/>
                  </a:cubicBezTo>
                  <a:lnTo>
                    <a:pt x="457200" y="323850"/>
                  </a:lnTo>
                  <a:lnTo>
                    <a:pt x="457200" y="428625"/>
                  </a:lnTo>
                  <a:lnTo>
                    <a:pt x="476250" y="428625"/>
                  </a:lnTo>
                  <a:cubicBezTo>
                    <a:pt x="486728" y="428625"/>
                    <a:pt x="495300" y="437198"/>
                    <a:pt x="495300" y="447675"/>
                  </a:cubicBezTo>
                  <a:lnTo>
                    <a:pt x="495300" y="504825"/>
                  </a:lnTo>
                  <a:cubicBezTo>
                    <a:pt x="495300" y="515303"/>
                    <a:pt x="486728" y="523875"/>
                    <a:pt x="476250" y="523875"/>
                  </a:cubicBezTo>
                  <a:lnTo>
                    <a:pt x="419100" y="523875"/>
                  </a:lnTo>
                  <a:cubicBezTo>
                    <a:pt x="408622" y="523875"/>
                    <a:pt x="400050" y="515303"/>
                    <a:pt x="400050" y="504825"/>
                  </a:cubicBezTo>
                  <a:lnTo>
                    <a:pt x="400050" y="447675"/>
                  </a:lnTo>
                  <a:cubicBezTo>
                    <a:pt x="400050" y="437198"/>
                    <a:pt x="408622" y="428625"/>
                    <a:pt x="419100" y="428625"/>
                  </a:cubicBezTo>
                  <a:lnTo>
                    <a:pt x="438150" y="428625"/>
                  </a:lnTo>
                  <a:lnTo>
                    <a:pt x="438150" y="323850"/>
                  </a:lnTo>
                  <a:cubicBezTo>
                    <a:pt x="438150" y="313849"/>
                    <a:pt x="430339" y="305562"/>
                    <a:pt x="420529" y="304895"/>
                  </a:cubicBezTo>
                  <a:lnTo>
                    <a:pt x="419100" y="304800"/>
                  </a:lnTo>
                  <a:lnTo>
                    <a:pt x="257175" y="304800"/>
                  </a:lnTo>
                  <a:lnTo>
                    <a:pt x="257175" y="428625"/>
                  </a:lnTo>
                  <a:lnTo>
                    <a:pt x="276225" y="428625"/>
                  </a:lnTo>
                  <a:cubicBezTo>
                    <a:pt x="286703" y="428625"/>
                    <a:pt x="295275" y="437198"/>
                    <a:pt x="295275" y="447675"/>
                  </a:cubicBezTo>
                  <a:lnTo>
                    <a:pt x="295275" y="504825"/>
                  </a:lnTo>
                  <a:cubicBezTo>
                    <a:pt x="295275" y="515303"/>
                    <a:pt x="286703" y="523875"/>
                    <a:pt x="276225" y="523875"/>
                  </a:cubicBezTo>
                  <a:lnTo>
                    <a:pt x="219075" y="523875"/>
                  </a:lnTo>
                  <a:cubicBezTo>
                    <a:pt x="208597" y="523875"/>
                    <a:pt x="200025" y="515303"/>
                    <a:pt x="200025" y="504825"/>
                  </a:cubicBezTo>
                  <a:lnTo>
                    <a:pt x="200025" y="447675"/>
                  </a:lnTo>
                  <a:cubicBezTo>
                    <a:pt x="200025" y="437198"/>
                    <a:pt x="208597" y="428625"/>
                    <a:pt x="219075" y="428625"/>
                  </a:cubicBezTo>
                  <a:lnTo>
                    <a:pt x="238125" y="428625"/>
                  </a:lnTo>
                  <a:lnTo>
                    <a:pt x="238125" y="304800"/>
                  </a:lnTo>
                  <a:lnTo>
                    <a:pt x="76200" y="304800"/>
                  </a:lnTo>
                  <a:cubicBezTo>
                    <a:pt x="66199" y="304800"/>
                    <a:pt x="57912" y="312611"/>
                    <a:pt x="57245" y="322421"/>
                  </a:cubicBezTo>
                  <a:lnTo>
                    <a:pt x="57150" y="323850"/>
                  </a:lnTo>
                  <a:lnTo>
                    <a:pt x="57150" y="428625"/>
                  </a:lnTo>
                  <a:lnTo>
                    <a:pt x="76200" y="428625"/>
                  </a:lnTo>
                  <a:cubicBezTo>
                    <a:pt x="86678" y="428625"/>
                    <a:pt x="95250" y="437198"/>
                    <a:pt x="95250" y="447675"/>
                  </a:cubicBezTo>
                  <a:lnTo>
                    <a:pt x="95250" y="504825"/>
                  </a:lnTo>
                  <a:cubicBezTo>
                    <a:pt x="95250" y="515303"/>
                    <a:pt x="86678" y="523875"/>
                    <a:pt x="76200" y="523875"/>
                  </a:cubicBezTo>
                  <a:lnTo>
                    <a:pt x="19050" y="523875"/>
                  </a:lnTo>
                  <a:cubicBezTo>
                    <a:pt x="8573" y="523875"/>
                    <a:pt x="0" y="515303"/>
                    <a:pt x="0" y="504825"/>
                  </a:cubicBezTo>
                  <a:lnTo>
                    <a:pt x="0" y="447675"/>
                  </a:lnTo>
                  <a:cubicBezTo>
                    <a:pt x="0" y="437198"/>
                    <a:pt x="8573" y="428625"/>
                    <a:pt x="19050" y="428625"/>
                  </a:cubicBezTo>
                  <a:lnTo>
                    <a:pt x="38100" y="428625"/>
                  </a:lnTo>
                  <a:lnTo>
                    <a:pt x="38100" y="323850"/>
                  </a:lnTo>
                  <a:cubicBezTo>
                    <a:pt x="38100" y="303467"/>
                    <a:pt x="54102" y="286798"/>
                    <a:pt x="74295" y="285750"/>
                  </a:cubicBezTo>
                  <a:lnTo>
                    <a:pt x="76200" y="285750"/>
                  </a:lnTo>
                  <a:lnTo>
                    <a:pt x="238125" y="285750"/>
                  </a:lnTo>
                  <a:lnTo>
                    <a:pt x="238125" y="161925"/>
                  </a:lnTo>
                  <a:lnTo>
                    <a:pt x="123825" y="161925"/>
                  </a:lnTo>
                  <a:cubicBezTo>
                    <a:pt x="108013" y="161925"/>
                    <a:pt x="95250" y="149162"/>
                    <a:pt x="95250" y="133350"/>
                  </a:cubicBezTo>
                  <a:lnTo>
                    <a:pt x="95250" y="28575"/>
                  </a:lnTo>
                  <a:cubicBezTo>
                    <a:pt x="95250" y="12763"/>
                    <a:pt x="108013" y="0"/>
                    <a:pt x="123825" y="0"/>
                  </a:cubicBezTo>
                  <a:lnTo>
                    <a:pt x="371475" y="0"/>
                  </a:lnTo>
                  <a:close/>
                  <a:moveTo>
                    <a:pt x="147638" y="95250"/>
                  </a:moveTo>
                  <a:cubicBezTo>
                    <a:pt x="139732" y="95250"/>
                    <a:pt x="133350" y="101632"/>
                    <a:pt x="133350" y="109538"/>
                  </a:cubicBezTo>
                  <a:cubicBezTo>
                    <a:pt x="133350" y="117443"/>
                    <a:pt x="139732" y="123825"/>
                    <a:pt x="147638" y="123825"/>
                  </a:cubicBezTo>
                  <a:cubicBezTo>
                    <a:pt x="155543" y="123825"/>
                    <a:pt x="161925" y="117443"/>
                    <a:pt x="161925" y="109538"/>
                  </a:cubicBezTo>
                  <a:cubicBezTo>
                    <a:pt x="161925" y="101632"/>
                    <a:pt x="155543" y="95250"/>
                    <a:pt x="147638" y="95250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7359504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ṥlíď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śľîḑe">
            <a:extLst>
              <a:ext uri="{FF2B5EF4-FFF2-40B4-BE49-F238E27FC236}">
                <a16:creationId xmlns:a16="http://schemas.microsoft.com/office/drawing/2014/main" id="{43F83E55-AF35-4701-A470-091644B9CD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ï$ľíḋê">
            <a:extLst>
              <a:ext uri="{FF2B5EF4-FFF2-40B4-BE49-F238E27FC236}">
                <a16:creationId xmlns:a16="http://schemas.microsoft.com/office/drawing/2014/main" id="{6514C058-C37D-4D70-B790-C91EA92870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îS1îḑê">
            <a:extLst>
              <a:ext uri="{FF2B5EF4-FFF2-40B4-BE49-F238E27FC236}">
                <a16:creationId xmlns:a16="http://schemas.microsoft.com/office/drawing/2014/main" id="{C56238F8-FB74-481D-BE82-4063EF4518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grpSp>
        <p:nvGrpSpPr>
          <p:cNvPr id="61" name="iŝliḍe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28F4D581-EC96-4774-8986-D5C68D6888E9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627952"/>
            <a:ext cx="10845800" cy="3887846"/>
            <a:chOff x="673100" y="1627952"/>
            <a:chExt cx="10845800" cy="3887846"/>
          </a:xfrm>
        </p:grpSpPr>
        <p:grpSp>
          <p:nvGrpSpPr>
            <p:cNvPr id="62" name="iS1îḓé">
              <a:extLst>
                <a:ext uri="{FF2B5EF4-FFF2-40B4-BE49-F238E27FC236}">
                  <a16:creationId xmlns:a16="http://schemas.microsoft.com/office/drawing/2014/main" id="{F6F0EE4C-1C61-4A98-BAF9-A5BA6E278A55}"/>
                </a:ext>
              </a:extLst>
            </p:cNvPr>
            <p:cNvGrpSpPr/>
            <p:nvPr/>
          </p:nvGrpSpPr>
          <p:grpSpPr>
            <a:xfrm>
              <a:off x="4550718" y="2854678"/>
              <a:ext cx="3090566" cy="2661120"/>
              <a:chOff x="5512742" y="2272830"/>
              <a:chExt cx="3090566" cy="2661120"/>
            </a:xfrm>
          </p:grpSpPr>
          <p:sp>
            <p:nvSpPr>
              <p:cNvPr id="77" name="ïşḷiďé">
                <a:extLst>
                  <a:ext uri="{FF2B5EF4-FFF2-40B4-BE49-F238E27FC236}">
                    <a16:creationId xmlns:a16="http://schemas.microsoft.com/office/drawing/2014/main" id="{66129D77-938A-4F23-ABCD-796231183B1F}"/>
                  </a:ext>
                </a:extLst>
              </p:cNvPr>
              <p:cNvSpPr/>
              <p:nvPr/>
            </p:nvSpPr>
            <p:spPr>
              <a:xfrm>
                <a:off x="5915025" y="2647950"/>
                <a:ext cx="2286000" cy="2286000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grpSp>
            <p:nvGrpSpPr>
              <p:cNvPr id="78" name="îŝlîḋê">
                <a:extLst>
                  <a:ext uri="{FF2B5EF4-FFF2-40B4-BE49-F238E27FC236}">
                    <a16:creationId xmlns:a16="http://schemas.microsoft.com/office/drawing/2014/main" id="{2AC52C6E-3E3B-4C63-90D1-16E638948057}"/>
                  </a:ext>
                </a:extLst>
              </p:cNvPr>
              <p:cNvGrpSpPr/>
              <p:nvPr/>
            </p:nvGrpSpPr>
            <p:grpSpPr>
              <a:xfrm>
                <a:off x="6446044" y="3055145"/>
                <a:ext cx="1223962" cy="1471614"/>
                <a:chOff x="6446044" y="2909887"/>
                <a:chExt cx="1223962" cy="1762126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86" name="ïŝḻïḑè">
                  <a:extLst>
                    <a:ext uri="{FF2B5EF4-FFF2-40B4-BE49-F238E27FC236}">
                      <a16:creationId xmlns:a16="http://schemas.microsoft.com/office/drawing/2014/main" id="{AC5F6DC3-A606-4D00-BFB7-0FB1874D633C}"/>
                    </a:ext>
                  </a:extLst>
                </p:cNvPr>
                <p:cNvSpPr/>
                <p:nvPr/>
              </p:nvSpPr>
              <p:spPr>
                <a:xfrm>
                  <a:off x="7155656" y="3514725"/>
                  <a:ext cx="514350" cy="1157288"/>
                </a:xfrm>
                <a:prstGeom prst="bentArrow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zh-CN" alt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7" name="ïṣ1íḍe">
                  <a:extLst>
                    <a:ext uri="{FF2B5EF4-FFF2-40B4-BE49-F238E27FC236}">
                      <a16:creationId xmlns:a16="http://schemas.microsoft.com/office/drawing/2014/main" id="{6253230D-A99F-47FE-90F8-CF036A3664D5}"/>
                    </a:ext>
                  </a:extLst>
                </p:cNvPr>
                <p:cNvSpPr/>
                <p:nvPr/>
              </p:nvSpPr>
              <p:spPr>
                <a:xfrm flipH="1">
                  <a:off x="6446044" y="3514725"/>
                  <a:ext cx="514350" cy="1157288"/>
                </a:xfrm>
                <a:prstGeom prst="bentArrow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zh-CN" alt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8" name="i$ḻiḋé">
                  <a:extLst>
                    <a:ext uri="{FF2B5EF4-FFF2-40B4-BE49-F238E27FC236}">
                      <a16:creationId xmlns:a16="http://schemas.microsoft.com/office/drawing/2014/main" id="{47176CEA-31D1-47F8-B7DA-203F4921DE84}"/>
                    </a:ext>
                  </a:extLst>
                </p:cNvPr>
                <p:cNvSpPr/>
                <p:nvPr/>
              </p:nvSpPr>
              <p:spPr>
                <a:xfrm>
                  <a:off x="6905625" y="2909887"/>
                  <a:ext cx="304800" cy="1762126"/>
                </a:xfrm>
                <a:prstGeom prst="upArrow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zh-CN" altLang="en-US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79" name="ï$ľîḑe">
                <a:extLst>
                  <a:ext uri="{FF2B5EF4-FFF2-40B4-BE49-F238E27FC236}">
                    <a16:creationId xmlns:a16="http://schemas.microsoft.com/office/drawing/2014/main" id="{3D5DEE50-76D4-432E-9082-BA8802D9D7B7}"/>
                  </a:ext>
                </a:extLst>
              </p:cNvPr>
              <p:cNvSpPr/>
              <p:nvPr/>
            </p:nvSpPr>
            <p:spPr>
              <a:xfrm>
                <a:off x="5512742" y="3391197"/>
                <a:ext cx="652314" cy="652314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sp>
            <p:nvSpPr>
              <p:cNvPr id="80" name="iṩ1íďê">
                <a:extLst>
                  <a:ext uri="{FF2B5EF4-FFF2-40B4-BE49-F238E27FC236}">
                    <a16:creationId xmlns:a16="http://schemas.microsoft.com/office/drawing/2014/main" id="{2A354060-C26D-40B8-A903-B213A0B06EE9}"/>
                  </a:ext>
                </a:extLst>
              </p:cNvPr>
              <p:cNvSpPr/>
              <p:nvPr/>
            </p:nvSpPr>
            <p:spPr>
              <a:xfrm>
                <a:off x="7950994" y="3391197"/>
                <a:ext cx="652314" cy="652314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cxnSp>
            <p:nvCxnSpPr>
              <p:cNvPr id="81" name="îṡľíḋé">
                <a:extLst>
                  <a:ext uri="{FF2B5EF4-FFF2-40B4-BE49-F238E27FC236}">
                    <a16:creationId xmlns:a16="http://schemas.microsoft.com/office/drawing/2014/main" id="{D020986D-F033-48AA-B2A8-CC5F7FD40159}"/>
                  </a:ext>
                </a:extLst>
              </p:cNvPr>
              <p:cNvCxnSpPr>
                <a:stCxn id="79" idx="0"/>
                <a:endCxn id="80" idx="0"/>
              </p:cNvCxnSpPr>
              <p:nvPr/>
            </p:nvCxnSpPr>
            <p:spPr>
              <a:xfrm rot="5400000" flipH="1" flipV="1">
                <a:off x="7058025" y="2172071"/>
                <a:ext cx="12700" cy="2438252"/>
              </a:xfrm>
              <a:prstGeom prst="curvedConnector3">
                <a:avLst>
                  <a:gd name="adj1" fmla="val 7575000"/>
                </a:avLst>
              </a:prstGeom>
              <a:ln w="3175" cap="rnd">
                <a:solidFill>
                  <a:schemeClr val="bg1">
                    <a:lumMod val="75000"/>
                  </a:schemeClr>
                </a:solidFill>
                <a:prstDash val="sysDash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2" name="íṩľîḓe">
                <a:extLst>
                  <a:ext uri="{FF2B5EF4-FFF2-40B4-BE49-F238E27FC236}">
                    <a16:creationId xmlns:a16="http://schemas.microsoft.com/office/drawing/2014/main" id="{0CC586E7-6DCB-4E0A-AB2F-AADCA6FDE328}"/>
                  </a:ext>
                </a:extLst>
              </p:cNvPr>
              <p:cNvSpPr/>
              <p:nvPr/>
            </p:nvSpPr>
            <p:spPr>
              <a:xfrm>
                <a:off x="6731868" y="2272830"/>
                <a:ext cx="652314" cy="652314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sp>
            <p:nvSpPr>
              <p:cNvPr id="83" name="îṩļîďé">
                <a:extLst>
                  <a:ext uri="{FF2B5EF4-FFF2-40B4-BE49-F238E27FC236}">
                    <a16:creationId xmlns:a16="http://schemas.microsoft.com/office/drawing/2014/main" id="{5F447947-5BF4-45BD-9D05-82C941031E09}"/>
                  </a:ext>
                </a:extLst>
              </p:cNvPr>
              <p:cNvSpPr/>
              <p:nvPr/>
            </p:nvSpPr>
            <p:spPr bwMode="auto">
              <a:xfrm>
                <a:off x="5673583" y="3536142"/>
                <a:ext cx="330630" cy="362422"/>
              </a:xfrm>
              <a:custGeom>
                <a:avLst/>
                <a:gdLst>
                  <a:gd name="connsiteX0" fmla="*/ 247650 w 495300"/>
                  <a:gd name="connsiteY0" fmla="*/ 0 h 542925"/>
                  <a:gd name="connsiteX1" fmla="*/ 495300 w 495300"/>
                  <a:gd name="connsiteY1" fmla="*/ 247650 h 542925"/>
                  <a:gd name="connsiteX2" fmla="*/ 322707 w 495300"/>
                  <a:gd name="connsiteY2" fmla="*/ 483775 h 542925"/>
                  <a:gd name="connsiteX3" fmla="*/ 345853 w 495300"/>
                  <a:gd name="connsiteY3" fmla="*/ 523875 h 542925"/>
                  <a:gd name="connsiteX4" fmla="*/ 419100 w 495300"/>
                  <a:gd name="connsiteY4" fmla="*/ 523875 h 542925"/>
                  <a:gd name="connsiteX5" fmla="*/ 419100 w 495300"/>
                  <a:gd name="connsiteY5" fmla="*/ 542925 h 542925"/>
                  <a:gd name="connsiteX6" fmla="*/ 76200 w 495300"/>
                  <a:gd name="connsiteY6" fmla="*/ 542925 h 542925"/>
                  <a:gd name="connsiteX7" fmla="*/ 76200 w 495300"/>
                  <a:gd name="connsiteY7" fmla="*/ 523875 h 542925"/>
                  <a:gd name="connsiteX8" fmla="*/ 149447 w 495300"/>
                  <a:gd name="connsiteY8" fmla="*/ 523875 h 542925"/>
                  <a:gd name="connsiteX9" fmla="*/ 172593 w 495300"/>
                  <a:gd name="connsiteY9" fmla="*/ 483775 h 542925"/>
                  <a:gd name="connsiteX10" fmla="*/ 0 w 495300"/>
                  <a:gd name="connsiteY10" fmla="*/ 247650 h 542925"/>
                  <a:gd name="connsiteX11" fmla="*/ 247650 w 495300"/>
                  <a:gd name="connsiteY11" fmla="*/ 0 h 542925"/>
                  <a:gd name="connsiteX12" fmla="*/ 191643 w 495300"/>
                  <a:gd name="connsiteY12" fmla="*/ 488918 h 542925"/>
                  <a:gd name="connsiteX13" fmla="*/ 171450 w 495300"/>
                  <a:gd name="connsiteY13" fmla="*/ 523875 h 542925"/>
                  <a:gd name="connsiteX14" fmla="*/ 323850 w 495300"/>
                  <a:gd name="connsiteY14" fmla="*/ 523875 h 542925"/>
                  <a:gd name="connsiteX15" fmla="*/ 303657 w 495300"/>
                  <a:gd name="connsiteY15" fmla="*/ 488918 h 542925"/>
                  <a:gd name="connsiteX16" fmla="*/ 247650 w 495300"/>
                  <a:gd name="connsiteY16" fmla="*/ 495300 h 542925"/>
                  <a:gd name="connsiteX17" fmla="*/ 191643 w 495300"/>
                  <a:gd name="connsiteY17" fmla="*/ 488918 h 542925"/>
                  <a:gd name="connsiteX18" fmla="*/ 247650 w 495300"/>
                  <a:gd name="connsiteY18" fmla="*/ 142875 h 542925"/>
                  <a:gd name="connsiteX19" fmla="*/ 142875 w 495300"/>
                  <a:gd name="connsiteY19" fmla="*/ 247650 h 542925"/>
                  <a:gd name="connsiteX20" fmla="*/ 247650 w 495300"/>
                  <a:gd name="connsiteY20" fmla="*/ 352425 h 542925"/>
                  <a:gd name="connsiteX21" fmla="*/ 352425 w 495300"/>
                  <a:gd name="connsiteY21" fmla="*/ 247650 h 542925"/>
                  <a:gd name="connsiteX22" fmla="*/ 247650 w 495300"/>
                  <a:gd name="connsiteY22" fmla="*/ 142875 h 542925"/>
                  <a:gd name="connsiteX23" fmla="*/ 366713 w 495300"/>
                  <a:gd name="connsiteY23" fmla="*/ 114300 h 542925"/>
                  <a:gd name="connsiteX24" fmla="*/ 352425 w 495300"/>
                  <a:gd name="connsiteY24" fmla="*/ 128588 h 542925"/>
                  <a:gd name="connsiteX25" fmla="*/ 366713 w 495300"/>
                  <a:gd name="connsiteY25" fmla="*/ 142875 h 542925"/>
                  <a:gd name="connsiteX26" fmla="*/ 381000 w 495300"/>
                  <a:gd name="connsiteY26" fmla="*/ 128588 h 542925"/>
                  <a:gd name="connsiteX27" fmla="*/ 366713 w 495300"/>
                  <a:gd name="connsiteY27" fmla="*/ 114300 h 542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495300" h="542925">
                    <a:moveTo>
                      <a:pt x="247650" y="0"/>
                    </a:moveTo>
                    <a:cubicBezTo>
                      <a:pt x="384429" y="0"/>
                      <a:pt x="495300" y="110871"/>
                      <a:pt x="495300" y="247650"/>
                    </a:cubicBezTo>
                    <a:cubicBezTo>
                      <a:pt x="495300" y="358235"/>
                      <a:pt x="422815" y="451961"/>
                      <a:pt x="322707" y="483775"/>
                    </a:cubicBezTo>
                    <a:lnTo>
                      <a:pt x="345853" y="523875"/>
                    </a:lnTo>
                    <a:lnTo>
                      <a:pt x="419100" y="523875"/>
                    </a:lnTo>
                    <a:lnTo>
                      <a:pt x="419100" y="542925"/>
                    </a:lnTo>
                    <a:lnTo>
                      <a:pt x="76200" y="542925"/>
                    </a:lnTo>
                    <a:lnTo>
                      <a:pt x="76200" y="523875"/>
                    </a:lnTo>
                    <a:lnTo>
                      <a:pt x="149447" y="523875"/>
                    </a:lnTo>
                    <a:lnTo>
                      <a:pt x="172593" y="483775"/>
                    </a:lnTo>
                    <a:cubicBezTo>
                      <a:pt x="72485" y="451961"/>
                      <a:pt x="0" y="358235"/>
                      <a:pt x="0" y="247650"/>
                    </a:cubicBezTo>
                    <a:cubicBezTo>
                      <a:pt x="0" y="110871"/>
                      <a:pt x="110871" y="0"/>
                      <a:pt x="247650" y="0"/>
                    </a:cubicBezTo>
                    <a:close/>
                    <a:moveTo>
                      <a:pt x="191643" y="488918"/>
                    </a:moveTo>
                    <a:lnTo>
                      <a:pt x="171450" y="523875"/>
                    </a:lnTo>
                    <a:lnTo>
                      <a:pt x="323850" y="523875"/>
                    </a:lnTo>
                    <a:lnTo>
                      <a:pt x="303657" y="488918"/>
                    </a:lnTo>
                    <a:cubicBezTo>
                      <a:pt x="285655" y="493109"/>
                      <a:pt x="266891" y="495300"/>
                      <a:pt x="247650" y="495300"/>
                    </a:cubicBezTo>
                    <a:cubicBezTo>
                      <a:pt x="228409" y="495300"/>
                      <a:pt x="209645" y="493109"/>
                      <a:pt x="191643" y="488918"/>
                    </a:cubicBezTo>
                    <a:close/>
                    <a:moveTo>
                      <a:pt x="247650" y="142875"/>
                    </a:moveTo>
                    <a:cubicBezTo>
                      <a:pt x="189738" y="142875"/>
                      <a:pt x="142875" y="189738"/>
                      <a:pt x="142875" y="247650"/>
                    </a:cubicBezTo>
                    <a:cubicBezTo>
                      <a:pt x="142875" y="305562"/>
                      <a:pt x="189738" y="352425"/>
                      <a:pt x="247650" y="352425"/>
                    </a:cubicBezTo>
                    <a:cubicBezTo>
                      <a:pt x="305562" y="352425"/>
                      <a:pt x="352425" y="305562"/>
                      <a:pt x="352425" y="247650"/>
                    </a:cubicBezTo>
                    <a:cubicBezTo>
                      <a:pt x="352425" y="189738"/>
                      <a:pt x="305562" y="142875"/>
                      <a:pt x="247650" y="142875"/>
                    </a:cubicBezTo>
                    <a:close/>
                    <a:moveTo>
                      <a:pt x="366713" y="114300"/>
                    </a:moveTo>
                    <a:cubicBezTo>
                      <a:pt x="358807" y="114300"/>
                      <a:pt x="352425" y="120682"/>
                      <a:pt x="352425" y="128588"/>
                    </a:cubicBezTo>
                    <a:cubicBezTo>
                      <a:pt x="352425" y="136493"/>
                      <a:pt x="358807" y="142875"/>
                      <a:pt x="366713" y="142875"/>
                    </a:cubicBezTo>
                    <a:cubicBezTo>
                      <a:pt x="374618" y="142875"/>
                      <a:pt x="381000" y="136493"/>
                      <a:pt x="381000" y="128588"/>
                    </a:cubicBezTo>
                    <a:cubicBezTo>
                      <a:pt x="381000" y="120682"/>
                      <a:pt x="374618" y="114300"/>
                      <a:pt x="366713" y="11430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84" name="îṥľîḑe">
                <a:extLst>
                  <a:ext uri="{FF2B5EF4-FFF2-40B4-BE49-F238E27FC236}">
                    <a16:creationId xmlns:a16="http://schemas.microsoft.com/office/drawing/2014/main" id="{1175A03F-584F-42FA-AAB4-34973BABBF54}"/>
                  </a:ext>
                </a:extLst>
              </p:cNvPr>
              <p:cNvSpPr/>
              <p:nvPr/>
            </p:nvSpPr>
            <p:spPr bwMode="auto">
              <a:xfrm>
                <a:off x="6890708" y="2434657"/>
                <a:ext cx="334634" cy="328658"/>
              </a:xfrm>
              <a:custGeom>
                <a:avLst/>
                <a:gdLst>
                  <a:gd name="connsiteX0" fmla="*/ 342900 w 533400"/>
                  <a:gd name="connsiteY0" fmla="*/ 276225 h 523875"/>
                  <a:gd name="connsiteX1" fmla="*/ 371475 w 533400"/>
                  <a:gd name="connsiteY1" fmla="*/ 304800 h 523875"/>
                  <a:gd name="connsiteX2" fmla="*/ 371475 w 533400"/>
                  <a:gd name="connsiteY2" fmla="*/ 495300 h 523875"/>
                  <a:gd name="connsiteX3" fmla="*/ 342900 w 533400"/>
                  <a:gd name="connsiteY3" fmla="*/ 523875 h 523875"/>
                  <a:gd name="connsiteX4" fmla="*/ 190500 w 533400"/>
                  <a:gd name="connsiteY4" fmla="*/ 523875 h 523875"/>
                  <a:gd name="connsiteX5" fmla="*/ 161925 w 533400"/>
                  <a:gd name="connsiteY5" fmla="*/ 495300 h 523875"/>
                  <a:gd name="connsiteX6" fmla="*/ 161925 w 533400"/>
                  <a:gd name="connsiteY6" fmla="*/ 304800 h 523875"/>
                  <a:gd name="connsiteX7" fmla="*/ 190500 w 533400"/>
                  <a:gd name="connsiteY7" fmla="*/ 276225 h 523875"/>
                  <a:gd name="connsiteX8" fmla="*/ 342900 w 533400"/>
                  <a:gd name="connsiteY8" fmla="*/ 276225 h 523875"/>
                  <a:gd name="connsiteX9" fmla="*/ 142875 w 533400"/>
                  <a:gd name="connsiteY9" fmla="*/ 114300 h 523875"/>
                  <a:gd name="connsiteX10" fmla="*/ 179070 w 533400"/>
                  <a:gd name="connsiteY10" fmla="*/ 152400 h 523875"/>
                  <a:gd name="connsiteX11" fmla="*/ 180975 w 533400"/>
                  <a:gd name="connsiteY11" fmla="*/ 152400 h 523875"/>
                  <a:gd name="connsiteX12" fmla="*/ 352425 w 533400"/>
                  <a:gd name="connsiteY12" fmla="*/ 152400 h 523875"/>
                  <a:gd name="connsiteX13" fmla="*/ 390525 w 533400"/>
                  <a:gd name="connsiteY13" fmla="*/ 116205 h 523875"/>
                  <a:gd name="connsiteX14" fmla="*/ 390525 w 533400"/>
                  <a:gd name="connsiteY14" fmla="*/ 114300 h 523875"/>
                  <a:gd name="connsiteX15" fmla="*/ 504825 w 533400"/>
                  <a:gd name="connsiteY15" fmla="*/ 114300 h 523875"/>
                  <a:gd name="connsiteX16" fmla="*/ 533400 w 533400"/>
                  <a:gd name="connsiteY16" fmla="*/ 142875 h 523875"/>
                  <a:gd name="connsiteX17" fmla="*/ 533400 w 533400"/>
                  <a:gd name="connsiteY17" fmla="*/ 381000 h 523875"/>
                  <a:gd name="connsiteX18" fmla="*/ 504825 w 533400"/>
                  <a:gd name="connsiteY18" fmla="*/ 409575 h 523875"/>
                  <a:gd name="connsiteX19" fmla="*/ 390525 w 533400"/>
                  <a:gd name="connsiteY19" fmla="*/ 409575 h 523875"/>
                  <a:gd name="connsiteX20" fmla="*/ 390525 w 533400"/>
                  <a:gd name="connsiteY20" fmla="*/ 295275 h 523875"/>
                  <a:gd name="connsiteX21" fmla="*/ 354330 w 533400"/>
                  <a:gd name="connsiteY21" fmla="*/ 257175 h 523875"/>
                  <a:gd name="connsiteX22" fmla="*/ 352425 w 533400"/>
                  <a:gd name="connsiteY22" fmla="*/ 257175 h 523875"/>
                  <a:gd name="connsiteX23" fmla="*/ 180975 w 533400"/>
                  <a:gd name="connsiteY23" fmla="*/ 257175 h 523875"/>
                  <a:gd name="connsiteX24" fmla="*/ 142875 w 533400"/>
                  <a:gd name="connsiteY24" fmla="*/ 293370 h 523875"/>
                  <a:gd name="connsiteX25" fmla="*/ 142875 w 533400"/>
                  <a:gd name="connsiteY25" fmla="*/ 295275 h 523875"/>
                  <a:gd name="connsiteX26" fmla="*/ 142875 w 533400"/>
                  <a:gd name="connsiteY26" fmla="*/ 409575 h 523875"/>
                  <a:gd name="connsiteX27" fmla="*/ 28575 w 533400"/>
                  <a:gd name="connsiteY27" fmla="*/ 409575 h 523875"/>
                  <a:gd name="connsiteX28" fmla="*/ 0 w 533400"/>
                  <a:gd name="connsiteY28" fmla="*/ 381000 h 523875"/>
                  <a:gd name="connsiteX29" fmla="*/ 0 w 533400"/>
                  <a:gd name="connsiteY29" fmla="*/ 200787 h 523875"/>
                  <a:gd name="connsiteX30" fmla="*/ 10287 w 533400"/>
                  <a:gd name="connsiteY30" fmla="*/ 174784 h 523875"/>
                  <a:gd name="connsiteX31" fmla="*/ 55436 w 533400"/>
                  <a:gd name="connsiteY31" fmla="*/ 126397 h 523875"/>
                  <a:gd name="connsiteX32" fmla="*/ 83248 w 533400"/>
                  <a:gd name="connsiteY32" fmla="*/ 114300 h 523875"/>
                  <a:gd name="connsiteX33" fmla="*/ 142875 w 533400"/>
                  <a:gd name="connsiteY33" fmla="*/ 114300 h 523875"/>
                  <a:gd name="connsiteX34" fmla="*/ 461963 w 533400"/>
                  <a:gd name="connsiteY34" fmla="*/ 171450 h 523875"/>
                  <a:gd name="connsiteX35" fmla="*/ 447675 w 533400"/>
                  <a:gd name="connsiteY35" fmla="*/ 185738 h 523875"/>
                  <a:gd name="connsiteX36" fmla="*/ 461963 w 533400"/>
                  <a:gd name="connsiteY36" fmla="*/ 200025 h 523875"/>
                  <a:gd name="connsiteX37" fmla="*/ 476250 w 533400"/>
                  <a:gd name="connsiteY37" fmla="*/ 185738 h 523875"/>
                  <a:gd name="connsiteX38" fmla="*/ 461963 w 533400"/>
                  <a:gd name="connsiteY38" fmla="*/ 171450 h 523875"/>
                  <a:gd name="connsiteX39" fmla="*/ 342900 w 533400"/>
                  <a:gd name="connsiteY39" fmla="*/ 0 h 523875"/>
                  <a:gd name="connsiteX40" fmla="*/ 371475 w 533400"/>
                  <a:gd name="connsiteY40" fmla="*/ 28575 h 523875"/>
                  <a:gd name="connsiteX41" fmla="*/ 371475 w 533400"/>
                  <a:gd name="connsiteY41" fmla="*/ 104775 h 523875"/>
                  <a:gd name="connsiteX42" fmla="*/ 342900 w 533400"/>
                  <a:gd name="connsiteY42" fmla="*/ 133350 h 523875"/>
                  <a:gd name="connsiteX43" fmla="*/ 190500 w 533400"/>
                  <a:gd name="connsiteY43" fmla="*/ 133350 h 523875"/>
                  <a:gd name="connsiteX44" fmla="*/ 161925 w 533400"/>
                  <a:gd name="connsiteY44" fmla="*/ 104775 h 523875"/>
                  <a:gd name="connsiteX45" fmla="*/ 161925 w 533400"/>
                  <a:gd name="connsiteY45" fmla="*/ 28575 h 523875"/>
                  <a:gd name="connsiteX46" fmla="*/ 190500 w 533400"/>
                  <a:gd name="connsiteY46" fmla="*/ 0 h 523875"/>
                  <a:gd name="connsiteX47" fmla="*/ 342900 w 533400"/>
                  <a:gd name="connsiteY47" fmla="*/ 0 h 523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533400" h="523875">
                    <a:moveTo>
                      <a:pt x="342900" y="276225"/>
                    </a:moveTo>
                    <a:cubicBezTo>
                      <a:pt x="358711" y="276225"/>
                      <a:pt x="371475" y="288989"/>
                      <a:pt x="371475" y="304800"/>
                    </a:cubicBezTo>
                    <a:lnTo>
                      <a:pt x="371475" y="495300"/>
                    </a:lnTo>
                    <a:cubicBezTo>
                      <a:pt x="371475" y="511112"/>
                      <a:pt x="358711" y="523875"/>
                      <a:pt x="342900" y="523875"/>
                    </a:cubicBezTo>
                    <a:lnTo>
                      <a:pt x="190500" y="523875"/>
                    </a:lnTo>
                    <a:cubicBezTo>
                      <a:pt x="174689" y="523875"/>
                      <a:pt x="161925" y="511112"/>
                      <a:pt x="161925" y="495300"/>
                    </a:cubicBezTo>
                    <a:lnTo>
                      <a:pt x="161925" y="304800"/>
                    </a:lnTo>
                    <a:cubicBezTo>
                      <a:pt x="161925" y="288989"/>
                      <a:pt x="174689" y="276225"/>
                      <a:pt x="190500" y="276225"/>
                    </a:cubicBezTo>
                    <a:lnTo>
                      <a:pt x="342900" y="276225"/>
                    </a:lnTo>
                    <a:close/>
                    <a:moveTo>
                      <a:pt x="142875" y="114300"/>
                    </a:moveTo>
                    <a:cubicBezTo>
                      <a:pt x="142875" y="134684"/>
                      <a:pt x="158877" y="151352"/>
                      <a:pt x="179070" y="152400"/>
                    </a:cubicBezTo>
                    <a:lnTo>
                      <a:pt x="180975" y="152400"/>
                    </a:lnTo>
                    <a:lnTo>
                      <a:pt x="352425" y="152400"/>
                    </a:lnTo>
                    <a:cubicBezTo>
                      <a:pt x="372809" y="152400"/>
                      <a:pt x="389477" y="136398"/>
                      <a:pt x="390525" y="116205"/>
                    </a:cubicBezTo>
                    <a:lnTo>
                      <a:pt x="390525" y="114300"/>
                    </a:lnTo>
                    <a:lnTo>
                      <a:pt x="504825" y="114300"/>
                    </a:lnTo>
                    <a:cubicBezTo>
                      <a:pt x="520636" y="114300"/>
                      <a:pt x="533400" y="127064"/>
                      <a:pt x="533400" y="142875"/>
                    </a:cubicBezTo>
                    <a:lnTo>
                      <a:pt x="533400" y="381000"/>
                    </a:lnTo>
                    <a:cubicBezTo>
                      <a:pt x="533400" y="396812"/>
                      <a:pt x="520636" y="409575"/>
                      <a:pt x="504825" y="409575"/>
                    </a:cubicBezTo>
                    <a:lnTo>
                      <a:pt x="390525" y="409575"/>
                    </a:lnTo>
                    <a:lnTo>
                      <a:pt x="390525" y="295275"/>
                    </a:lnTo>
                    <a:cubicBezTo>
                      <a:pt x="390525" y="274892"/>
                      <a:pt x="374523" y="258223"/>
                      <a:pt x="354330" y="257175"/>
                    </a:cubicBezTo>
                    <a:lnTo>
                      <a:pt x="352425" y="257175"/>
                    </a:lnTo>
                    <a:lnTo>
                      <a:pt x="180975" y="257175"/>
                    </a:lnTo>
                    <a:cubicBezTo>
                      <a:pt x="160591" y="257175"/>
                      <a:pt x="143923" y="273177"/>
                      <a:pt x="142875" y="293370"/>
                    </a:cubicBezTo>
                    <a:lnTo>
                      <a:pt x="142875" y="295275"/>
                    </a:lnTo>
                    <a:lnTo>
                      <a:pt x="142875" y="409575"/>
                    </a:lnTo>
                    <a:lnTo>
                      <a:pt x="28575" y="409575"/>
                    </a:lnTo>
                    <a:cubicBezTo>
                      <a:pt x="12763" y="409575"/>
                      <a:pt x="0" y="396812"/>
                      <a:pt x="0" y="381000"/>
                    </a:cubicBezTo>
                    <a:lnTo>
                      <a:pt x="0" y="200787"/>
                    </a:lnTo>
                    <a:cubicBezTo>
                      <a:pt x="0" y="191167"/>
                      <a:pt x="3620" y="181832"/>
                      <a:pt x="10287" y="174784"/>
                    </a:cubicBezTo>
                    <a:lnTo>
                      <a:pt x="55436" y="126397"/>
                    </a:lnTo>
                    <a:cubicBezTo>
                      <a:pt x="62675" y="118682"/>
                      <a:pt x="72771" y="114300"/>
                      <a:pt x="83248" y="114300"/>
                    </a:cubicBezTo>
                    <a:lnTo>
                      <a:pt x="142875" y="114300"/>
                    </a:lnTo>
                    <a:close/>
                    <a:moveTo>
                      <a:pt x="461963" y="171450"/>
                    </a:moveTo>
                    <a:cubicBezTo>
                      <a:pt x="454057" y="171450"/>
                      <a:pt x="447675" y="177832"/>
                      <a:pt x="447675" y="185738"/>
                    </a:cubicBezTo>
                    <a:cubicBezTo>
                      <a:pt x="447675" y="193643"/>
                      <a:pt x="454057" y="200025"/>
                      <a:pt x="461963" y="200025"/>
                    </a:cubicBezTo>
                    <a:cubicBezTo>
                      <a:pt x="469868" y="200025"/>
                      <a:pt x="476250" y="193643"/>
                      <a:pt x="476250" y="185738"/>
                    </a:cubicBezTo>
                    <a:cubicBezTo>
                      <a:pt x="476250" y="177832"/>
                      <a:pt x="469868" y="171450"/>
                      <a:pt x="461963" y="171450"/>
                    </a:cubicBezTo>
                    <a:close/>
                    <a:moveTo>
                      <a:pt x="342900" y="0"/>
                    </a:moveTo>
                    <a:cubicBezTo>
                      <a:pt x="358711" y="0"/>
                      <a:pt x="371475" y="12763"/>
                      <a:pt x="371475" y="28575"/>
                    </a:cubicBezTo>
                    <a:lnTo>
                      <a:pt x="371475" y="104775"/>
                    </a:lnTo>
                    <a:cubicBezTo>
                      <a:pt x="371475" y="120587"/>
                      <a:pt x="358711" y="133350"/>
                      <a:pt x="342900" y="133350"/>
                    </a:cubicBezTo>
                    <a:lnTo>
                      <a:pt x="190500" y="133350"/>
                    </a:lnTo>
                    <a:cubicBezTo>
                      <a:pt x="174689" y="133350"/>
                      <a:pt x="161925" y="120587"/>
                      <a:pt x="161925" y="104775"/>
                    </a:cubicBezTo>
                    <a:lnTo>
                      <a:pt x="161925" y="28575"/>
                    </a:lnTo>
                    <a:cubicBezTo>
                      <a:pt x="161925" y="12763"/>
                      <a:pt x="174689" y="0"/>
                      <a:pt x="190500" y="0"/>
                    </a:cubicBezTo>
                    <a:lnTo>
                      <a:pt x="34290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85" name="íś1îḑe">
                <a:extLst>
                  <a:ext uri="{FF2B5EF4-FFF2-40B4-BE49-F238E27FC236}">
                    <a16:creationId xmlns:a16="http://schemas.microsoft.com/office/drawing/2014/main" id="{A1FB5617-0A71-4653-91E7-F18005193F84}"/>
                  </a:ext>
                </a:extLst>
              </p:cNvPr>
              <p:cNvSpPr/>
              <p:nvPr/>
            </p:nvSpPr>
            <p:spPr bwMode="auto">
              <a:xfrm>
                <a:off x="8090693" y="3534225"/>
                <a:ext cx="372916" cy="366256"/>
              </a:xfrm>
              <a:custGeom>
                <a:avLst/>
                <a:gdLst>
                  <a:gd name="connsiteX0" fmla="*/ 342900 w 533400"/>
                  <a:gd name="connsiteY0" fmla="*/ 276225 h 523875"/>
                  <a:gd name="connsiteX1" fmla="*/ 371475 w 533400"/>
                  <a:gd name="connsiteY1" fmla="*/ 304800 h 523875"/>
                  <a:gd name="connsiteX2" fmla="*/ 371475 w 533400"/>
                  <a:gd name="connsiteY2" fmla="*/ 495300 h 523875"/>
                  <a:gd name="connsiteX3" fmla="*/ 342900 w 533400"/>
                  <a:gd name="connsiteY3" fmla="*/ 523875 h 523875"/>
                  <a:gd name="connsiteX4" fmla="*/ 190500 w 533400"/>
                  <a:gd name="connsiteY4" fmla="*/ 523875 h 523875"/>
                  <a:gd name="connsiteX5" fmla="*/ 161925 w 533400"/>
                  <a:gd name="connsiteY5" fmla="*/ 495300 h 523875"/>
                  <a:gd name="connsiteX6" fmla="*/ 161925 w 533400"/>
                  <a:gd name="connsiteY6" fmla="*/ 304800 h 523875"/>
                  <a:gd name="connsiteX7" fmla="*/ 190500 w 533400"/>
                  <a:gd name="connsiteY7" fmla="*/ 276225 h 523875"/>
                  <a:gd name="connsiteX8" fmla="*/ 342900 w 533400"/>
                  <a:gd name="connsiteY8" fmla="*/ 276225 h 523875"/>
                  <a:gd name="connsiteX9" fmla="*/ 142875 w 533400"/>
                  <a:gd name="connsiteY9" fmla="*/ 114300 h 523875"/>
                  <a:gd name="connsiteX10" fmla="*/ 179070 w 533400"/>
                  <a:gd name="connsiteY10" fmla="*/ 152400 h 523875"/>
                  <a:gd name="connsiteX11" fmla="*/ 180975 w 533400"/>
                  <a:gd name="connsiteY11" fmla="*/ 152400 h 523875"/>
                  <a:gd name="connsiteX12" fmla="*/ 352425 w 533400"/>
                  <a:gd name="connsiteY12" fmla="*/ 152400 h 523875"/>
                  <a:gd name="connsiteX13" fmla="*/ 390525 w 533400"/>
                  <a:gd name="connsiteY13" fmla="*/ 116205 h 523875"/>
                  <a:gd name="connsiteX14" fmla="*/ 390525 w 533400"/>
                  <a:gd name="connsiteY14" fmla="*/ 114300 h 523875"/>
                  <a:gd name="connsiteX15" fmla="*/ 504825 w 533400"/>
                  <a:gd name="connsiteY15" fmla="*/ 114300 h 523875"/>
                  <a:gd name="connsiteX16" fmla="*/ 533400 w 533400"/>
                  <a:gd name="connsiteY16" fmla="*/ 142875 h 523875"/>
                  <a:gd name="connsiteX17" fmla="*/ 533400 w 533400"/>
                  <a:gd name="connsiteY17" fmla="*/ 381000 h 523875"/>
                  <a:gd name="connsiteX18" fmla="*/ 504825 w 533400"/>
                  <a:gd name="connsiteY18" fmla="*/ 409575 h 523875"/>
                  <a:gd name="connsiteX19" fmla="*/ 390525 w 533400"/>
                  <a:gd name="connsiteY19" fmla="*/ 409575 h 523875"/>
                  <a:gd name="connsiteX20" fmla="*/ 390525 w 533400"/>
                  <a:gd name="connsiteY20" fmla="*/ 295275 h 523875"/>
                  <a:gd name="connsiteX21" fmla="*/ 354330 w 533400"/>
                  <a:gd name="connsiteY21" fmla="*/ 257175 h 523875"/>
                  <a:gd name="connsiteX22" fmla="*/ 352425 w 533400"/>
                  <a:gd name="connsiteY22" fmla="*/ 257175 h 523875"/>
                  <a:gd name="connsiteX23" fmla="*/ 180975 w 533400"/>
                  <a:gd name="connsiteY23" fmla="*/ 257175 h 523875"/>
                  <a:gd name="connsiteX24" fmla="*/ 142875 w 533400"/>
                  <a:gd name="connsiteY24" fmla="*/ 293370 h 523875"/>
                  <a:gd name="connsiteX25" fmla="*/ 142875 w 533400"/>
                  <a:gd name="connsiteY25" fmla="*/ 295275 h 523875"/>
                  <a:gd name="connsiteX26" fmla="*/ 142875 w 533400"/>
                  <a:gd name="connsiteY26" fmla="*/ 409575 h 523875"/>
                  <a:gd name="connsiteX27" fmla="*/ 28575 w 533400"/>
                  <a:gd name="connsiteY27" fmla="*/ 409575 h 523875"/>
                  <a:gd name="connsiteX28" fmla="*/ 0 w 533400"/>
                  <a:gd name="connsiteY28" fmla="*/ 381000 h 523875"/>
                  <a:gd name="connsiteX29" fmla="*/ 0 w 533400"/>
                  <a:gd name="connsiteY29" fmla="*/ 200787 h 523875"/>
                  <a:gd name="connsiteX30" fmla="*/ 10287 w 533400"/>
                  <a:gd name="connsiteY30" fmla="*/ 174784 h 523875"/>
                  <a:gd name="connsiteX31" fmla="*/ 55436 w 533400"/>
                  <a:gd name="connsiteY31" fmla="*/ 126397 h 523875"/>
                  <a:gd name="connsiteX32" fmla="*/ 83248 w 533400"/>
                  <a:gd name="connsiteY32" fmla="*/ 114300 h 523875"/>
                  <a:gd name="connsiteX33" fmla="*/ 142875 w 533400"/>
                  <a:gd name="connsiteY33" fmla="*/ 114300 h 523875"/>
                  <a:gd name="connsiteX34" fmla="*/ 461963 w 533400"/>
                  <a:gd name="connsiteY34" fmla="*/ 171450 h 523875"/>
                  <a:gd name="connsiteX35" fmla="*/ 447675 w 533400"/>
                  <a:gd name="connsiteY35" fmla="*/ 185738 h 523875"/>
                  <a:gd name="connsiteX36" fmla="*/ 461963 w 533400"/>
                  <a:gd name="connsiteY36" fmla="*/ 200025 h 523875"/>
                  <a:gd name="connsiteX37" fmla="*/ 476250 w 533400"/>
                  <a:gd name="connsiteY37" fmla="*/ 185738 h 523875"/>
                  <a:gd name="connsiteX38" fmla="*/ 461963 w 533400"/>
                  <a:gd name="connsiteY38" fmla="*/ 171450 h 523875"/>
                  <a:gd name="connsiteX39" fmla="*/ 342900 w 533400"/>
                  <a:gd name="connsiteY39" fmla="*/ 0 h 523875"/>
                  <a:gd name="connsiteX40" fmla="*/ 371475 w 533400"/>
                  <a:gd name="connsiteY40" fmla="*/ 28575 h 523875"/>
                  <a:gd name="connsiteX41" fmla="*/ 371475 w 533400"/>
                  <a:gd name="connsiteY41" fmla="*/ 104775 h 523875"/>
                  <a:gd name="connsiteX42" fmla="*/ 342900 w 533400"/>
                  <a:gd name="connsiteY42" fmla="*/ 133350 h 523875"/>
                  <a:gd name="connsiteX43" fmla="*/ 190500 w 533400"/>
                  <a:gd name="connsiteY43" fmla="*/ 133350 h 523875"/>
                  <a:gd name="connsiteX44" fmla="*/ 161925 w 533400"/>
                  <a:gd name="connsiteY44" fmla="*/ 104775 h 523875"/>
                  <a:gd name="connsiteX45" fmla="*/ 161925 w 533400"/>
                  <a:gd name="connsiteY45" fmla="*/ 28575 h 523875"/>
                  <a:gd name="connsiteX46" fmla="*/ 190500 w 533400"/>
                  <a:gd name="connsiteY46" fmla="*/ 0 h 523875"/>
                  <a:gd name="connsiteX47" fmla="*/ 342900 w 533400"/>
                  <a:gd name="connsiteY47" fmla="*/ 0 h 523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533400" h="523875">
                    <a:moveTo>
                      <a:pt x="342900" y="276225"/>
                    </a:moveTo>
                    <a:cubicBezTo>
                      <a:pt x="358711" y="276225"/>
                      <a:pt x="371475" y="288989"/>
                      <a:pt x="371475" y="304800"/>
                    </a:cubicBezTo>
                    <a:lnTo>
                      <a:pt x="371475" y="495300"/>
                    </a:lnTo>
                    <a:cubicBezTo>
                      <a:pt x="371475" y="511112"/>
                      <a:pt x="358711" y="523875"/>
                      <a:pt x="342900" y="523875"/>
                    </a:cubicBezTo>
                    <a:lnTo>
                      <a:pt x="190500" y="523875"/>
                    </a:lnTo>
                    <a:cubicBezTo>
                      <a:pt x="174689" y="523875"/>
                      <a:pt x="161925" y="511112"/>
                      <a:pt x="161925" y="495300"/>
                    </a:cubicBezTo>
                    <a:lnTo>
                      <a:pt x="161925" y="304800"/>
                    </a:lnTo>
                    <a:cubicBezTo>
                      <a:pt x="161925" y="288989"/>
                      <a:pt x="174689" y="276225"/>
                      <a:pt x="190500" y="276225"/>
                    </a:cubicBezTo>
                    <a:lnTo>
                      <a:pt x="342900" y="276225"/>
                    </a:lnTo>
                    <a:close/>
                    <a:moveTo>
                      <a:pt x="142875" y="114300"/>
                    </a:moveTo>
                    <a:cubicBezTo>
                      <a:pt x="142875" y="134684"/>
                      <a:pt x="158877" y="151352"/>
                      <a:pt x="179070" y="152400"/>
                    </a:cubicBezTo>
                    <a:lnTo>
                      <a:pt x="180975" y="152400"/>
                    </a:lnTo>
                    <a:lnTo>
                      <a:pt x="352425" y="152400"/>
                    </a:lnTo>
                    <a:cubicBezTo>
                      <a:pt x="372809" y="152400"/>
                      <a:pt x="389477" y="136398"/>
                      <a:pt x="390525" y="116205"/>
                    </a:cubicBezTo>
                    <a:lnTo>
                      <a:pt x="390525" y="114300"/>
                    </a:lnTo>
                    <a:lnTo>
                      <a:pt x="504825" y="114300"/>
                    </a:lnTo>
                    <a:cubicBezTo>
                      <a:pt x="520636" y="114300"/>
                      <a:pt x="533400" y="127064"/>
                      <a:pt x="533400" y="142875"/>
                    </a:cubicBezTo>
                    <a:lnTo>
                      <a:pt x="533400" y="381000"/>
                    </a:lnTo>
                    <a:cubicBezTo>
                      <a:pt x="533400" y="396812"/>
                      <a:pt x="520636" y="409575"/>
                      <a:pt x="504825" y="409575"/>
                    </a:cubicBezTo>
                    <a:lnTo>
                      <a:pt x="390525" y="409575"/>
                    </a:lnTo>
                    <a:lnTo>
                      <a:pt x="390525" y="295275"/>
                    </a:lnTo>
                    <a:cubicBezTo>
                      <a:pt x="390525" y="274892"/>
                      <a:pt x="374523" y="258223"/>
                      <a:pt x="354330" y="257175"/>
                    </a:cubicBezTo>
                    <a:lnTo>
                      <a:pt x="352425" y="257175"/>
                    </a:lnTo>
                    <a:lnTo>
                      <a:pt x="180975" y="257175"/>
                    </a:lnTo>
                    <a:cubicBezTo>
                      <a:pt x="160591" y="257175"/>
                      <a:pt x="143923" y="273177"/>
                      <a:pt x="142875" y="293370"/>
                    </a:cubicBezTo>
                    <a:lnTo>
                      <a:pt x="142875" y="295275"/>
                    </a:lnTo>
                    <a:lnTo>
                      <a:pt x="142875" y="409575"/>
                    </a:lnTo>
                    <a:lnTo>
                      <a:pt x="28575" y="409575"/>
                    </a:lnTo>
                    <a:cubicBezTo>
                      <a:pt x="12763" y="409575"/>
                      <a:pt x="0" y="396812"/>
                      <a:pt x="0" y="381000"/>
                    </a:cubicBezTo>
                    <a:lnTo>
                      <a:pt x="0" y="200787"/>
                    </a:lnTo>
                    <a:cubicBezTo>
                      <a:pt x="0" y="191167"/>
                      <a:pt x="3620" y="181832"/>
                      <a:pt x="10287" y="174784"/>
                    </a:cubicBezTo>
                    <a:lnTo>
                      <a:pt x="55436" y="126397"/>
                    </a:lnTo>
                    <a:cubicBezTo>
                      <a:pt x="62675" y="118682"/>
                      <a:pt x="72771" y="114300"/>
                      <a:pt x="83248" y="114300"/>
                    </a:cubicBezTo>
                    <a:lnTo>
                      <a:pt x="142875" y="114300"/>
                    </a:lnTo>
                    <a:close/>
                    <a:moveTo>
                      <a:pt x="461963" y="171450"/>
                    </a:moveTo>
                    <a:cubicBezTo>
                      <a:pt x="454057" y="171450"/>
                      <a:pt x="447675" y="177832"/>
                      <a:pt x="447675" y="185738"/>
                    </a:cubicBezTo>
                    <a:cubicBezTo>
                      <a:pt x="447675" y="193643"/>
                      <a:pt x="454057" y="200025"/>
                      <a:pt x="461963" y="200025"/>
                    </a:cubicBezTo>
                    <a:cubicBezTo>
                      <a:pt x="469868" y="200025"/>
                      <a:pt x="476250" y="193643"/>
                      <a:pt x="476250" y="185738"/>
                    </a:cubicBezTo>
                    <a:cubicBezTo>
                      <a:pt x="476250" y="177832"/>
                      <a:pt x="469868" y="171450"/>
                      <a:pt x="461963" y="171450"/>
                    </a:cubicBezTo>
                    <a:close/>
                    <a:moveTo>
                      <a:pt x="342900" y="0"/>
                    </a:moveTo>
                    <a:cubicBezTo>
                      <a:pt x="358711" y="0"/>
                      <a:pt x="371475" y="12763"/>
                      <a:pt x="371475" y="28575"/>
                    </a:cubicBezTo>
                    <a:lnTo>
                      <a:pt x="371475" y="104775"/>
                    </a:lnTo>
                    <a:cubicBezTo>
                      <a:pt x="371475" y="120587"/>
                      <a:pt x="358711" y="133350"/>
                      <a:pt x="342900" y="133350"/>
                    </a:cubicBezTo>
                    <a:lnTo>
                      <a:pt x="190500" y="133350"/>
                    </a:lnTo>
                    <a:cubicBezTo>
                      <a:pt x="174689" y="133350"/>
                      <a:pt x="161925" y="120587"/>
                      <a:pt x="161925" y="104775"/>
                    </a:cubicBezTo>
                    <a:lnTo>
                      <a:pt x="161925" y="28575"/>
                    </a:lnTo>
                    <a:cubicBezTo>
                      <a:pt x="161925" y="12763"/>
                      <a:pt x="174689" y="0"/>
                      <a:pt x="190500" y="0"/>
                    </a:cubicBezTo>
                    <a:lnTo>
                      <a:pt x="34290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63" name="íṥḷiďe">
              <a:extLst>
                <a:ext uri="{FF2B5EF4-FFF2-40B4-BE49-F238E27FC236}">
                  <a16:creationId xmlns:a16="http://schemas.microsoft.com/office/drawing/2014/main" id="{1343A35B-C9E7-437B-993A-21D9E4CE6CED}"/>
                </a:ext>
              </a:extLst>
            </p:cNvPr>
            <p:cNvGrpSpPr/>
            <p:nvPr/>
          </p:nvGrpSpPr>
          <p:grpSpPr>
            <a:xfrm>
              <a:off x="673100" y="3433765"/>
              <a:ext cx="3621385" cy="1502948"/>
              <a:chOff x="673101" y="3681656"/>
              <a:chExt cx="3621385" cy="1502948"/>
            </a:xfrm>
          </p:grpSpPr>
          <p:sp>
            <p:nvSpPr>
              <p:cNvPr id="73" name="îš1iďê">
                <a:extLst>
                  <a:ext uri="{FF2B5EF4-FFF2-40B4-BE49-F238E27FC236}">
                    <a16:creationId xmlns:a16="http://schemas.microsoft.com/office/drawing/2014/main" id="{0D745C7E-88A6-41CE-BE6C-D833D223274F}"/>
                  </a:ext>
                </a:extLst>
              </p:cNvPr>
              <p:cNvSpPr/>
              <p:nvPr/>
            </p:nvSpPr>
            <p:spPr bwMode="auto">
              <a:xfrm>
                <a:off x="673101" y="4069255"/>
                <a:ext cx="3615034" cy="5115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74" name="iśľíde">
                <a:extLst>
                  <a:ext uri="{FF2B5EF4-FFF2-40B4-BE49-F238E27FC236}">
                    <a16:creationId xmlns:a16="http://schemas.microsoft.com/office/drawing/2014/main" id="{04E32B64-1A8D-4875-AC22-BE3496FF90E7}"/>
                  </a:ext>
                </a:extLst>
              </p:cNvPr>
              <p:cNvSpPr txBox="1"/>
              <p:nvPr/>
            </p:nvSpPr>
            <p:spPr bwMode="auto">
              <a:xfrm>
                <a:off x="673101" y="3681656"/>
                <a:ext cx="3615034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Text here</a:t>
                </a:r>
              </a:p>
            </p:txBody>
          </p:sp>
          <p:sp>
            <p:nvSpPr>
              <p:cNvPr id="75" name="îṥľîḑè">
                <a:extLst>
                  <a:ext uri="{FF2B5EF4-FFF2-40B4-BE49-F238E27FC236}">
                    <a16:creationId xmlns:a16="http://schemas.microsoft.com/office/drawing/2014/main" id="{0D745C7E-88A6-41CE-BE6C-D833D223274F}"/>
                  </a:ext>
                </a:extLst>
              </p:cNvPr>
              <p:cNvSpPr/>
              <p:nvPr/>
            </p:nvSpPr>
            <p:spPr bwMode="auto">
              <a:xfrm>
                <a:off x="679452" y="4673038"/>
                <a:ext cx="3615034" cy="5115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cxnSp>
            <p:nvCxnSpPr>
              <p:cNvPr id="76" name="íšḷíḓê">
                <a:extLst>
                  <a:ext uri="{FF2B5EF4-FFF2-40B4-BE49-F238E27FC236}">
                    <a16:creationId xmlns:a16="http://schemas.microsoft.com/office/drawing/2014/main" id="{2BFD11E5-6282-427A-85F6-CBE869890AB9}"/>
                  </a:ext>
                </a:extLst>
              </p:cNvPr>
              <p:cNvCxnSpPr/>
              <p:nvPr/>
            </p:nvCxnSpPr>
            <p:spPr>
              <a:xfrm>
                <a:off x="673101" y="4626930"/>
                <a:ext cx="3556563" cy="0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îŝḷiḋe">
              <a:extLst>
                <a:ext uri="{FF2B5EF4-FFF2-40B4-BE49-F238E27FC236}">
                  <a16:creationId xmlns:a16="http://schemas.microsoft.com/office/drawing/2014/main" id="{1CF4C210-A328-4E46-BB0B-777C9B70D766}"/>
                </a:ext>
              </a:extLst>
            </p:cNvPr>
            <p:cNvGrpSpPr/>
            <p:nvPr/>
          </p:nvGrpSpPr>
          <p:grpSpPr>
            <a:xfrm>
              <a:off x="7897515" y="3433765"/>
              <a:ext cx="3621385" cy="1502948"/>
              <a:chOff x="7897515" y="3681656"/>
              <a:chExt cx="3621385" cy="1502948"/>
            </a:xfrm>
          </p:grpSpPr>
          <p:sp>
            <p:nvSpPr>
              <p:cNvPr id="69" name="íṡļîďe">
                <a:extLst>
                  <a:ext uri="{FF2B5EF4-FFF2-40B4-BE49-F238E27FC236}">
                    <a16:creationId xmlns:a16="http://schemas.microsoft.com/office/drawing/2014/main" id="{04E32B64-1A8D-4875-AC22-BE3496FF90E7}"/>
                  </a:ext>
                </a:extLst>
              </p:cNvPr>
              <p:cNvSpPr txBox="1"/>
              <p:nvPr/>
            </p:nvSpPr>
            <p:spPr bwMode="auto">
              <a:xfrm>
                <a:off x="7897515" y="3681656"/>
                <a:ext cx="3615034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Text here</a:t>
                </a:r>
              </a:p>
            </p:txBody>
          </p:sp>
          <p:sp>
            <p:nvSpPr>
              <p:cNvPr id="70" name="îṥḷîḑè">
                <a:extLst>
                  <a:ext uri="{FF2B5EF4-FFF2-40B4-BE49-F238E27FC236}">
                    <a16:creationId xmlns:a16="http://schemas.microsoft.com/office/drawing/2014/main" id="{0D745C7E-88A6-41CE-BE6C-D833D223274F}"/>
                  </a:ext>
                </a:extLst>
              </p:cNvPr>
              <p:cNvSpPr/>
              <p:nvPr/>
            </p:nvSpPr>
            <p:spPr bwMode="auto">
              <a:xfrm>
                <a:off x="7897515" y="4069255"/>
                <a:ext cx="3615034" cy="5115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r"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71" name="î$liďe">
                <a:extLst>
                  <a:ext uri="{FF2B5EF4-FFF2-40B4-BE49-F238E27FC236}">
                    <a16:creationId xmlns:a16="http://schemas.microsoft.com/office/drawing/2014/main" id="{0D745C7E-88A6-41CE-BE6C-D833D223274F}"/>
                  </a:ext>
                </a:extLst>
              </p:cNvPr>
              <p:cNvSpPr/>
              <p:nvPr/>
            </p:nvSpPr>
            <p:spPr bwMode="auto">
              <a:xfrm>
                <a:off x="7903866" y="4673038"/>
                <a:ext cx="3615034" cy="5115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r"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cxnSp>
            <p:nvCxnSpPr>
              <p:cNvPr id="72" name="îṧḻíḓe">
                <a:extLst>
                  <a:ext uri="{FF2B5EF4-FFF2-40B4-BE49-F238E27FC236}">
                    <a16:creationId xmlns:a16="http://schemas.microsoft.com/office/drawing/2014/main" id="{7022FCE9-4694-484F-9DE1-DAD0875C2819}"/>
                  </a:ext>
                </a:extLst>
              </p:cNvPr>
              <p:cNvCxnSpPr/>
              <p:nvPr/>
            </p:nvCxnSpPr>
            <p:spPr>
              <a:xfrm>
                <a:off x="7962337" y="4626930"/>
                <a:ext cx="3556563" cy="0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í$1iḓe">
              <a:extLst>
                <a:ext uri="{FF2B5EF4-FFF2-40B4-BE49-F238E27FC236}">
                  <a16:creationId xmlns:a16="http://schemas.microsoft.com/office/drawing/2014/main" id="{D6DC2C7E-A879-429C-BB1F-F5F6289C8142}"/>
                </a:ext>
              </a:extLst>
            </p:cNvPr>
            <p:cNvGrpSpPr/>
            <p:nvPr/>
          </p:nvGrpSpPr>
          <p:grpSpPr>
            <a:xfrm>
              <a:off x="4288483" y="1627952"/>
              <a:ext cx="3615034" cy="945274"/>
              <a:chOff x="4373496" y="1348089"/>
              <a:chExt cx="3615034" cy="945274"/>
            </a:xfrm>
          </p:grpSpPr>
          <p:sp>
            <p:nvSpPr>
              <p:cNvPr id="66" name="iş1íďé">
                <a:extLst>
                  <a:ext uri="{FF2B5EF4-FFF2-40B4-BE49-F238E27FC236}">
                    <a16:creationId xmlns:a16="http://schemas.microsoft.com/office/drawing/2014/main" id="{0D745C7E-88A6-41CE-BE6C-D833D223274F}"/>
                  </a:ext>
                </a:extLst>
              </p:cNvPr>
              <p:cNvSpPr/>
              <p:nvPr/>
            </p:nvSpPr>
            <p:spPr bwMode="auto">
              <a:xfrm>
                <a:off x="4373496" y="1735688"/>
                <a:ext cx="3615034" cy="5115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67" name="í$ļíďe">
                <a:extLst>
                  <a:ext uri="{FF2B5EF4-FFF2-40B4-BE49-F238E27FC236}">
                    <a16:creationId xmlns:a16="http://schemas.microsoft.com/office/drawing/2014/main" id="{04E32B64-1A8D-4875-AC22-BE3496FF90E7}"/>
                  </a:ext>
                </a:extLst>
              </p:cNvPr>
              <p:cNvSpPr txBox="1"/>
              <p:nvPr/>
            </p:nvSpPr>
            <p:spPr bwMode="auto">
              <a:xfrm>
                <a:off x="4373496" y="1348089"/>
                <a:ext cx="3615034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Text here</a:t>
                </a:r>
              </a:p>
            </p:txBody>
          </p:sp>
          <p:cxnSp>
            <p:nvCxnSpPr>
              <p:cNvPr id="68" name="îšľíďé">
                <a:extLst>
                  <a:ext uri="{FF2B5EF4-FFF2-40B4-BE49-F238E27FC236}">
                    <a16:creationId xmlns:a16="http://schemas.microsoft.com/office/drawing/2014/main" id="{627DF148-533C-4B57-9AC5-463A0405E0DF}"/>
                  </a:ext>
                </a:extLst>
              </p:cNvPr>
              <p:cNvCxnSpPr/>
              <p:nvPr/>
            </p:nvCxnSpPr>
            <p:spPr>
              <a:xfrm>
                <a:off x="4402732" y="2293363"/>
                <a:ext cx="3556563" cy="0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142740762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ṩḷîḑ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şļíḋé">
            <a:extLst>
              <a:ext uri="{FF2B5EF4-FFF2-40B4-BE49-F238E27FC236}">
                <a16:creationId xmlns:a16="http://schemas.microsoft.com/office/drawing/2014/main" id="{576131D8-CCB3-4C3E-902A-396F59135B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ïṩḷîḍé">
            <a:extLst>
              <a:ext uri="{FF2B5EF4-FFF2-40B4-BE49-F238E27FC236}">
                <a16:creationId xmlns:a16="http://schemas.microsoft.com/office/drawing/2014/main" id="{177038D0-6E44-49FC-851A-F541A6830F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íślîḑé">
            <a:extLst>
              <a:ext uri="{FF2B5EF4-FFF2-40B4-BE49-F238E27FC236}">
                <a16:creationId xmlns:a16="http://schemas.microsoft.com/office/drawing/2014/main" id="{6DB52DB3-47F8-4E8F-9951-A6A9836228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grpSp>
        <p:nvGrpSpPr>
          <p:cNvPr id="83" name="íśḻïḓê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3F698E2-D39D-46AF-8D43-33F18DD3CB6E}"/>
              </a:ext>
            </a:extLst>
          </p:cNvPr>
          <p:cNvGrpSpPr>
            <a:grpSpLocks noChangeAspect="1"/>
          </p:cNvGrpSpPr>
          <p:nvPr/>
        </p:nvGrpSpPr>
        <p:grpSpPr>
          <a:xfrm>
            <a:off x="669926" y="1399247"/>
            <a:ext cx="10850562" cy="4478606"/>
            <a:chOff x="669926" y="1399247"/>
            <a:chExt cx="10850562" cy="4478606"/>
          </a:xfrm>
        </p:grpSpPr>
        <p:sp>
          <p:nvSpPr>
            <p:cNvPr id="84" name="ïṧlîḑè">
              <a:extLst>
                <a:ext uri="{FF2B5EF4-FFF2-40B4-BE49-F238E27FC236}">
                  <a16:creationId xmlns:a16="http://schemas.microsoft.com/office/drawing/2014/main" id="{DA40A6E4-8E84-4364-BDE3-74787ADB380C}"/>
                </a:ext>
              </a:extLst>
            </p:cNvPr>
            <p:cNvSpPr/>
            <p:nvPr/>
          </p:nvSpPr>
          <p:spPr bwMode="auto">
            <a:xfrm>
              <a:off x="4177740" y="2779469"/>
              <a:ext cx="1844992" cy="184499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s-SV" sz="900"/>
            </a:p>
          </p:txBody>
        </p:sp>
        <p:sp>
          <p:nvSpPr>
            <p:cNvPr id="85" name="íṡľíde">
              <a:extLst>
                <a:ext uri="{FF2B5EF4-FFF2-40B4-BE49-F238E27FC236}">
                  <a16:creationId xmlns:a16="http://schemas.microsoft.com/office/drawing/2014/main" id="{F52B009B-5236-4C68-8850-03E2D8168163}"/>
                </a:ext>
              </a:extLst>
            </p:cNvPr>
            <p:cNvSpPr/>
            <p:nvPr/>
          </p:nvSpPr>
          <p:spPr bwMode="auto">
            <a:xfrm rot="19117306">
              <a:off x="5370481" y="2398970"/>
              <a:ext cx="1327323" cy="885800"/>
            </a:xfrm>
            <a:custGeom>
              <a:avLst/>
              <a:gdLst/>
              <a:ahLst/>
              <a:cxnLst/>
              <a:rect l="l" t="t" r="r" b="b"/>
              <a:pathLst>
                <a:path w="2654953" h="1771806">
                  <a:moveTo>
                    <a:pt x="2465639" y="152053"/>
                  </a:moveTo>
                  <a:cubicBezTo>
                    <a:pt x="2586318" y="345279"/>
                    <a:pt x="2654953" y="572321"/>
                    <a:pt x="2654953" y="814975"/>
                  </a:cubicBezTo>
                  <a:cubicBezTo>
                    <a:pt x="2654953" y="979585"/>
                    <a:pt x="2623368" y="1137010"/>
                    <a:pt x="2564509" y="1281310"/>
                  </a:cubicBezTo>
                  <a:cubicBezTo>
                    <a:pt x="2241311" y="1004802"/>
                    <a:pt x="1863076" y="867825"/>
                    <a:pt x="1482146" y="923932"/>
                  </a:cubicBezTo>
                  <a:cubicBezTo>
                    <a:pt x="1035699" y="989689"/>
                    <a:pt x="669264" y="1308328"/>
                    <a:pt x="436942" y="1771806"/>
                  </a:cubicBezTo>
                  <a:cubicBezTo>
                    <a:pt x="168171" y="1536385"/>
                    <a:pt x="0" y="1194808"/>
                    <a:pt x="0" y="814975"/>
                  </a:cubicBezTo>
                  <a:cubicBezTo>
                    <a:pt x="0" y="505906"/>
                    <a:pt x="111347" y="222166"/>
                    <a:pt x="297422" y="0"/>
                  </a:cubicBezTo>
                  <a:cubicBezTo>
                    <a:pt x="669680" y="459417"/>
                    <a:pt x="1159943" y="712323"/>
                    <a:pt x="1654754" y="639443"/>
                  </a:cubicBezTo>
                  <a:cubicBezTo>
                    <a:pt x="1972630" y="592624"/>
                    <a:pt x="2249944" y="417602"/>
                    <a:pt x="2465639" y="15205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s-SV" sz="900"/>
            </a:p>
          </p:txBody>
        </p:sp>
        <p:sp>
          <p:nvSpPr>
            <p:cNvPr id="86" name="iSḻïḍè">
              <a:extLst>
                <a:ext uri="{FF2B5EF4-FFF2-40B4-BE49-F238E27FC236}">
                  <a16:creationId xmlns:a16="http://schemas.microsoft.com/office/drawing/2014/main" id="{E17155F7-FDAF-4CF5-9B2B-8A2EC7649A7C}"/>
                </a:ext>
              </a:extLst>
            </p:cNvPr>
            <p:cNvSpPr/>
            <p:nvPr/>
          </p:nvSpPr>
          <p:spPr bwMode="auto">
            <a:xfrm>
              <a:off x="6219512" y="1746011"/>
              <a:ext cx="834480" cy="83447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s-SV" sz="900"/>
            </a:p>
          </p:txBody>
        </p:sp>
        <p:sp>
          <p:nvSpPr>
            <p:cNvPr id="87" name="ísľïdé">
              <a:extLst>
                <a:ext uri="{FF2B5EF4-FFF2-40B4-BE49-F238E27FC236}">
                  <a16:creationId xmlns:a16="http://schemas.microsoft.com/office/drawing/2014/main" id="{DCE029F3-E1A2-4C79-B4ED-8B33EC68D495}"/>
                </a:ext>
              </a:extLst>
            </p:cNvPr>
            <p:cNvSpPr/>
            <p:nvPr/>
          </p:nvSpPr>
          <p:spPr bwMode="auto">
            <a:xfrm rot="2482694" flipV="1">
              <a:off x="5393337" y="4124420"/>
              <a:ext cx="1327322" cy="885800"/>
            </a:xfrm>
            <a:custGeom>
              <a:avLst/>
              <a:gdLst/>
              <a:ahLst/>
              <a:cxnLst/>
              <a:rect l="l" t="t" r="r" b="b"/>
              <a:pathLst>
                <a:path w="2654953" h="1771806">
                  <a:moveTo>
                    <a:pt x="2465639" y="152053"/>
                  </a:moveTo>
                  <a:cubicBezTo>
                    <a:pt x="2586318" y="345279"/>
                    <a:pt x="2654953" y="572321"/>
                    <a:pt x="2654953" y="814975"/>
                  </a:cubicBezTo>
                  <a:cubicBezTo>
                    <a:pt x="2654953" y="979585"/>
                    <a:pt x="2623368" y="1137010"/>
                    <a:pt x="2564509" y="1281310"/>
                  </a:cubicBezTo>
                  <a:cubicBezTo>
                    <a:pt x="2241311" y="1004802"/>
                    <a:pt x="1863076" y="867825"/>
                    <a:pt x="1482146" y="923932"/>
                  </a:cubicBezTo>
                  <a:cubicBezTo>
                    <a:pt x="1035699" y="989689"/>
                    <a:pt x="669264" y="1308328"/>
                    <a:pt x="436942" y="1771806"/>
                  </a:cubicBezTo>
                  <a:cubicBezTo>
                    <a:pt x="168171" y="1536385"/>
                    <a:pt x="0" y="1194808"/>
                    <a:pt x="0" y="814975"/>
                  </a:cubicBezTo>
                  <a:cubicBezTo>
                    <a:pt x="0" y="505906"/>
                    <a:pt x="111347" y="222166"/>
                    <a:pt x="297422" y="0"/>
                  </a:cubicBezTo>
                  <a:cubicBezTo>
                    <a:pt x="669680" y="459417"/>
                    <a:pt x="1159943" y="712323"/>
                    <a:pt x="1654754" y="639443"/>
                  </a:cubicBezTo>
                  <a:cubicBezTo>
                    <a:pt x="1972630" y="592624"/>
                    <a:pt x="2249944" y="417602"/>
                    <a:pt x="2465639" y="15205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s-SV" sz="900"/>
            </a:p>
          </p:txBody>
        </p:sp>
        <p:sp>
          <p:nvSpPr>
            <p:cNvPr id="88" name="ísḻiḋe">
              <a:extLst>
                <a:ext uri="{FF2B5EF4-FFF2-40B4-BE49-F238E27FC236}">
                  <a16:creationId xmlns:a16="http://schemas.microsoft.com/office/drawing/2014/main" id="{21A060E1-37CB-4406-BE43-151698F80D83}"/>
                </a:ext>
              </a:extLst>
            </p:cNvPr>
            <p:cNvSpPr/>
            <p:nvPr/>
          </p:nvSpPr>
          <p:spPr bwMode="auto">
            <a:xfrm>
              <a:off x="6242526" y="4828102"/>
              <a:ext cx="834479" cy="83447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s-SV" sz="900"/>
            </a:p>
          </p:txBody>
        </p:sp>
        <p:sp>
          <p:nvSpPr>
            <p:cNvPr id="89" name="îṡlîḓè">
              <a:extLst>
                <a:ext uri="{FF2B5EF4-FFF2-40B4-BE49-F238E27FC236}">
                  <a16:creationId xmlns:a16="http://schemas.microsoft.com/office/drawing/2014/main" id="{41F9EA36-21F3-4AFC-8157-121E4A39D4F0}"/>
                </a:ext>
              </a:extLst>
            </p:cNvPr>
            <p:cNvSpPr/>
            <p:nvPr/>
          </p:nvSpPr>
          <p:spPr bwMode="auto">
            <a:xfrm>
              <a:off x="6954227" y="3179885"/>
              <a:ext cx="1057495" cy="105749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s-SV" sz="900"/>
            </a:p>
          </p:txBody>
        </p:sp>
        <p:sp>
          <p:nvSpPr>
            <p:cNvPr id="90" name="íṩḻîḋe">
              <a:extLst>
                <a:ext uri="{FF2B5EF4-FFF2-40B4-BE49-F238E27FC236}">
                  <a16:creationId xmlns:a16="http://schemas.microsoft.com/office/drawing/2014/main" id="{1F1FC2C5-6FBF-4C4E-AAE9-2512D03F927D}"/>
                </a:ext>
              </a:extLst>
            </p:cNvPr>
            <p:cNvSpPr/>
            <p:nvPr/>
          </p:nvSpPr>
          <p:spPr bwMode="auto">
            <a:xfrm rot="19117306">
              <a:off x="5749380" y="3066099"/>
              <a:ext cx="1429418" cy="1333705"/>
            </a:xfrm>
            <a:custGeom>
              <a:avLst/>
              <a:gdLst/>
              <a:ahLst/>
              <a:cxnLst/>
              <a:rect l="l" t="t" r="r" b="b"/>
              <a:pathLst>
                <a:path w="2859168" h="2667719">
                  <a:moveTo>
                    <a:pt x="1218271" y="0"/>
                  </a:moveTo>
                  <a:cubicBezTo>
                    <a:pt x="1145799" y="534561"/>
                    <a:pt x="1277116" y="1021711"/>
                    <a:pt x="1626480" y="1329481"/>
                  </a:cubicBezTo>
                  <a:cubicBezTo>
                    <a:pt x="1944994" y="1610074"/>
                    <a:pt x="2388568" y="1692074"/>
                    <a:pt x="2859168" y="1597548"/>
                  </a:cubicBezTo>
                  <a:cubicBezTo>
                    <a:pt x="2773976" y="2093041"/>
                    <a:pt x="2413854" y="2499303"/>
                    <a:pt x="1933955" y="2667719"/>
                  </a:cubicBezTo>
                  <a:cubicBezTo>
                    <a:pt x="1981261" y="2168982"/>
                    <a:pt x="1845726" y="1719061"/>
                    <a:pt x="1516179" y="1428750"/>
                  </a:cubicBezTo>
                  <a:cubicBezTo>
                    <a:pt x="1134382" y="1092408"/>
                    <a:pt x="572895" y="1041411"/>
                    <a:pt x="0" y="1234524"/>
                  </a:cubicBezTo>
                  <a:cubicBezTo>
                    <a:pt x="62630" y="601629"/>
                    <a:pt x="569426" y="93042"/>
                    <a:pt x="1218271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s-SV" sz="900"/>
            </a:p>
          </p:txBody>
        </p:sp>
        <p:sp>
          <p:nvSpPr>
            <p:cNvPr id="91" name="išliḍé">
              <a:extLst>
                <a:ext uri="{FF2B5EF4-FFF2-40B4-BE49-F238E27FC236}">
                  <a16:creationId xmlns:a16="http://schemas.microsoft.com/office/drawing/2014/main" id="{E84B90CF-30CF-413D-AFB8-A0AACCBAF569}"/>
                </a:ext>
              </a:extLst>
            </p:cNvPr>
            <p:cNvSpPr/>
            <p:nvPr/>
          </p:nvSpPr>
          <p:spPr bwMode="auto">
            <a:xfrm>
              <a:off x="4357097" y="2958827"/>
              <a:ext cx="1486281" cy="148628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b="1" i="1" dirty="0"/>
                <a:t>Text here</a:t>
              </a:r>
              <a:endParaRPr lang="es-ES" b="1" i="1" dirty="0"/>
            </a:p>
          </p:txBody>
        </p:sp>
        <p:sp>
          <p:nvSpPr>
            <p:cNvPr id="92" name="ïṥḻíḑé">
              <a:extLst>
                <a:ext uri="{FF2B5EF4-FFF2-40B4-BE49-F238E27FC236}">
                  <a16:creationId xmlns:a16="http://schemas.microsoft.com/office/drawing/2014/main" id="{D6534B8E-3632-4186-A499-24108F2D013F}"/>
                </a:ext>
              </a:extLst>
            </p:cNvPr>
            <p:cNvSpPr/>
            <p:nvPr/>
          </p:nvSpPr>
          <p:spPr bwMode="auto">
            <a:xfrm>
              <a:off x="6265182" y="1782070"/>
              <a:ext cx="743140" cy="74314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s-SV" b="1" dirty="0"/>
            </a:p>
          </p:txBody>
        </p:sp>
        <p:sp>
          <p:nvSpPr>
            <p:cNvPr id="93" name="íşḷïdè">
              <a:extLst>
                <a:ext uri="{FF2B5EF4-FFF2-40B4-BE49-F238E27FC236}">
                  <a16:creationId xmlns:a16="http://schemas.microsoft.com/office/drawing/2014/main" id="{3923A389-4F06-4FB9-BE0A-62D6592DDA0A}"/>
                </a:ext>
              </a:extLst>
            </p:cNvPr>
            <p:cNvSpPr/>
            <p:nvPr/>
          </p:nvSpPr>
          <p:spPr bwMode="auto">
            <a:xfrm>
              <a:off x="7024497" y="3250885"/>
              <a:ext cx="911759" cy="91175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s-SV" b="1" dirty="0"/>
            </a:p>
          </p:txBody>
        </p:sp>
        <p:sp>
          <p:nvSpPr>
            <p:cNvPr id="94" name="íṡ1iḓé">
              <a:extLst>
                <a:ext uri="{FF2B5EF4-FFF2-40B4-BE49-F238E27FC236}">
                  <a16:creationId xmlns:a16="http://schemas.microsoft.com/office/drawing/2014/main" id="{192C4061-03C4-43E1-8AC1-30CBD29A99D5}"/>
                </a:ext>
              </a:extLst>
            </p:cNvPr>
            <p:cNvSpPr/>
            <p:nvPr/>
          </p:nvSpPr>
          <p:spPr bwMode="auto">
            <a:xfrm>
              <a:off x="6293246" y="4873771"/>
              <a:ext cx="743140" cy="74314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s-SV" b="1" dirty="0"/>
            </a:p>
          </p:txBody>
        </p:sp>
        <p:sp>
          <p:nvSpPr>
            <p:cNvPr id="95" name="ïṥlîḍê">
              <a:extLst>
                <a:ext uri="{FF2B5EF4-FFF2-40B4-BE49-F238E27FC236}">
                  <a16:creationId xmlns:a16="http://schemas.microsoft.com/office/drawing/2014/main" id="{5EDB886E-BEE2-4708-8863-0A82EE59AA80}"/>
                </a:ext>
              </a:extLst>
            </p:cNvPr>
            <p:cNvSpPr/>
            <p:nvPr/>
          </p:nvSpPr>
          <p:spPr bwMode="auto">
            <a:xfrm>
              <a:off x="7097050" y="1812127"/>
              <a:ext cx="4423438" cy="753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lnSpc>
                  <a:spcPct val="16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marL="171450" indent="-171450">
                <a:lnSpc>
                  <a:spcPct val="16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96" name="îŝḻíḑè">
              <a:extLst>
                <a:ext uri="{FF2B5EF4-FFF2-40B4-BE49-F238E27FC236}">
                  <a16:creationId xmlns:a16="http://schemas.microsoft.com/office/drawing/2014/main" id="{D42F2AF8-FF91-4574-B629-56B700CB17BA}"/>
                </a:ext>
              </a:extLst>
            </p:cNvPr>
            <p:cNvSpPr txBox="1"/>
            <p:nvPr/>
          </p:nvSpPr>
          <p:spPr bwMode="auto">
            <a:xfrm>
              <a:off x="7097050" y="1399247"/>
              <a:ext cx="4423438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800" b="1" dirty="0"/>
                <a:t>Text here</a:t>
              </a:r>
            </a:p>
          </p:txBody>
        </p:sp>
        <p:sp>
          <p:nvSpPr>
            <p:cNvPr id="97" name="ísḷíḋé">
              <a:extLst>
                <a:ext uri="{FF2B5EF4-FFF2-40B4-BE49-F238E27FC236}">
                  <a16:creationId xmlns:a16="http://schemas.microsoft.com/office/drawing/2014/main" id="{B12658AC-4891-4692-ACB6-92EAD96794A0}"/>
                </a:ext>
              </a:extLst>
            </p:cNvPr>
            <p:cNvSpPr/>
            <p:nvPr/>
          </p:nvSpPr>
          <p:spPr bwMode="auto">
            <a:xfrm>
              <a:off x="7097050" y="5124278"/>
              <a:ext cx="4423438" cy="753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lnSpc>
                  <a:spcPct val="16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marL="171450" indent="-171450">
                <a:lnSpc>
                  <a:spcPct val="16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98" name="í$ḻîdé">
              <a:extLst>
                <a:ext uri="{FF2B5EF4-FFF2-40B4-BE49-F238E27FC236}">
                  <a16:creationId xmlns:a16="http://schemas.microsoft.com/office/drawing/2014/main" id="{F2783C57-F8E7-4A70-884B-4C92AA44CD56}"/>
                </a:ext>
              </a:extLst>
            </p:cNvPr>
            <p:cNvSpPr txBox="1"/>
            <p:nvPr/>
          </p:nvSpPr>
          <p:spPr bwMode="auto">
            <a:xfrm>
              <a:off x="7097050" y="4711398"/>
              <a:ext cx="4423438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800" b="1" dirty="0"/>
                <a:t>Text here</a:t>
              </a:r>
            </a:p>
          </p:txBody>
        </p:sp>
        <p:sp>
          <p:nvSpPr>
            <p:cNvPr id="99" name="îṣľîdê">
              <a:extLst>
                <a:ext uri="{FF2B5EF4-FFF2-40B4-BE49-F238E27FC236}">
                  <a16:creationId xmlns:a16="http://schemas.microsoft.com/office/drawing/2014/main" id="{EE69B7D5-D988-404B-8501-9338C2FB6611}"/>
                </a:ext>
              </a:extLst>
            </p:cNvPr>
            <p:cNvSpPr/>
            <p:nvPr/>
          </p:nvSpPr>
          <p:spPr bwMode="auto">
            <a:xfrm>
              <a:off x="8011722" y="3449651"/>
              <a:ext cx="3508766" cy="9626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lnSpc>
                  <a:spcPct val="16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marL="171450" indent="-171450">
                <a:lnSpc>
                  <a:spcPct val="16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00" name="ïş1îḍê">
              <a:extLst>
                <a:ext uri="{FF2B5EF4-FFF2-40B4-BE49-F238E27FC236}">
                  <a16:creationId xmlns:a16="http://schemas.microsoft.com/office/drawing/2014/main" id="{E83BF8BF-5A85-4CF2-B6EB-FF4FCA555A53}"/>
                </a:ext>
              </a:extLst>
            </p:cNvPr>
            <p:cNvSpPr txBox="1"/>
            <p:nvPr/>
          </p:nvSpPr>
          <p:spPr bwMode="auto">
            <a:xfrm>
              <a:off x="8011722" y="3036772"/>
              <a:ext cx="3508766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800" b="1" dirty="0"/>
                <a:t>Text here</a:t>
              </a:r>
            </a:p>
          </p:txBody>
        </p:sp>
        <p:cxnSp>
          <p:nvCxnSpPr>
            <p:cNvPr id="101" name="íś1iďê">
              <a:extLst>
                <a:ext uri="{FF2B5EF4-FFF2-40B4-BE49-F238E27FC236}">
                  <a16:creationId xmlns:a16="http://schemas.microsoft.com/office/drawing/2014/main" id="{00B46ADC-0690-4A46-8D61-395E705A4074}"/>
                </a:ext>
              </a:extLst>
            </p:cNvPr>
            <p:cNvCxnSpPr/>
            <p:nvPr/>
          </p:nvCxnSpPr>
          <p:spPr>
            <a:xfrm>
              <a:off x="7221000" y="2779469"/>
              <a:ext cx="4299488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îSľíḍê">
              <a:extLst>
                <a:ext uri="{FF2B5EF4-FFF2-40B4-BE49-F238E27FC236}">
                  <a16:creationId xmlns:a16="http://schemas.microsoft.com/office/drawing/2014/main" id="{F5DDBFEB-A81B-432E-ABF0-3DFA5250A06C}"/>
                </a:ext>
              </a:extLst>
            </p:cNvPr>
            <p:cNvCxnSpPr/>
            <p:nvPr/>
          </p:nvCxnSpPr>
          <p:spPr>
            <a:xfrm>
              <a:off x="7221000" y="4494680"/>
              <a:ext cx="4299488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3" name="îs1îďé">
              <a:extLst>
                <a:ext uri="{FF2B5EF4-FFF2-40B4-BE49-F238E27FC236}">
                  <a16:creationId xmlns:a16="http://schemas.microsoft.com/office/drawing/2014/main" id="{519C15F9-D84D-4A8F-9F0D-B2CF50FA552C}"/>
                </a:ext>
              </a:extLst>
            </p:cNvPr>
            <p:cNvSpPr/>
            <p:nvPr/>
          </p:nvSpPr>
          <p:spPr bwMode="auto">
            <a:xfrm>
              <a:off x="6495675" y="1927924"/>
              <a:ext cx="282154" cy="380908"/>
            </a:xfrm>
            <a:custGeom>
              <a:avLst/>
              <a:gdLst>
                <a:gd name="connsiteX0" fmla="*/ 85725 w 381000"/>
                <a:gd name="connsiteY0" fmla="*/ 38100 h 514350"/>
                <a:gd name="connsiteX1" fmla="*/ 85725 w 381000"/>
                <a:gd name="connsiteY1" fmla="*/ 57150 h 514350"/>
                <a:gd name="connsiteX2" fmla="*/ 121920 w 381000"/>
                <a:gd name="connsiteY2" fmla="*/ 95250 h 514350"/>
                <a:gd name="connsiteX3" fmla="*/ 123825 w 381000"/>
                <a:gd name="connsiteY3" fmla="*/ 95250 h 514350"/>
                <a:gd name="connsiteX4" fmla="*/ 257175 w 381000"/>
                <a:gd name="connsiteY4" fmla="*/ 95250 h 514350"/>
                <a:gd name="connsiteX5" fmla="*/ 295275 w 381000"/>
                <a:gd name="connsiteY5" fmla="*/ 59055 h 514350"/>
                <a:gd name="connsiteX6" fmla="*/ 295275 w 381000"/>
                <a:gd name="connsiteY6" fmla="*/ 57150 h 514350"/>
                <a:gd name="connsiteX7" fmla="*/ 295275 w 381000"/>
                <a:gd name="connsiteY7" fmla="*/ 38100 h 514350"/>
                <a:gd name="connsiteX8" fmla="*/ 352425 w 381000"/>
                <a:gd name="connsiteY8" fmla="*/ 38100 h 514350"/>
                <a:gd name="connsiteX9" fmla="*/ 381000 w 381000"/>
                <a:gd name="connsiteY9" fmla="*/ 66675 h 514350"/>
                <a:gd name="connsiteX10" fmla="*/ 381000 w 381000"/>
                <a:gd name="connsiteY10" fmla="*/ 485775 h 514350"/>
                <a:gd name="connsiteX11" fmla="*/ 352425 w 381000"/>
                <a:gd name="connsiteY11" fmla="*/ 514350 h 514350"/>
                <a:gd name="connsiteX12" fmla="*/ 28575 w 381000"/>
                <a:gd name="connsiteY12" fmla="*/ 514350 h 514350"/>
                <a:gd name="connsiteX13" fmla="*/ 0 w 381000"/>
                <a:gd name="connsiteY13" fmla="*/ 485775 h 514350"/>
                <a:gd name="connsiteX14" fmla="*/ 0 w 381000"/>
                <a:gd name="connsiteY14" fmla="*/ 66675 h 514350"/>
                <a:gd name="connsiteX15" fmla="*/ 28575 w 381000"/>
                <a:gd name="connsiteY15" fmla="*/ 38100 h 514350"/>
                <a:gd name="connsiteX16" fmla="*/ 85725 w 381000"/>
                <a:gd name="connsiteY16" fmla="*/ 38100 h 514350"/>
                <a:gd name="connsiteX17" fmla="*/ 190500 w 381000"/>
                <a:gd name="connsiteY17" fmla="*/ 333375 h 514350"/>
                <a:gd name="connsiteX18" fmla="*/ 76200 w 381000"/>
                <a:gd name="connsiteY18" fmla="*/ 333375 h 514350"/>
                <a:gd name="connsiteX19" fmla="*/ 76200 w 381000"/>
                <a:gd name="connsiteY19" fmla="*/ 352425 h 514350"/>
                <a:gd name="connsiteX20" fmla="*/ 190500 w 381000"/>
                <a:gd name="connsiteY20" fmla="*/ 352425 h 514350"/>
                <a:gd name="connsiteX21" fmla="*/ 190500 w 381000"/>
                <a:gd name="connsiteY21" fmla="*/ 333375 h 514350"/>
                <a:gd name="connsiteX22" fmla="*/ 304800 w 381000"/>
                <a:gd name="connsiteY22" fmla="*/ 257175 h 514350"/>
                <a:gd name="connsiteX23" fmla="*/ 76200 w 381000"/>
                <a:gd name="connsiteY23" fmla="*/ 257175 h 514350"/>
                <a:gd name="connsiteX24" fmla="*/ 76200 w 381000"/>
                <a:gd name="connsiteY24" fmla="*/ 276225 h 514350"/>
                <a:gd name="connsiteX25" fmla="*/ 304800 w 381000"/>
                <a:gd name="connsiteY25" fmla="*/ 276225 h 514350"/>
                <a:gd name="connsiteX26" fmla="*/ 304800 w 381000"/>
                <a:gd name="connsiteY26" fmla="*/ 257175 h 514350"/>
                <a:gd name="connsiteX27" fmla="*/ 304800 w 381000"/>
                <a:gd name="connsiteY27" fmla="*/ 180975 h 514350"/>
                <a:gd name="connsiteX28" fmla="*/ 76200 w 381000"/>
                <a:gd name="connsiteY28" fmla="*/ 180975 h 514350"/>
                <a:gd name="connsiteX29" fmla="*/ 76200 w 381000"/>
                <a:gd name="connsiteY29" fmla="*/ 200025 h 514350"/>
                <a:gd name="connsiteX30" fmla="*/ 304800 w 381000"/>
                <a:gd name="connsiteY30" fmla="*/ 200025 h 514350"/>
                <a:gd name="connsiteX31" fmla="*/ 304800 w 381000"/>
                <a:gd name="connsiteY31" fmla="*/ 180975 h 514350"/>
                <a:gd name="connsiteX32" fmla="*/ 247650 w 381000"/>
                <a:gd name="connsiteY32" fmla="*/ 0 h 514350"/>
                <a:gd name="connsiteX33" fmla="*/ 276225 w 381000"/>
                <a:gd name="connsiteY33" fmla="*/ 28575 h 514350"/>
                <a:gd name="connsiteX34" fmla="*/ 276225 w 381000"/>
                <a:gd name="connsiteY34" fmla="*/ 47625 h 514350"/>
                <a:gd name="connsiteX35" fmla="*/ 247650 w 381000"/>
                <a:gd name="connsiteY35" fmla="*/ 76200 h 514350"/>
                <a:gd name="connsiteX36" fmla="*/ 133350 w 381000"/>
                <a:gd name="connsiteY36" fmla="*/ 76200 h 514350"/>
                <a:gd name="connsiteX37" fmla="*/ 104775 w 381000"/>
                <a:gd name="connsiteY37" fmla="*/ 47625 h 514350"/>
                <a:gd name="connsiteX38" fmla="*/ 104775 w 381000"/>
                <a:gd name="connsiteY38" fmla="*/ 28575 h 514350"/>
                <a:gd name="connsiteX39" fmla="*/ 133350 w 381000"/>
                <a:gd name="connsiteY39" fmla="*/ 0 h 514350"/>
                <a:gd name="connsiteX40" fmla="*/ 247650 w 381000"/>
                <a:gd name="connsiteY40" fmla="*/ 0 h 514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81000" h="514350">
                  <a:moveTo>
                    <a:pt x="85725" y="38100"/>
                  </a:moveTo>
                  <a:lnTo>
                    <a:pt x="85725" y="57150"/>
                  </a:lnTo>
                  <a:cubicBezTo>
                    <a:pt x="85725" y="77534"/>
                    <a:pt x="101727" y="94202"/>
                    <a:pt x="121920" y="95250"/>
                  </a:cubicBezTo>
                  <a:lnTo>
                    <a:pt x="123825" y="95250"/>
                  </a:lnTo>
                  <a:lnTo>
                    <a:pt x="257175" y="95250"/>
                  </a:lnTo>
                  <a:cubicBezTo>
                    <a:pt x="277559" y="95250"/>
                    <a:pt x="294227" y="79248"/>
                    <a:pt x="295275" y="59055"/>
                  </a:cubicBezTo>
                  <a:lnTo>
                    <a:pt x="295275" y="57150"/>
                  </a:lnTo>
                  <a:lnTo>
                    <a:pt x="295275" y="38100"/>
                  </a:lnTo>
                  <a:lnTo>
                    <a:pt x="352425" y="38100"/>
                  </a:lnTo>
                  <a:cubicBezTo>
                    <a:pt x="368236" y="38100"/>
                    <a:pt x="381000" y="50864"/>
                    <a:pt x="381000" y="66675"/>
                  </a:cubicBezTo>
                  <a:lnTo>
                    <a:pt x="381000" y="485775"/>
                  </a:lnTo>
                  <a:cubicBezTo>
                    <a:pt x="381000" y="501587"/>
                    <a:pt x="368236" y="514350"/>
                    <a:pt x="352425" y="514350"/>
                  </a:cubicBezTo>
                  <a:lnTo>
                    <a:pt x="28575" y="514350"/>
                  </a:lnTo>
                  <a:cubicBezTo>
                    <a:pt x="12764" y="514350"/>
                    <a:pt x="0" y="501587"/>
                    <a:pt x="0" y="485775"/>
                  </a:cubicBezTo>
                  <a:lnTo>
                    <a:pt x="0" y="66675"/>
                  </a:lnTo>
                  <a:cubicBezTo>
                    <a:pt x="0" y="50864"/>
                    <a:pt x="12764" y="38100"/>
                    <a:pt x="28575" y="38100"/>
                  </a:cubicBezTo>
                  <a:lnTo>
                    <a:pt x="85725" y="38100"/>
                  </a:lnTo>
                  <a:close/>
                  <a:moveTo>
                    <a:pt x="190500" y="333375"/>
                  </a:moveTo>
                  <a:lnTo>
                    <a:pt x="76200" y="333375"/>
                  </a:lnTo>
                  <a:lnTo>
                    <a:pt x="76200" y="352425"/>
                  </a:lnTo>
                  <a:lnTo>
                    <a:pt x="190500" y="352425"/>
                  </a:lnTo>
                  <a:lnTo>
                    <a:pt x="190500" y="333375"/>
                  </a:lnTo>
                  <a:close/>
                  <a:moveTo>
                    <a:pt x="304800" y="257175"/>
                  </a:moveTo>
                  <a:lnTo>
                    <a:pt x="76200" y="257175"/>
                  </a:lnTo>
                  <a:lnTo>
                    <a:pt x="76200" y="276225"/>
                  </a:lnTo>
                  <a:lnTo>
                    <a:pt x="304800" y="276225"/>
                  </a:lnTo>
                  <a:lnTo>
                    <a:pt x="304800" y="257175"/>
                  </a:lnTo>
                  <a:close/>
                  <a:moveTo>
                    <a:pt x="304800" y="180975"/>
                  </a:moveTo>
                  <a:lnTo>
                    <a:pt x="76200" y="180975"/>
                  </a:lnTo>
                  <a:lnTo>
                    <a:pt x="76200" y="200025"/>
                  </a:lnTo>
                  <a:lnTo>
                    <a:pt x="304800" y="200025"/>
                  </a:lnTo>
                  <a:lnTo>
                    <a:pt x="304800" y="180975"/>
                  </a:lnTo>
                  <a:close/>
                  <a:moveTo>
                    <a:pt x="247650" y="0"/>
                  </a:moveTo>
                  <a:cubicBezTo>
                    <a:pt x="263461" y="0"/>
                    <a:pt x="276225" y="12763"/>
                    <a:pt x="276225" y="28575"/>
                  </a:cubicBezTo>
                  <a:lnTo>
                    <a:pt x="276225" y="47625"/>
                  </a:lnTo>
                  <a:cubicBezTo>
                    <a:pt x="276225" y="63437"/>
                    <a:pt x="263461" y="76200"/>
                    <a:pt x="247650" y="76200"/>
                  </a:cubicBezTo>
                  <a:lnTo>
                    <a:pt x="133350" y="76200"/>
                  </a:lnTo>
                  <a:cubicBezTo>
                    <a:pt x="117539" y="76200"/>
                    <a:pt x="104775" y="63437"/>
                    <a:pt x="104775" y="47625"/>
                  </a:cubicBezTo>
                  <a:lnTo>
                    <a:pt x="104775" y="28575"/>
                  </a:lnTo>
                  <a:cubicBezTo>
                    <a:pt x="104775" y="12763"/>
                    <a:pt x="117539" y="0"/>
                    <a:pt x="133350" y="0"/>
                  </a:cubicBezTo>
                  <a:lnTo>
                    <a:pt x="24765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04" name="ïsľîḓê">
              <a:extLst>
                <a:ext uri="{FF2B5EF4-FFF2-40B4-BE49-F238E27FC236}">
                  <a16:creationId xmlns:a16="http://schemas.microsoft.com/office/drawing/2014/main" id="{5C0210AC-E5DB-453A-8A8C-D4E16B8D720C}"/>
                </a:ext>
              </a:extLst>
            </p:cNvPr>
            <p:cNvSpPr/>
            <p:nvPr/>
          </p:nvSpPr>
          <p:spPr bwMode="auto">
            <a:xfrm>
              <a:off x="7300967" y="3533315"/>
              <a:ext cx="380908" cy="346898"/>
            </a:xfrm>
            <a:custGeom>
              <a:avLst/>
              <a:gdLst>
                <a:gd name="connsiteX0" fmla="*/ 123825 w 533400"/>
                <a:gd name="connsiteY0" fmla="*/ 228600 h 485775"/>
                <a:gd name="connsiteX1" fmla="*/ 123825 w 533400"/>
                <a:gd name="connsiteY1" fmla="*/ 276225 h 485775"/>
                <a:gd name="connsiteX2" fmla="*/ 142875 w 533400"/>
                <a:gd name="connsiteY2" fmla="*/ 276225 h 485775"/>
                <a:gd name="connsiteX3" fmla="*/ 142875 w 533400"/>
                <a:gd name="connsiteY3" fmla="*/ 228600 h 485775"/>
                <a:gd name="connsiteX4" fmla="*/ 390525 w 533400"/>
                <a:gd name="connsiteY4" fmla="*/ 228600 h 485775"/>
                <a:gd name="connsiteX5" fmla="*/ 390525 w 533400"/>
                <a:gd name="connsiteY5" fmla="*/ 276225 h 485775"/>
                <a:gd name="connsiteX6" fmla="*/ 409575 w 533400"/>
                <a:gd name="connsiteY6" fmla="*/ 276225 h 485775"/>
                <a:gd name="connsiteX7" fmla="*/ 409575 w 533400"/>
                <a:gd name="connsiteY7" fmla="*/ 228600 h 485775"/>
                <a:gd name="connsiteX8" fmla="*/ 533400 w 533400"/>
                <a:gd name="connsiteY8" fmla="*/ 228600 h 485775"/>
                <a:gd name="connsiteX9" fmla="*/ 533400 w 533400"/>
                <a:gd name="connsiteY9" fmla="*/ 457200 h 485775"/>
                <a:gd name="connsiteX10" fmla="*/ 504825 w 533400"/>
                <a:gd name="connsiteY10" fmla="*/ 485775 h 485775"/>
                <a:gd name="connsiteX11" fmla="*/ 28575 w 533400"/>
                <a:gd name="connsiteY11" fmla="*/ 485775 h 485775"/>
                <a:gd name="connsiteX12" fmla="*/ 0 w 533400"/>
                <a:gd name="connsiteY12" fmla="*/ 457200 h 485775"/>
                <a:gd name="connsiteX13" fmla="*/ 0 w 533400"/>
                <a:gd name="connsiteY13" fmla="*/ 228600 h 485775"/>
                <a:gd name="connsiteX14" fmla="*/ 123825 w 533400"/>
                <a:gd name="connsiteY14" fmla="*/ 228600 h 485775"/>
                <a:gd name="connsiteX15" fmla="*/ 371475 w 533400"/>
                <a:gd name="connsiteY15" fmla="*/ 0 h 485775"/>
                <a:gd name="connsiteX16" fmla="*/ 409575 w 533400"/>
                <a:gd name="connsiteY16" fmla="*/ 36195 h 485775"/>
                <a:gd name="connsiteX17" fmla="*/ 409575 w 533400"/>
                <a:gd name="connsiteY17" fmla="*/ 38100 h 485775"/>
                <a:gd name="connsiteX18" fmla="*/ 409575 w 533400"/>
                <a:gd name="connsiteY18" fmla="*/ 114300 h 485775"/>
                <a:gd name="connsiteX19" fmla="*/ 504825 w 533400"/>
                <a:gd name="connsiteY19" fmla="*/ 114300 h 485775"/>
                <a:gd name="connsiteX20" fmla="*/ 533400 w 533400"/>
                <a:gd name="connsiteY20" fmla="*/ 142875 h 485775"/>
                <a:gd name="connsiteX21" fmla="*/ 533400 w 533400"/>
                <a:gd name="connsiteY21" fmla="*/ 209550 h 485775"/>
                <a:gd name="connsiteX22" fmla="*/ 0 w 533400"/>
                <a:gd name="connsiteY22" fmla="*/ 209550 h 485775"/>
                <a:gd name="connsiteX23" fmla="*/ 0 w 533400"/>
                <a:gd name="connsiteY23" fmla="*/ 142875 h 485775"/>
                <a:gd name="connsiteX24" fmla="*/ 28575 w 533400"/>
                <a:gd name="connsiteY24" fmla="*/ 114300 h 485775"/>
                <a:gd name="connsiteX25" fmla="*/ 123825 w 533400"/>
                <a:gd name="connsiteY25" fmla="*/ 114300 h 485775"/>
                <a:gd name="connsiteX26" fmla="*/ 123825 w 533400"/>
                <a:gd name="connsiteY26" fmla="*/ 38100 h 485775"/>
                <a:gd name="connsiteX27" fmla="*/ 160020 w 533400"/>
                <a:gd name="connsiteY27" fmla="*/ 0 h 485775"/>
                <a:gd name="connsiteX28" fmla="*/ 161925 w 533400"/>
                <a:gd name="connsiteY28" fmla="*/ 0 h 485775"/>
                <a:gd name="connsiteX29" fmla="*/ 371475 w 533400"/>
                <a:gd name="connsiteY29" fmla="*/ 0 h 485775"/>
                <a:gd name="connsiteX30" fmla="*/ 371475 w 533400"/>
                <a:gd name="connsiteY30" fmla="*/ 19050 h 485775"/>
                <a:gd name="connsiteX31" fmla="*/ 161925 w 533400"/>
                <a:gd name="connsiteY31" fmla="*/ 19050 h 485775"/>
                <a:gd name="connsiteX32" fmla="*/ 142970 w 533400"/>
                <a:gd name="connsiteY32" fmla="*/ 36671 h 485775"/>
                <a:gd name="connsiteX33" fmla="*/ 142875 w 533400"/>
                <a:gd name="connsiteY33" fmla="*/ 38100 h 485775"/>
                <a:gd name="connsiteX34" fmla="*/ 142875 w 533400"/>
                <a:gd name="connsiteY34" fmla="*/ 114300 h 485775"/>
                <a:gd name="connsiteX35" fmla="*/ 390525 w 533400"/>
                <a:gd name="connsiteY35" fmla="*/ 114300 h 485775"/>
                <a:gd name="connsiteX36" fmla="*/ 390525 w 533400"/>
                <a:gd name="connsiteY36" fmla="*/ 38100 h 485775"/>
                <a:gd name="connsiteX37" fmla="*/ 374333 w 533400"/>
                <a:gd name="connsiteY37" fmla="*/ 19241 h 485775"/>
                <a:gd name="connsiteX38" fmla="*/ 372904 w 533400"/>
                <a:gd name="connsiteY38" fmla="*/ 19050 h 485775"/>
                <a:gd name="connsiteX39" fmla="*/ 371475 w 533400"/>
                <a:gd name="connsiteY39" fmla="*/ 19050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533400" h="485775">
                  <a:moveTo>
                    <a:pt x="123825" y="228600"/>
                  </a:moveTo>
                  <a:lnTo>
                    <a:pt x="123825" y="276225"/>
                  </a:lnTo>
                  <a:lnTo>
                    <a:pt x="142875" y="276225"/>
                  </a:lnTo>
                  <a:lnTo>
                    <a:pt x="142875" y="228600"/>
                  </a:lnTo>
                  <a:lnTo>
                    <a:pt x="390525" y="228600"/>
                  </a:lnTo>
                  <a:lnTo>
                    <a:pt x="390525" y="276225"/>
                  </a:lnTo>
                  <a:lnTo>
                    <a:pt x="409575" y="276225"/>
                  </a:lnTo>
                  <a:lnTo>
                    <a:pt x="409575" y="228600"/>
                  </a:lnTo>
                  <a:lnTo>
                    <a:pt x="533400" y="228600"/>
                  </a:lnTo>
                  <a:lnTo>
                    <a:pt x="533400" y="457200"/>
                  </a:lnTo>
                  <a:cubicBezTo>
                    <a:pt x="533400" y="473012"/>
                    <a:pt x="520637" y="485775"/>
                    <a:pt x="504825" y="485775"/>
                  </a:cubicBezTo>
                  <a:lnTo>
                    <a:pt x="28575" y="485775"/>
                  </a:lnTo>
                  <a:cubicBezTo>
                    <a:pt x="12763" y="485775"/>
                    <a:pt x="0" y="473012"/>
                    <a:pt x="0" y="457200"/>
                  </a:cubicBezTo>
                  <a:lnTo>
                    <a:pt x="0" y="228600"/>
                  </a:lnTo>
                  <a:lnTo>
                    <a:pt x="123825" y="228600"/>
                  </a:lnTo>
                  <a:close/>
                  <a:moveTo>
                    <a:pt x="371475" y="0"/>
                  </a:moveTo>
                  <a:cubicBezTo>
                    <a:pt x="391859" y="0"/>
                    <a:pt x="408527" y="16002"/>
                    <a:pt x="409575" y="36195"/>
                  </a:cubicBezTo>
                  <a:lnTo>
                    <a:pt x="409575" y="38100"/>
                  </a:lnTo>
                  <a:lnTo>
                    <a:pt x="409575" y="114300"/>
                  </a:lnTo>
                  <a:lnTo>
                    <a:pt x="504825" y="114300"/>
                  </a:lnTo>
                  <a:cubicBezTo>
                    <a:pt x="520637" y="114300"/>
                    <a:pt x="533400" y="127064"/>
                    <a:pt x="533400" y="142875"/>
                  </a:cubicBezTo>
                  <a:lnTo>
                    <a:pt x="533400" y="209550"/>
                  </a:lnTo>
                  <a:lnTo>
                    <a:pt x="0" y="209550"/>
                  </a:lnTo>
                  <a:lnTo>
                    <a:pt x="0" y="142875"/>
                  </a:lnTo>
                  <a:cubicBezTo>
                    <a:pt x="0" y="127064"/>
                    <a:pt x="12763" y="114300"/>
                    <a:pt x="28575" y="114300"/>
                  </a:cubicBezTo>
                  <a:lnTo>
                    <a:pt x="123825" y="114300"/>
                  </a:lnTo>
                  <a:lnTo>
                    <a:pt x="123825" y="38100"/>
                  </a:lnTo>
                  <a:cubicBezTo>
                    <a:pt x="123825" y="17716"/>
                    <a:pt x="139828" y="1048"/>
                    <a:pt x="160020" y="0"/>
                  </a:cubicBezTo>
                  <a:lnTo>
                    <a:pt x="161925" y="0"/>
                  </a:lnTo>
                  <a:lnTo>
                    <a:pt x="371475" y="0"/>
                  </a:lnTo>
                  <a:close/>
                  <a:moveTo>
                    <a:pt x="371475" y="19050"/>
                  </a:moveTo>
                  <a:lnTo>
                    <a:pt x="161925" y="19050"/>
                  </a:lnTo>
                  <a:cubicBezTo>
                    <a:pt x="151923" y="19050"/>
                    <a:pt x="143637" y="26861"/>
                    <a:pt x="142970" y="36671"/>
                  </a:cubicBezTo>
                  <a:lnTo>
                    <a:pt x="142875" y="38100"/>
                  </a:lnTo>
                  <a:lnTo>
                    <a:pt x="142875" y="114300"/>
                  </a:lnTo>
                  <a:lnTo>
                    <a:pt x="390525" y="114300"/>
                  </a:lnTo>
                  <a:lnTo>
                    <a:pt x="390525" y="38100"/>
                  </a:lnTo>
                  <a:cubicBezTo>
                    <a:pt x="390525" y="28575"/>
                    <a:pt x="383477" y="20669"/>
                    <a:pt x="374333" y="19241"/>
                  </a:cubicBezTo>
                  <a:lnTo>
                    <a:pt x="372904" y="19050"/>
                  </a:lnTo>
                  <a:lnTo>
                    <a:pt x="371475" y="1905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05" name="îşļiḑé">
              <a:extLst>
                <a:ext uri="{FF2B5EF4-FFF2-40B4-BE49-F238E27FC236}">
                  <a16:creationId xmlns:a16="http://schemas.microsoft.com/office/drawing/2014/main" id="{F0FF7633-6F67-4618-9613-9F950FD4B705}"/>
                </a:ext>
              </a:extLst>
            </p:cNvPr>
            <p:cNvSpPr/>
            <p:nvPr/>
          </p:nvSpPr>
          <p:spPr bwMode="auto">
            <a:xfrm>
              <a:off x="6493345" y="5054888"/>
              <a:ext cx="347496" cy="380906"/>
            </a:xfrm>
            <a:custGeom>
              <a:avLst/>
              <a:gdLst>
                <a:gd name="connsiteX0" fmla="*/ 247650 w 495300"/>
                <a:gd name="connsiteY0" fmla="*/ 0 h 542925"/>
                <a:gd name="connsiteX1" fmla="*/ 495300 w 495300"/>
                <a:gd name="connsiteY1" fmla="*/ 247650 h 542925"/>
                <a:gd name="connsiteX2" fmla="*/ 322707 w 495300"/>
                <a:gd name="connsiteY2" fmla="*/ 483775 h 542925"/>
                <a:gd name="connsiteX3" fmla="*/ 345853 w 495300"/>
                <a:gd name="connsiteY3" fmla="*/ 523875 h 542925"/>
                <a:gd name="connsiteX4" fmla="*/ 419100 w 495300"/>
                <a:gd name="connsiteY4" fmla="*/ 523875 h 542925"/>
                <a:gd name="connsiteX5" fmla="*/ 419100 w 495300"/>
                <a:gd name="connsiteY5" fmla="*/ 542925 h 542925"/>
                <a:gd name="connsiteX6" fmla="*/ 76200 w 495300"/>
                <a:gd name="connsiteY6" fmla="*/ 542925 h 542925"/>
                <a:gd name="connsiteX7" fmla="*/ 76200 w 495300"/>
                <a:gd name="connsiteY7" fmla="*/ 523875 h 542925"/>
                <a:gd name="connsiteX8" fmla="*/ 149447 w 495300"/>
                <a:gd name="connsiteY8" fmla="*/ 523875 h 542925"/>
                <a:gd name="connsiteX9" fmla="*/ 172593 w 495300"/>
                <a:gd name="connsiteY9" fmla="*/ 483775 h 542925"/>
                <a:gd name="connsiteX10" fmla="*/ 0 w 495300"/>
                <a:gd name="connsiteY10" fmla="*/ 247650 h 542925"/>
                <a:gd name="connsiteX11" fmla="*/ 247650 w 495300"/>
                <a:gd name="connsiteY11" fmla="*/ 0 h 542925"/>
                <a:gd name="connsiteX12" fmla="*/ 191643 w 495300"/>
                <a:gd name="connsiteY12" fmla="*/ 488918 h 542925"/>
                <a:gd name="connsiteX13" fmla="*/ 171450 w 495300"/>
                <a:gd name="connsiteY13" fmla="*/ 523875 h 542925"/>
                <a:gd name="connsiteX14" fmla="*/ 323850 w 495300"/>
                <a:gd name="connsiteY14" fmla="*/ 523875 h 542925"/>
                <a:gd name="connsiteX15" fmla="*/ 303657 w 495300"/>
                <a:gd name="connsiteY15" fmla="*/ 488918 h 542925"/>
                <a:gd name="connsiteX16" fmla="*/ 247650 w 495300"/>
                <a:gd name="connsiteY16" fmla="*/ 495300 h 542925"/>
                <a:gd name="connsiteX17" fmla="*/ 191643 w 495300"/>
                <a:gd name="connsiteY17" fmla="*/ 488918 h 542925"/>
                <a:gd name="connsiteX18" fmla="*/ 247650 w 495300"/>
                <a:gd name="connsiteY18" fmla="*/ 142875 h 542925"/>
                <a:gd name="connsiteX19" fmla="*/ 142875 w 495300"/>
                <a:gd name="connsiteY19" fmla="*/ 247650 h 542925"/>
                <a:gd name="connsiteX20" fmla="*/ 247650 w 495300"/>
                <a:gd name="connsiteY20" fmla="*/ 352425 h 542925"/>
                <a:gd name="connsiteX21" fmla="*/ 352425 w 495300"/>
                <a:gd name="connsiteY21" fmla="*/ 247650 h 542925"/>
                <a:gd name="connsiteX22" fmla="*/ 247650 w 495300"/>
                <a:gd name="connsiteY22" fmla="*/ 142875 h 542925"/>
                <a:gd name="connsiteX23" fmla="*/ 366713 w 495300"/>
                <a:gd name="connsiteY23" fmla="*/ 114300 h 542925"/>
                <a:gd name="connsiteX24" fmla="*/ 352425 w 495300"/>
                <a:gd name="connsiteY24" fmla="*/ 128588 h 542925"/>
                <a:gd name="connsiteX25" fmla="*/ 366713 w 495300"/>
                <a:gd name="connsiteY25" fmla="*/ 142875 h 542925"/>
                <a:gd name="connsiteX26" fmla="*/ 381000 w 495300"/>
                <a:gd name="connsiteY26" fmla="*/ 128588 h 542925"/>
                <a:gd name="connsiteX27" fmla="*/ 366713 w 495300"/>
                <a:gd name="connsiteY27" fmla="*/ 114300 h 542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95300" h="542925">
                  <a:moveTo>
                    <a:pt x="247650" y="0"/>
                  </a:moveTo>
                  <a:cubicBezTo>
                    <a:pt x="384429" y="0"/>
                    <a:pt x="495300" y="110871"/>
                    <a:pt x="495300" y="247650"/>
                  </a:cubicBezTo>
                  <a:cubicBezTo>
                    <a:pt x="495300" y="358235"/>
                    <a:pt x="422815" y="451961"/>
                    <a:pt x="322707" y="483775"/>
                  </a:cubicBezTo>
                  <a:lnTo>
                    <a:pt x="345853" y="523875"/>
                  </a:lnTo>
                  <a:lnTo>
                    <a:pt x="419100" y="523875"/>
                  </a:lnTo>
                  <a:lnTo>
                    <a:pt x="419100" y="542925"/>
                  </a:lnTo>
                  <a:lnTo>
                    <a:pt x="76200" y="542925"/>
                  </a:lnTo>
                  <a:lnTo>
                    <a:pt x="76200" y="523875"/>
                  </a:lnTo>
                  <a:lnTo>
                    <a:pt x="149447" y="523875"/>
                  </a:lnTo>
                  <a:lnTo>
                    <a:pt x="172593" y="483775"/>
                  </a:lnTo>
                  <a:cubicBezTo>
                    <a:pt x="72485" y="451961"/>
                    <a:pt x="0" y="358235"/>
                    <a:pt x="0" y="247650"/>
                  </a:cubicBezTo>
                  <a:cubicBezTo>
                    <a:pt x="0" y="110871"/>
                    <a:pt x="110871" y="0"/>
                    <a:pt x="247650" y="0"/>
                  </a:cubicBezTo>
                  <a:close/>
                  <a:moveTo>
                    <a:pt x="191643" y="488918"/>
                  </a:moveTo>
                  <a:lnTo>
                    <a:pt x="171450" y="523875"/>
                  </a:lnTo>
                  <a:lnTo>
                    <a:pt x="323850" y="523875"/>
                  </a:lnTo>
                  <a:lnTo>
                    <a:pt x="303657" y="488918"/>
                  </a:lnTo>
                  <a:cubicBezTo>
                    <a:pt x="285655" y="493109"/>
                    <a:pt x="266891" y="495300"/>
                    <a:pt x="247650" y="495300"/>
                  </a:cubicBezTo>
                  <a:cubicBezTo>
                    <a:pt x="228409" y="495300"/>
                    <a:pt x="209645" y="493109"/>
                    <a:pt x="191643" y="488918"/>
                  </a:cubicBezTo>
                  <a:close/>
                  <a:moveTo>
                    <a:pt x="247650" y="142875"/>
                  </a:moveTo>
                  <a:cubicBezTo>
                    <a:pt x="189738" y="142875"/>
                    <a:pt x="142875" y="189738"/>
                    <a:pt x="142875" y="247650"/>
                  </a:cubicBezTo>
                  <a:cubicBezTo>
                    <a:pt x="142875" y="305562"/>
                    <a:pt x="189738" y="352425"/>
                    <a:pt x="247650" y="352425"/>
                  </a:cubicBezTo>
                  <a:cubicBezTo>
                    <a:pt x="305562" y="352425"/>
                    <a:pt x="352425" y="305562"/>
                    <a:pt x="352425" y="247650"/>
                  </a:cubicBezTo>
                  <a:cubicBezTo>
                    <a:pt x="352425" y="189738"/>
                    <a:pt x="305562" y="142875"/>
                    <a:pt x="247650" y="142875"/>
                  </a:cubicBezTo>
                  <a:close/>
                  <a:moveTo>
                    <a:pt x="366713" y="114300"/>
                  </a:moveTo>
                  <a:cubicBezTo>
                    <a:pt x="358807" y="114300"/>
                    <a:pt x="352425" y="120682"/>
                    <a:pt x="352425" y="128588"/>
                  </a:cubicBezTo>
                  <a:cubicBezTo>
                    <a:pt x="352425" y="136493"/>
                    <a:pt x="358807" y="142875"/>
                    <a:pt x="366713" y="142875"/>
                  </a:cubicBezTo>
                  <a:cubicBezTo>
                    <a:pt x="374618" y="142875"/>
                    <a:pt x="381000" y="136493"/>
                    <a:pt x="381000" y="128588"/>
                  </a:cubicBezTo>
                  <a:cubicBezTo>
                    <a:pt x="381000" y="120682"/>
                    <a:pt x="374618" y="114300"/>
                    <a:pt x="366713" y="11430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cxnSp>
          <p:nvCxnSpPr>
            <p:cNvPr id="106" name="iŝḷïďê">
              <a:extLst>
                <a:ext uri="{FF2B5EF4-FFF2-40B4-BE49-F238E27FC236}">
                  <a16:creationId xmlns:a16="http://schemas.microsoft.com/office/drawing/2014/main" id="{94B14A99-3FE5-484C-9860-F9572CBDF71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69926" y="3703815"/>
              <a:ext cx="3298392" cy="29136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7" name="î$ľide">
              <a:extLst>
                <a:ext uri="{FF2B5EF4-FFF2-40B4-BE49-F238E27FC236}">
                  <a16:creationId xmlns:a16="http://schemas.microsoft.com/office/drawing/2014/main" id="{A1267B6F-4E75-405B-9A59-A6DB6EC874AB}"/>
                </a:ext>
              </a:extLst>
            </p:cNvPr>
            <p:cNvSpPr txBox="1"/>
            <p:nvPr/>
          </p:nvSpPr>
          <p:spPr>
            <a:xfrm>
              <a:off x="673102" y="1801306"/>
              <a:ext cx="3502099" cy="85216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buSzPct val="25000"/>
              </a:pPr>
              <a:r>
                <a:rPr lang="en-US" sz="2000" b="1" dirty="0"/>
                <a:t>Unified fonts make</a:t>
              </a:r>
            </a:p>
            <a:p>
              <a:pPr>
                <a:buSzPct val="25000"/>
              </a:pPr>
              <a:r>
                <a:rPr lang="en-US" sz="2000" b="1" dirty="0"/>
                <a:t>reading more fluent.</a:t>
              </a:r>
            </a:p>
          </p:txBody>
        </p:sp>
        <p:sp>
          <p:nvSpPr>
            <p:cNvPr id="108" name="íślíďê">
              <a:extLst>
                <a:ext uri="{FF2B5EF4-FFF2-40B4-BE49-F238E27FC236}">
                  <a16:creationId xmlns:a16="http://schemas.microsoft.com/office/drawing/2014/main" id="{F0847088-B651-43AA-BD6D-75F6654C651A}"/>
                </a:ext>
              </a:extLst>
            </p:cNvPr>
            <p:cNvSpPr txBox="1"/>
            <p:nvPr/>
          </p:nvSpPr>
          <p:spPr>
            <a:xfrm>
              <a:off x="673101" y="2653467"/>
              <a:ext cx="3502100" cy="104217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 fontScale="925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  <a:buSzPct val="25000"/>
              </a:pPr>
              <a:r>
                <a:rPr lang="en-US" sz="1200" dirty="0"/>
                <a:t>Theme color makes PPT more convenient to change.</a:t>
              </a:r>
            </a:p>
            <a:p>
              <a:pPr>
                <a:lnSpc>
                  <a:spcPct val="150000"/>
                </a:lnSpc>
                <a:buSzPct val="25000"/>
              </a:pPr>
              <a:r>
                <a:rPr lang="en-US" sz="1200" dirty="0"/>
                <a:t>Adjust the spacing to adapt to Chinese typesetting, use the reference line in PPT.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426756541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ṡḻíḓ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ŝľíḍê">
            <a:extLst>
              <a:ext uri="{FF2B5EF4-FFF2-40B4-BE49-F238E27FC236}">
                <a16:creationId xmlns:a16="http://schemas.microsoft.com/office/drawing/2014/main" id="{A0AA2F66-8CAD-4F11-86C3-5A352F7AEB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iṩľîḋé">
            <a:extLst>
              <a:ext uri="{FF2B5EF4-FFF2-40B4-BE49-F238E27FC236}">
                <a16:creationId xmlns:a16="http://schemas.microsoft.com/office/drawing/2014/main" id="{4A3DED68-9978-492E-AE14-43201CE1BE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iŝ1iďé">
            <a:extLst>
              <a:ext uri="{FF2B5EF4-FFF2-40B4-BE49-F238E27FC236}">
                <a16:creationId xmlns:a16="http://schemas.microsoft.com/office/drawing/2014/main" id="{413AA8C1-A39B-4B4B-92A3-2DA96EE58D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/>
          </a:p>
        </p:txBody>
      </p:sp>
      <p:sp>
        <p:nvSpPr>
          <p:cNvPr id="63" name="iṧ1iḋé">
            <a:extLst>
              <a:ext uri="{FF2B5EF4-FFF2-40B4-BE49-F238E27FC236}">
                <a16:creationId xmlns:a16="http://schemas.microsoft.com/office/drawing/2014/main" id="{9A5DAD00-D533-40C9-91DB-C7DA8CC86B0C}"/>
              </a:ext>
            </a:extLst>
          </p:cNvPr>
          <p:cNvSpPr/>
          <p:nvPr/>
        </p:nvSpPr>
        <p:spPr>
          <a:xfrm flipH="1">
            <a:off x="6257924" y="1608614"/>
            <a:ext cx="5262563" cy="1181100"/>
          </a:xfrm>
          <a:prstGeom prst="homePlate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bg2">
                  <a:lumMod val="75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64" name="î$1îḍe">
            <a:extLst>
              <a:ext uri="{FF2B5EF4-FFF2-40B4-BE49-F238E27FC236}">
                <a16:creationId xmlns:a16="http://schemas.microsoft.com/office/drawing/2014/main" id="{4091435F-EDA0-41F8-B05E-D77A16041585}"/>
              </a:ext>
            </a:extLst>
          </p:cNvPr>
          <p:cNvSpPr/>
          <p:nvPr/>
        </p:nvSpPr>
        <p:spPr>
          <a:xfrm flipH="1">
            <a:off x="4410075" y="3047209"/>
            <a:ext cx="7110413" cy="1181100"/>
          </a:xfrm>
          <a:prstGeom prst="homePlate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accent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65" name="îṧḻíḍè">
            <a:extLst>
              <a:ext uri="{FF2B5EF4-FFF2-40B4-BE49-F238E27FC236}">
                <a16:creationId xmlns:a16="http://schemas.microsoft.com/office/drawing/2014/main" id="{34610DD5-3FDF-447B-99DF-ABD1E3A1D2B5}"/>
              </a:ext>
            </a:extLst>
          </p:cNvPr>
          <p:cNvSpPr/>
          <p:nvPr/>
        </p:nvSpPr>
        <p:spPr>
          <a:xfrm flipH="1">
            <a:off x="6256336" y="4487385"/>
            <a:ext cx="5264151" cy="1181100"/>
          </a:xfrm>
          <a:prstGeom prst="homePlate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bg2">
                  <a:lumMod val="75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grpSp>
        <p:nvGrpSpPr>
          <p:cNvPr id="66" name="íśḷîďé">
            <a:extLst>
              <a:ext uri="{FF2B5EF4-FFF2-40B4-BE49-F238E27FC236}">
                <a16:creationId xmlns:a16="http://schemas.microsoft.com/office/drawing/2014/main" id="{F07EB69D-D78F-49B3-9E24-D9AE7DDC8327}"/>
              </a:ext>
            </a:extLst>
          </p:cNvPr>
          <p:cNvGrpSpPr/>
          <p:nvPr/>
        </p:nvGrpSpPr>
        <p:grpSpPr>
          <a:xfrm>
            <a:off x="673100" y="2688851"/>
            <a:ext cx="3642517" cy="1899399"/>
            <a:chOff x="7876383" y="2767095"/>
            <a:chExt cx="3642517" cy="1899399"/>
          </a:xfrm>
        </p:grpSpPr>
        <p:sp>
          <p:nvSpPr>
            <p:cNvPr id="79" name="îṣ1íde">
              <a:extLst>
                <a:ext uri="{FF2B5EF4-FFF2-40B4-BE49-F238E27FC236}">
                  <a16:creationId xmlns:a16="http://schemas.microsoft.com/office/drawing/2014/main" id="{5D8308F5-6D24-4A3C-B19E-5C964BB9D0D0}"/>
                </a:ext>
              </a:extLst>
            </p:cNvPr>
            <p:cNvSpPr/>
            <p:nvPr/>
          </p:nvSpPr>
          <p:spPr>
            <a:xfrm>
              <a:off x="7876383" y="3208900"/>
              <a:ext cx="3642517" cy="14575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/>
                <a:t>Unified fonts make reading more fluent.</a:t>
              </a:r>
            </a:p>
            <a:p>
              <a:pPr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/>
                <a:t>Theme color makes PPT more convenient to change.</a:t>
              </a:r>
            </a:p>
            <a:p>
              <a:pPr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/>
                <a:t>Adjust the spacing to adapt to Chinese typesetting, use the reference line in PPT.</a:t>
              </a:r>
            </a:p>
          </p:txBody>
        </p:sp>
        <p:sp>
          <p:nvSpPr>
            <p:cNvPr id="80" name="ïṩľíḋe">
              <a:extLst>
                <a:ext uri="{FF2B5EF4-FFF2-40B4-BE49-F238E27FC236}">
                  <a16:creationId xmlns:a16="http://schemas.microsoft.com/office/drawing/2014/main" id="{D1760DDC-00E5-41DA-B229-906D31514BB0}"/>
                </a:ext>
              </a:extLst>
            </p:cNvPr>
            <p:cNvSpPr txBox="1"/>
            <p:nvPr/>
          </p:nvSpPr>
          <p:spPr bwMode="auto">
            <a:xfrm>
              <a:off x="7876383" y="2767095"/>
              <a:ext cx="3642517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2000" b="1" dirty="0"/>
                <a:t>Text here</a:t>
              </a:r>
            </a:p>
          </p:txBody>
        </p:sp>
      </p:grpSp>
      <p:sp>
        <p:nvSpPr>
          <p:cNvPr id="67" name="iśľïḑe">
            <a:extLst>
              <a:ext uri="{FF2B5EF4-FFF2-40B4-BE49-F238E27FC236}">
                <a16:creationId xmlns:a16="http://schemas.microsoft.com/office/drawing/2014/main" id="{494EEF86-B4A4-4556-890F-BDB5739E0F34}"/>
              </a:ext>
            </a:extLst>
          </p:cNvPr>
          <p:cNvSpPr/>
          <p:nvPr/>
        </p:nvSpPr>
        <p:spPr bwMode="auto">
          <a:xfrm>
            <a:off x="6896097" y="1961965"/>
            <a:ext cx="432784" cy="474398"/>
          </a:xfrm>
          <a:custGeom>
            <a:avLst/>
            <a:gdLst>
              <a:gd name="connsiteX0" fmla="*/ 247650 w 495300"/>
              <a:gd name="connsiteY0" fmla="*/ 0 h 542925"/>
              <a:gd name="connsiteX1" fmla="*/ 495300 w 495300"/>
              <a:gd name="connsiteY1" fmla="*/ 247650 h 542925"/>
              <a:gd name="connsiteX2" fmla="*/ 322707 w 495300"/>
              <a:gd name="connsiteY2" fmla="*/ 483775 h 542925"/>
              <a:gd name="connsiteX3" fmla="*/ 345853 w 495300"/>
              <a:gd name="connsiteY3" fmla="*/ 523875 h 542925"/>
              <a:gd name="connsiteX4" fmla="*/ 419100 w 495300"/>
              <a:gd name="connsiteY4" fmla="*/ 523875 h 542925"/>
              <a:gd name="connsiteX5" fmla="*/ 419100 w 495300"/>
              <a:gd name="connsiteY5" fmla="*/ 542925 h 542925"/>
              <a:gd name="connsiteX6" fmla="*/ 76200 w 495300"/>
              <a:gd name="connsiteY6" fmla="*/ 542925 h 542925"/>
              <a:gd name="connsiteX7" fmla="*/ 76200 w 495300"/>
              <a:gd name="connsiteY7" fmla="*/ 523875 h 542925"/>
              <a:gd name="connsiteX8" fmla="*/ 149447 w 495300"/>
              <a:gd name="connsiteY8" fmla="*/ 523875 h 542925"/>
              <a:gd name="connsiteX9" fmla="*/ 172593 w 495300"/>
              <a:gd name="connsiteY9" fmla="*/ 483775 h 542925"/>
              <a:gd name="connsiteX10" fmla="*/ 0 w 495300"/>
              <a:gd name="connsiteY10" fmla="*/ 247650 h 542925"/>
              <a:gd name="connsiteX11" fmla="*/ 247650 w 495300"/>
              <a:gd name="connsiteY11" fmla="*/ 0 h 542925"/>
              <a:gd name="connsiteX12" fmla="*/ 191643 w 495300"/>
              <a:gd name="connsiteY12" fmla="*/ 488918 h 542925"/>
              <a:gd name="connsiteX13" fmla="*/ 171450 w 495300"/>
              <a:gd name="connsiteY13" fmla="*/ 523875 h 542925"/>
              <a:gd name="connsiteX14" fmla="*/ 323850 w 495300"/>
              <a:gd name="connsiteY14" fmla="*/ 523875 h 542925"/>
              <a:gd name="connsiteX15" fmla="*/ 303657 w 495300"/>
              <a:gd name="connsiteY15" fmla="*/ 488918 h 542925"/>
              <a:gd name="connsiteX16" fmla="*/ 247650 w 495300"/>
              <a:gd name="connsiteY16" fmla="*/ 495300 h 542925"/>
              <a:gd name="connsiteX17" fmla="*/ 191643 w 495300"/>
              <a:gd name="connsiteY17" fmla="*/ 488918 h 542925"/>
              <a:gd name="connsiteX18" fmla="*/ 247650 w 495300"/>
              <a:gd name="connsiteY18" fmla="*/ 142875 h 542925"/>
              <a:gd name="connsiteX19" fmla="*/ 142875 w 495300"/>
              <a:gd name="connsiteY19" fmla="*/ 247650 h 542925"/>
              <a:gd name="connsiteX20" fmla="*/ 247650 w 495300"/>
              <a:gd name="connsiteY20" fmla="*/ 352425 h 542925"/>
              <a:gd name="connsiteX21" fmla="*/ 352425 w 495300"/>
              <a:gd name="connsiteY21" fmla="*/ 247650 h 542925"/>
              <a:gd name="connsiteX22" fmla="*/ 247650 w 495300"/>
              <a:gd name="connsiteY22" fmla="*/ 142875 h 542925"/>
              <a:gd name="connsiteX23" fmla="*/ 366713 w 495300"/>
              <a:gd name="connsiteY23" fmla="*/ 114300 h 542925"/>
              <a:gd name="connsiteX24" fmla="*/ 352425 w 495300"/>
              <a:gd name="connsiteY24" fmla="*/ 128588 h 542925"/>
              <a:gd name="connsiteX25" fmla="*/ 366713 w 495300"/>
              <a:gd name="connsiteY25" fmla="*/ 142875 h 542925"/>
              <a:gd name="connsiteX26" fmla="*/ 381000 w 495300"/>
              <a:gd name="connsiteY26" fmla="*/ 128588 h 542925"/>
              <a:gd name="connsiteX27" fmla="*/ 366713 w 495300"/>
              <a:gd name="connsiteY27" fmla="*/ 114300 h 542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495300" h="542925">
                <a:moveTo>
                  <a:pt x="247650" y="0"/>
                </a:moveTo>
                <a:cubicBezTo>
                  <a:pt x="384429" y="0"/>
                  <a:pt x="495300" y="110871"/>
                  <a:pt x="495300" y="247650"/>
                </a:cubicBezTo>
                <a:cubicBezTo>
                  <a:pt x="495300" y="358235"/>
                  <a:pt x="422815" y="451961"/>
                  <a:pt x="322707" y="483775"/>
                </a:cubicBezTo>
                <a:lnTo>
                  <a:pt x="345853" y="523875"/>
                </a:lnTo>
                <a:lnTo>
                  <a:pt x="419100" y="523875"/>
                </a:lnTo>
                <a:lnTo>
                  <a:pt x="419100" y="542925"/>
                </a:lnTo>
                <a:lnTo>
                  <a:pt x="76200" y="542925"/>
                </a:lnTo>
                <a:lnTo>
                  <a:pt x="76200" y="523875"/>
                </a:lnTo>
                <a:lnTo>
                  <a:pt x="149447" y="523875"/>
                </a:lnTo>
                <a:lnTo>
                  <a:pt x="172593" y="483775"/>
                </a:lnTo>
                <a:cubicBezTo>
                  <a:pt x="72485" y="451961"/>
                  <a:pt x="0" y="358235"/>
                  <a:pt x="0" y="247650"/>
                </a:cubicBezTo>
                <a:cubicBezTo>
                  <a:pt x="0" y="110871"/>
                  <a:pt x="110871" y="0"/>
                  <a:pt x="247650" y="0"/>
                </a:cubicBezTo>
                <a:close/>
                <a:moveTo>
                  <a:pt x="191643" y="488918"/>
                </a:moveTo>
                <a:lnTo>
                  <a:pt x="171450" y="523875"/>
                </a:lnTo>
                <a:lnTo>
                  <a:pt x="323850" y="523875"/>
                </a:lnTo>
                <a:lnTo>
                  <a:pt x="303657" y="488918"/>
                </a:lnTo>
                <a:cubicBezTo>
                  <a:pt x="285655" y="493109"/>
                  <a:pt x="266891" y="495300"/>
                  <a:pt x="247650" y="495300"/>
                </a:cubicBezTo>
                <a:cubicBezTo>
                  <a:pt x="228409" y="495300"/>
                  <a:pt x="209645" y="493109"/>
                  <a:pt x="191643" y="488918"/>
                </a:cubicBezTo>
                <a:close/>
                <a:moveTo>
                  <a:pt x="247650" y="142875"/>
                </a:moveTo>
                <a:cubicBezTo>
                  <a:pt x="189738" y="142875"/>
                  <a:pt x="142875" y="189738"/>
                  <a:pt x="142875" y="247650"/>
                </a:cubicBezTo>
                <a:cubicBezTo>
                  <a:pt x="142875" y="305562"/>
                  <a:pt x="189738" y="352425"/>
                  <a:pt x="247650" y="352425"/>
                </a:cubicBezTo>
                <a:cubicBezTo>
                  <a:pt x="305562" y="352425"/>
                  <a:pt x="352425" y="305562"/>
                  <a:pt x="352425" y="247650"/>
                </a:cubicBezTo>
                <a:cubicBezTo>
                  <a:pt x="352425" y="189738"/>
                  <a:pt x="305562" y="142875"/>
                  <a:pt x="247650" y="142875"/>
                </a:cubicBezTo>
                <a:close/>
                <a:moveTo>
                  <a:pt x="366713" y="114300"/>
                </a:moveTo>
                <a:cubicBezTo>
                  <a:pt x="358807" y="114300"/>
                  <a:pt x="352425" y="120682"/>
                  <a:pt x="352425" y="128588"/>
                </a:cubicBezTo>
                <a:cubicBezTo>
                  <a:pt x="352425" y="136493"/>
                  <a:pt x="358807" y="142875"/>
                  <a:pt x="366713" y="142875"/>
                </a:cubicBezTo>
                <a:cubicBezTo>
                  <a:pt x="374618" y="142875"/>
                  <a:pt x="381000" y="136493"/>
                  <a:pt x="381000" y="128588"/>
                </a:cubicBezTo>
                <a:cubicBezTo>
                  <a:pt x="381000" y="120682"/>
                  <a:pt x="374618" y="114300"/>
                  <a:pt x="366713" y="11430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68" name="ïṥḻidè">
            <a:extLst>
              <a:ext uri="{FF2B5EF4-FFF2-40B4-BE49-F238E27FC236}">
                <a16:creationId xmlns:a16="http://schemas.microsoft.com/office/drawing/2014/main" id="{15A3855C-46C9-4EAA-8B0B-152BC80A7A4A}"/>
              </a:ext>
            </a:extLst>
          </p:cNvPr>
          <p:cNvSpPr/>
          <p:nvPr/>
        </p:nvSpPr>
        <p:spPr bwMode="auto">
          <a:xfrm>
            <a:off x="5067168" y="3411789"/>
            <a:ext cx="371236" cy="451940"/>
          </a:xfrm>
          <a:custGeom>
            <a:avLst/>
            <a:gdLst>
              <a:gd name="connsiteX0" fmla="*/ 283464 w 438150"/>
              <a:gd name="connsiteY0" fmla="*/ 0 h 533400"/>
              <a:gd name="connsiteX1" fmla="*/ 285750 w 438150"/>
              <a:gd name="connsiteY1" fmla="*/ 95 h 533400"/>
              <a:gd name="connsiteX2" fmla="*/ 285750 w 438150"/>
              <a:gd name="connsiteY2" fmla="*/ 123825 h 533400"/>
              <a:gd name="connsiteX3" fmla="*/ 285845 w 438150"/>
              <a:gd name="connsiteY3" fmla="*/ 125540 h 533400"/>
              <a:gd name="connsiteX4" fmla="*/ 314325 w 438150"/>
              <a:gd name="connsiteY4" fmla="*/ 152400 h 533400"/>
              <a:gd name="connsiteX5" fmla="*/ 314325 w 438150"/>
              <a:gd name="connsiteY5" fmla="*/ 152400 h 533400"/>
              <a:gd name="connsiteX6" fmla="*/ 438055 w 438150"/>
              <a:gd name="connsiteY6" fmla="*/ 152400 h 533400"/>
              <a:gd name="connsiteX7" fmla="*/ 438150 w 438150"/>
              <a:gd name="connsiteY7" fmla="*/ 154686 h 533400"/>
              <a:gd name="connsiteX8" fmla="*/ 438150 w 438150"/>
              <a:gd name="connsiteY8" fmla="*/ 504825 h 533400"/>
              <a:gd name="connsiteX9" fmla="*/ 409575 w 438150"/>
              <a:gd name="connsiteY9" fmla="*/ 533400 h 533400"/>
              <a:gd name="connsiteX10" fmla="*/ 28575 w 438150"/>
              <a:gd name="connsiteY10" fmla="*/ 533400 h 533400"/>
              <a:gd name="connsiteX11" fmla="*/ 0 w 438150"/>
              <a:gd name="connsiteY11" fmla="*/ 504825 h 533400"/>
              <a:gd name="connsiteX12" fmla="*/ 0 w 438150"/>
              <a:gd name="connsiteY12" fmla="*/ 28575 h 533400"/>
              <a:gd name="connsiteX13" fmla="*/ 28575 w 438150"/>
              <a:gd name="connsiteY13" fmla="*/ 0 h 533400"/>
              <a:gd name="connsiteX14" fmla="*/ 283464 w 438150"/>
              <a:gd name="connsiteY14" fmla="*/ 0 h 533400"/>
              <a:gd name="connsiteX15" fmla="*/ 247650 w 438150"/>
              <a:gd name="connsiteY15" fmla="*/ 200025 h 533400"/>
              <a:gd name="connsiteX16" fmla="*/ 152400 w 438150"/>
              <a:gd name="connsiteY16" fmla="*/ 200025 h 533400"/>
              <a:gd name="connsiteX17" fmla="*/ 152400 w 438150"/>
              <a:gd name="connsiteY17" fmla="*/ 409575 h 533400"/>
              <a:gd name="connsiteX18" fmla="*/ 171450 w 438150"/>
              <a:gd name="connsiteY18" fmla="*/ 409575 h 533400"/>
              <a:gd name="connsiteX19" fmla="*/ 171450 w 438150"/>
              <a:gd name="connsiteY19" fmla="*/ 314325 h 533400"/>
              <a:gd name="connsiteX20" fmla="*/ 247650 w 438150"/>
              <a:gd name="connsiteY20" fmla="*/ 314325 h 533400"/>
              <a:gd name="connsiteX21" fmla="*/ 249746 w 438150"/>
              <a:gd name="connsiteY21" fmla="*/ 314325 h 533400"/>
              <a:gd name="connsiteX22" fmla="*/ 304800 w 438150"/>
              <a:gd name="connsiteY22" fmla="*/ 257175 h 533400"/>
              <a:gd name="connsiteX23" fmla="*/ 247650 w 438150"/>
              <a:gd name="connsiteY23" fmla="*/ 200025 h 533400"/>
              <a:gd name="connsiteX24" fmla="*/ 247650 w 438150"/>
              <a:gd name="connsiteY24" fmla="*/ 200025 h 533400"/>
              <a:gd name="connsiteX25" fmla="*/ 247650 w 438150"/>
              <a:gd name="connsiteY25" fmla="*/ 219075 h 533400"/>
              <a:gd name="connsiteX26" fmla="*/ 285750 w 438150"/>
              <a:gd name="connsiteY26" fmla="*/ 257175 h 533400"/>
              <a:gd name="connsiteX27" fmla="*/ 247650 w 438150"/>
              <a:gd name="connsiteY27" fmla="*/ 295275 h 533400"/>
              <a:gd name="connsiteX28" fmla="*/ 247650 w 438150"/>
              <a:gd name="connsiteY28" fmla="*/ 295275 h 533400"/>
              <a:gd name="connsiteX29" fmla="*/ 171450 w 438150"/>
              <a:gd name="connsiteY29" fmla="*/ 295275 h 533400"/>
              <a:gd name="connsiteX30" fmla="*/ 171450 w 438150"/>
              <a:gd name="connsiteY30" fmla="*/ 219075 h 533400"/>
              <a:gd name="connsiteX31" fmla="*/ 247650 w 438150"/>
              <a:gd name="connsiteY31" fmla="*/ 219075 h 533400"/>
              <a:gd name="connsiteX32" fmla="*/ 428625 w 438150"/>
              <a:gd name="connsiteY32" fmla="*/ 133350 h 533400"/>
              <a:gd name="connsiteX33" fmla="*/ 314325 w 438150"/>
              <a:gd name="connsiteY33" fmla="*/ 133350 h 533400"/>
              <a:gd name="connsiteX34" fmla="*/ 313182 w 438150"/>
              <a:gd name="connsiteY34" fmla="*/ 133255 h 533400"/>
              <a:gd name="connsiteX35" fmla="*/ 304800 w 438150"/>
              <a:gd name="connsiteY35" fmla="*/ 123825 h 533400"/>
              <a:gd name="connsiteX36" fmla="*/ 304800 w 438150"/>
              <a:gd name="connsiteY36" fmla="*/ 123825 h 533400"/>
              <a:gd name="connsiteX37" fmla="*/ 304800 w 438150"/>
              <a:gd name="connsiteY37" fmla="*/ 9525 h 533400"/>
              <a:gd name="connsiteX38" fmla="*/ 428625 w 438150"/>
              <a:gd name="connsiteY38" fmla="*/ 133350 h 533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438150" h="533400">
                <a:moveTo>
                  <a:pt x="283464" y="0"/>
                </a:moveTo>
                <a:cubicBezTo>
                  <a:pt x="284226" y="0"/>
                  <a:pt x="284988" y="0"/>
                  <a:pt x="285750" y="95"/>
                </a:cubicBezTo>
                <a:lnTo>
                  <a:pt x="285750" y="123825"/>
                </a:lnTo>
                <a:lnTo>
                  <a:pt x="285845" y="125540"/>
                </a:lnTo>
                <a:cubicBezTo>
                  <a:pt x="286703" y="140494"/>
                  <a:pt x="299085" y="152400"/>
                  <a:pt x="314325" y="152400"/>
                </a:cubicBezTo>
                <a:lnTo>
                  <a:pt x="314325" y="152400"/>
                </a:lnTo>
                <a:lnTo>
                  <a:pt x="438055" y="152400"/>
                </a:lnTo>
                <a:cubicBezTo>
                  <a:pt x="438150" y="153162"/>
                  <a:pt x="438150" y="153924"/>
                  <a:pt x="438150" y="154686"/>
                </a:cubicBezTo>
                <a:lnTo>
                  <a:pt x="438150" y="504825"/>
                </a:lnTo>
                <a:cubicBezTo>
                  <a:pt x="438150" y="520637"/>
                  <a:pt x="425387" y="533400"/>
                  <a:pt x="409575" y="533400"/>
                </a:cubicBezTo>
                <a:lnTo>
                  <a:pt x="28575" y="533400"/>
                </a:lnTo>
                <a:cubicBezTo>
                  <a:pt x="12764" y="533400"/>
                  <a:pt x="0" y="520637"/>
                  <a:pt x="0" y="504825"/>
                </a:cubicBezTo>
                <a:lnTo>
                  <a:pt x="0" y="28575"/>
                </a:lnTo>
                <a:cubicBezTo>
                  <a:pt x="0" y="12763"/>
                  <a:pt x="12764" y="0"/>
                  <a:pt x="28575" y="0"/>
                </a:cubicBezTo>
                <a:lnTo>
                  <a:pt x="283464" y="0"/>
                </a:lnTo>
                <a:close/>
                <a:moveTo>
                  <a:pt x="247650" y="200025"/>
                </a:moveTo>
                <a:lnTo>
                  <a:pt x="152400" y="200025"/>
                </a:lnTo>
                <a:lnTo>
                  <a:pt x="152400" y="409575"/>
                </a:lnTo>
                <a:lnTo>
                  <a:pt x="171450" y="409575"/>
                </a:lnTo>
                <a:lnTo>
                  <a:pt x="171450" y="314325"/>
                </a:lnTo>
                <a:lnTo>
                  <a:pt x="247650" y="314325"/>
                </a:lnTo>
                <a:lnTo>
                  <a:pt x="249746" y="314325"/>
                </a:lnTo>
                <a:cubicBezTo>
                  <a:pt x="280321" y="313182"/>
                  <a:pt x="304800" y="288036"/>
                  <a:pt x="304800" y="257175"/>
                </a:cubicBezTo>
                <a:cubicBezTo>
                  <a:pt x="304800" y="225647"/>
                  <a:pt x="279178" y="200025"/>
                  <a:pt x="247650" y="200025"/>
                </a:cubicBezTo>
                <a:lnTo>
                  <a:pt x="247650" y="200025"/>
                </a:lnTo>
                <a:close/>
                <a:moveTo>
                  <a:pt x="247650" y="219075"/>
                </a:moveTo>
                <a:cubicBezTo>
                  <a:pt x="268700" y="219075"/>
                  <a:pt x="285750" y="236125"/>
                  <a:pt x="285750" y="257175"/>
                </a:cubicBezTo>
                <a:cubicBezTo>
                  <a:pt x="285750" y="278225"/>
                  <a:pt x="268700" y="295275"/>
                  <a:pt x="247650" y="295275"/>
                </a:cubicBezTo>
                <a:lnTo>
                  <a:pt x="247650" y="295275"/>
                </a:lnTo>
                <a:lnTo>
                  <a:pt x="171450" y="295275"/>
                </a:lnTo>
                <a:lnTo>
                  <a:pt x="171450" y="219075"/>
                </a:lnTo>
                <a:lnTo>
                  <a:pt x="247650" y="219075"/>
                </a:lnTo>
                <a:close/>
                <a:moveTo>
                  <a:pt x="428625" y="133350"/>
                </a:moveTo>
                <a:lnTo>
                  <a:pt x="314325" y="133350"/>
                </a:lnTo>
                <a:lnTo>
                  <a:pt x="313182" y="133255"/>
                </a:lnTo>
                <a:cubicBezTo>
                  <a:pt x="308515" y="132779"/>
                  <a:pt x="304800" y="128683"/>
                  <a:pt x="304800" y="123825"/>
                </a:cubicBezTo>
                <a:lnTo>
                  <a:pt x="304800" y="123825"/>
                </a:lnTo>
                <a:lnTo>
                  <a:pt x="304800" y="9525"/>
                </a:lnTo>
                <a:lnTo>
                  <a:pt x="428625" y="133350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endParaRPr b="1" dirty="0">
              <a:solidFill>
                <a:schemeClr val="bg1"/>
              </a:solidFill>
            </a:endParaRPr>
          </a:p>
        </p:txBody>
      </p:sp>
      <p:sp>
        <p:nvSpPr>
          <p:cNvPr id="69" name="ïṧľïḓé">
            <a:extLst>
              <a:ext uri="{FF2B5EF4-FFF2-40B4-BE49-F238E27FC236}">
                <a16:creationId xmlns:a16="http://schemas.microsoft.com/office/drawing/2014/main" id="{D6F5975F-B9DB-40FC-93FB-E36B94DFB661}"/>
              </a:ext>
            </a:extLst>
          </p:cNvPr>
          <p:cNvSpPr/>
          <p:nvPr/>
        </p:nvSpPr>
        <p:spPr bwMode="auto">
          <a:xfrm>
            <a:off x="6890435" y="4894544"/>
            <a:ext cx="460612" cy="366782"/>
          </a:xfrm>
          <a:custGeom>
            <a:avLst/>
            <a:gdLst>
              <a:gd name="connsiteX0" fmla="*/ 485775 w 514350"/>
              <a:gd name="connsiteY0" fmla="*/ 0 h 409575"/>
              <a:gd name="connsiteX1" fmla="*/ 514350 w 514350"/>
              <a:gd name="connsiteY1" fmla="*/ 28575 h 409575"/>
              <a:gd name="connsiteX2" fmla="*/ 514350 w 514350"/>
              <a:gd name="connsiteY2" fmla="*/ 323850 h 409575"/>
              <a:gd name="connsiteX3" fmla="*/ 485775 w 514350"/>
              <a:gd name="connsiteY3" fmla="*/ 352425 h 409575"/>
              <a:gd name="connsiteX4" fmla="*/ 191167 w 514350"/>
              <a:gd name="connsiteY4" fmla="*/ 352425 h 409575"/>
              <a:gd name="connsiteX5" fmla="*/ 114395 w 514350"/>
              <a:gd name="connsiteY5" fmla="*/ 409575 h 409575"/>
              <a:gd name="connsiteX6" fmla="*/ 114395 w 514350"/>
              <a:gd name="connsiteY6" fmla="*/ 352425 h 409575"/>
              <a:gd name="connsiteX7" fmla="*/ 28575 w 514350"/>
              <a:gd name="connsiteY7" fmla="*/ 352425 h 409575"/>
              <a:gd name="connsiteX8" fmla="*/ 0 w 514350"/>
              <a:gd name="connsiteY8" fmla="*/ 323850 h 409575"/>
              <a:gd name="connsiteX9" fmla="*/ 0 w 514350"/>
              <a:gd name="connsiteY9" fmla="*/ 28575 h 409575"/>
              <a:gd name="connsiteX10" fmla="*/ 28575 w 514350"/>
              <a:gd name="connsiteY10" fmla="*/ 0 h 409575"/>
              <a:gd name="connsiteX11" fmla="*/ 485775 w 514350"/>
              <a:gd name="connsiteY11" fmla="*/ 0 h 409575"/>
              <a:gd name="connsiteX12" fmla="*/ 123825 w 514350"/>
              <a:gd name="connsiteY12" fmla="*/ 142875 h 409575"/>
              <a:gd name="connsiteX13" fmla="*/ 90488 w 514350"/>
              <a:gd name="connsiteY13" fmla="*/ 176213 h 409575"/>
              <a:gd name="connsiteX14" fmla="*/ 123825 w 514350"/>
              <a:gd name="connsiteY14" fmla="*/ 209550 h 409575"/>
              <a:gd name="connsiteX15" fmla="*/ 157163 w 514350"/>
              <a:gd name="connsiteY15" fmla="*/ 176213 h 409575"/>
              <a:gd name="connsiteX16" fmla="*/ 123825 w 514350"/>
              <a:gd name="connsiteY16" fmla="*/ 142875 h 409575"/>
              <a:gd name="connsiteX17" fmla="*/ 257175 w 514350"/>
              <a:gd name="connsiteY17" fmla="*/ 142875 h 409575"/>
              <a:gd name="connsiteX18" fmla="*/ 223838 w 514350"/>
              <a:gd name="connsiteY18" fmla="*/ 176213 h 409575"/>
              <a:gd name="connsiteX19" fmla="*/ 257175 w 514350"/>
              <a:gd name="connsiteY19" fmla="*/ 209550 h 409575"/>
              <a:gd name="connsiteX20" fmla="*/ 290513 w 514350"/>
              <a:gd name="connsiteY20" fmla="*/ 176213 h 409575"/>
              <a:gd name="connsiteX21" fmla="*/ 257175 w 514350"/>
              <a:gd name="connsiteY21" fmla="*/ 142875 h 409575"/>
              <a:gd name="connsiteX22" fmla="*/ 390525 w 514350"/>
              <a:gd name="connsiteY22" fmla="*/ 142875 h 409575"/>
              <a:gd name="connsiteX23" fmla="*/ 357188 w 514350"/>
              <a:gd name="connsiteY23" fmla="*/ 176213 h 409575"/>
              <a:gd name="connsiteX24" fmla="*/ 390525 w 514350"/>
              <a:gd name="connsiteY24" fmla="*/ 209550 h 409575"/>
              <a:gd name="connsiteX25" fmla="*/ 423863 w 514350"/>
              <a:gd name="connsiteY25" fmla="*/ 176213 h 409575"/>
              <a:gd name="connsiteX26" fmla="*/ 390525 w 514350"/>
              <a:gd name="connsiteY26" fmla="*/ 142875 h 40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4350" h="409575">
                <a:moveTo>
                  <a:pt x="485775" y="0"/>
                </a:moveTo>
                <a:cubicBezTo>
                  <a:pt x="501586" y="0"/>
                  <a:pt x="514350" y="12764"/>
                  <a:pt x="514350" y="28575"/>
                </a:cubicBezTo>
                <a:lnTo>
                  <a:pt x="514350" y="323850"/>
                </a:lnTo>
                <a:cubicBezTo>
                  <a:pt x="514350" y="339662"/>
                  <a:pt x="501586" y="352425"/>
                  <a:pt x="485775" y="352425"/>
                </a:cubicBezTo>
                <a:lnTo>
                  <a:pt x="191167" y="352425"/>
                </a:lnTo>
                <a:lnTo>
                  <a:pt x="114395" y="409575"/>
                </a:lnTo>
                <a:lnTo>
                  <a:pt x="114395" y="352425"/>
                </a:lnTo>
                <a:lnTo>
                  <a:pt x="28575" y="352425"/>
                </a:lnTo>
                <a:cubicBezTo>
                  <a:pt x="12764" y="352425"/>
                  <a:pt x="0" y="339662"/>
                  <a:pt x="0" y="323850"/>
                </a:cubicBezTo>
                <a:lnTo>
                  <a:pt x="0" y="28575"/>
                </a:lnTo>
                <a:cubicBezTo>
                  <a:pt x="0" y="12764"/>
                  <a:pt x="12764" y="0"/>
                  <a:pt x="28575" y="0"/>
                </a:cubicBezTo>
                <a:lnTo>
                  <a:pt x="485775" y="0"/>
                </a:lnTo>
                <a:close/>
                <a:moveTo>
                  <a:pt x="123825" y="142875"/>
                </a:moveTo>
                <a:cubicBezTo>
                  <a:pt x="105442" y="142875"/>
                  <a:pt x="90488" y="157829"/>
                  <a:pt x="90488" y="176213"/>
                </a:cubicBezTo>
                <a:cubicBezTo>
                  <a:pt x="90488" y="194596"/>
                  <a:pt x="105442" y="209550"/>
                  <a:pt x="123825" y="209550"/>
                </a:cubicBezTo>
                <a:cubicBezTo>
                  <a:pt x="142208" y="209550"/>
                  <a:pt x="157163" y="194596"/>
                  <a:pt x="157163" y="176213"/>
                </a:cubicBezTo>
                <a:cubicBezTo>
                  <a:pt x="157163" y="157829"/>
                  <a:pt x="142208" y="142875"/>
                  <a:pt x="123825" y="142875"/>
                </a:cubicBezTo>
                <a:close/>
                <a:moveTo>
                  <a:pt x="257175" y="142875"/>
                </a:moveTo>
                <a:cubicBezTo>
                  <a:pt x="238792" y="142875"/>
                  <a:pt x="223838" y="157829"/>
                  <a:pt x="223838" y="176213"/>
                </a:cubicBezTo>
                <a:cubicBezTo>
                  <a:pt x="223838" y="194596"/>
                  <a:pt x="238792" y="209550"/>
                  <a:pt x="257175" y="209550"/>
                </a:cubicBezTo>
                <a:cubicBezTo>
                  <a:pt x="275558" y="209550"/>
                  <a:pt x="290513" y="194596"/>
                  <a:pt x="290513" y="176213"/>
                </a:cubicBezTo>
                <a:cubicBezTo>
                  <a:pt x="290513" y="157829"/>
                  <a:pt x="275558" y="142875"/>
                  <a:pt x="257175" y="142875"/>
                </a:cubicBezTo>
                <a:close/>
                <a:moveTo>
                  <a:pt x="390525" y="142875"/>
                </a:moveTo>
                <a:cubicBezTo>
                  <a:pt x="372142" y="142875"/>
                  <a:pt x="357188" y="157829"/>
                  <a:pt x="357188" y="176213"/>
                </a:cubicBezTo>
                <a:cubicBezTo>
                  <a:pt x="357188" y="194596"/>
                  <a:pt x="372142" y="209550"/>
                  <a:pt x="390525" y="209550"/>
                </a:cubicBezTo>
                <a:cubicBezTo>
                  <a:pt x="408908" y="209550"/>
                  <a:pt x="423863" y="194596"/>
                  <a:pt x="423863" y="176213"/>
                </a:cubicBezTo>
                <a:cubicBezTo>
                  <a:pt x="423863" y="157829"/>
                  <a:pt x="408908" y="142875"/>
                  <a:pt x="390525" y="142875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endParaRPr b="1">
              <a:solidFill>
                <a:schemeClr val="bg1"/>
              </a:solidFill>
            </a:endParaRPr>
          </a:p>
        </p:txBody>
      </p:sp>
      <p:sp>
        <p:nvSpPr>
          <p:cNvPr id="77" name="ïṣḻíḑé">
            <a:extLst>
              <a:ext uri="{FF2B5EF4-FFF2-40B4-BE49-F238E27FC236}">
                <a16:creationId xmlns:a16="http://schemas.microsoft.com/office/drawing/2014/main" id="{F60832BA-3322-4098-9D48-572AB8436E1A}"/>
              </a:ext>
            </a:extLst>
          </p:cNvPr>
          <p:cNvSpPr txBox="1"/>
          <p:nvPr/>
        </p:nvSpPr>
        <p:spPr bwMode="auto">
          <a:xfrm>
            <a:off x="7476153" y="1741062"/>
            <a:ext cx="3758656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 dirty="0"/>
              <a:t>Text here</a:t>
            </a:r>
          </a:p>
        </p:txBody>
      </p:sp>
      <p:sp>
        <p:nvSpPr>
          <p:cNvPr id="78" name="í$1ïḓe">
            <a:extLst>
              <a:ext uri="{FF2B5EF4-FFF2-40B4-BE49-F238E27FC236}">
                <a16:creationId xmlns:a16="http://schemas.microsoft.com/office/drawing/2014/main" id="{FB2FF60A-8EF9-43E5-AC31-2CFF430694DE}"/>
              </a:ext>
            </a:extLst>
          </p:cNvPr>
          <p:cNvSpPr/>
          <p:nvPr/>
        </p:nvSpPr>
        <p:spPr bwMode="auto">
          <a:xfrm>
            <a:off x="7476153" y="2058577"/>
            <a:ext cx="3758656" cy="662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050" dirty="0"/>
              <a:t>Copy paste fonts. Choose the only option to retain text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050" dirty="0"/>
              <a:t>……</a:t>
            </a:r>
          </a:p>
        </p:txBody>
      </p:sp>
      <p:sp>
        <p:nvSpPr>
          <p:cNvPr id="75" name="ïṡļïḋe">
            <a:extLst>
              <a:ext uri="{FF2B5EF4-FFF2-40B4-BE49-F238E27FC236}">
                <a16:creationId xmlns:a16="http://schemas.microsoft.com/office/drawing/2014/main" id="{A6EDAB6E-400D-4544-B161-BB187EF1106F}"/>
              </a:ext>
            </a:extLst>
          </p:cNvPr>
          <p:cNvSpPr txBox="1"/>
          <p:nvPr/>
        </p:nvSpPr>
        <p:spPr bwMode="auto">
          <a:xfrm>
            <a:off x="7476153" y="4612342"/>
            <a:ext cx="3758656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 dirty="0"/>
              <a:t>Text here</a:t>
            </a:r>
          </a:p>
        </p:txBody>
      </p:sp>
      <p:sp>
        <p:nvSpPr>
          <p:cNvPr id="76" name="ïṩļîḓè">
            <a:extLst>
              <a:ext uri="{FF2B5EF4-FFF2-40B4-BE49-F238E27FC236}">
                <a16:creationId xmlns:a16="http://schemas.microsoft.com/office/drawing/2014/main" id="{92CB36EF-0AE4-4F0D-832F-A8BBA4405A03}"/>
              </a:ext>
            </a:extLst>
          </p:cNvPr>
          <p:cNvSpPr/>
          <p:nvPr/>
        </p:nvSpPr>
        <p:spPr bwMode="auto">
          <a:xfrm>
            <a:off x="7476153" y="4929857"/>
            <a:ext cx="3758656" cy="662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050" dirty="0"/>
              <a:t>Copy paste fonts. Choose the only option to retain text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050" dirty="0"/>
              <a:t>……</a:t>
            </a:r>
          </a:p>
        </p:txBody>
      </p:sp>
      <p:sp>
        <p:nvSpPr>
          <p:cNvPr id="73" name="îṩļîḑè">
            <a:extLst>
              <a:ext uri="{FF2B5EF4-FFF2-40B4-BE49-F238E27FC236}">
                <a16:creationId xmlns:a16="http://schemas.microsoft.com/office/drawing/2014/main" id="{2FF5D2F3-A068-423E-BAC0-4116E9C971FE}"/>
              </a:ext>
            </a:extLst>
          </p:cNvPr>
          <p:cNvSpPr txBox="1"/>
          <p:nvPr/>
        </p:nvSpPr>
        <p:spPr bwMode="auto">
          <a:xfrm>
            <a:off x="5597975" y="3134066"/>
            <a:ext cx="4092330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 dirty="0"/>
              <a:t>Text here</a:t>
            </a:r>
          </a:p>
        </p:txBody>
      </p:sp>
      <p:sp>
        <p:nvSpPr>
          <p:cNvPr id="74" name="ïşḷîḋé">
            <a:extLst>
              <a:ext uri="{FF2B5EF4-FFF2-40B4-BE49-F238E27FC236}">
                <a16:creationId xmlns:a16="http://schemas.microsoft.com/office/drawing/2014/main" id="{748CB1AB-8F7D-44BD-951F-9E5E0D314E67}"/>
              </a:ext>
            </a:extLst>
          </p:cNvPr>
          <p:cNvSpPr/>
          <p:nvPr/>
        </p:nvSpPr>
        <p:spPr bwMode="auto">
          <a:xfrm>
            <a:off x="5599520" y="3451580"/>
            <a:ext cx="4090866" cy="754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050" dirty="0"/>
              <a:t>Supporting text here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050" dirty="0"/>
              <a:t>When you copy &amp; paste, choose "keep text only" option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8117521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ṧḷïḍ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Sḷïḍé">
            <a:extLst>
              <a:ext uri="{FF2B5EF4-FFF2-40B4-BE49-F238E27FC236}">
                <a16:creationId xmlns:a16="http://schemas.microsoft.com/office/drawing/2014/main" id="{397F0B6B-9F65-472F-B330-780AB4FA7F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ïşļídè">
            <a:extLst>
              <a:ext uri="{FF2B5EF4-FFF2-40B4-BE49-F238E27FC236}">
                <a16:creationId xmlns:a16="http://schemas.microsoft.com/office/drawing/2014/main" id="{FE6C570E-713A-4604-BA7B-0E395B68C9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iṩḻîḓe">
            <a:extLst>
              <a:ext uri="{FF2B5EF4-FFF2-40B4-BE49-F238E27FC236}">
                <a16:creationId xmlns:a16="http://schemas.microsoft.com/office/drawing/2014/main" id="{34E0EB85-AAE4-4C4D-AD56-91B4345722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/>
          </a:p>
        </p:txBody>
      </p:sp>
      <p:sp>
        <p:nvSpPr>
          <p:cNvPr id="6" name="iṧļïďê">
            <a:extLst>
              <a:ext uri="{FF2B5EF4-FFF2-40B4-BE49-F238E27FC236}">
                <a16:creationId xmlns:a16="http://schemas.microsoft.com/office/drawing/2014/main" id="{F8AA8421-0597-4155-BBBA-14DE979B9D3B}"/>
              </a:ext>
            </a:extLst>
          </p:cNvPr>
          <p:cNvSpPr/>
          <p:nvPr/>
        </p:nvSpPr>
        <p:spPr bwMode="auto">
          <a:xfrm>
            <a:off x="3492197" y="5559603"/>
            <a:ext cx="2364561" cy="671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/>
          <a:p>
            <a:pPr algn="ctr">
              <a:lnSpc>
                <a:spcPct val="110000"/>
              </a:lnSpc>
            </a:pPr>
            <a:r>
              <a:rPr lang="en-US" altLang="zh-CN" sz="1100" dirty="0"/>
              <a:t>Copy paste fonts. Choose the only option to retain text. </a:t>
            </a:r>
          </a:p>
          <a:p>
            <a:pPr algn="ctr">
              <a:lnSpc>
                <a:spcPct val="110000"/>
              </a:lnSpc>
            </a:pPr>
            <a:r>
              <a:rPr lang="en-US" altLang="zh-CN" sz="1100" dirty="0"/>
              <a:t>……</a:t>
            </a:r>
            <a:endParaRPr lang="zh-CN" altLang="en-US" sz="1100" dirty="0"/>
          </a:p>
        </p:txBody>
      </p:sp>
      <p:sp>
        <p:nvSpPr>
          <p:cNvPr id="7" name="ís1ïḓè">
            <a:extLst>
              <a:ext uri="{FF2B5EF4-FFF2-40B4-BE49-F238E27FC236}">
                <a16:creationId xmlns:a16="http://schemas.microsoft.com/office/drawing/2014/main" id="{75DD7B44-05D0-48A4-9907-5B8148A52E1E}"/>
              </a:ext>
            </a:extLst>
          </p:cNvPr>
          <p:cNvSpPr txBox="1"/>
          <p:nvPr/>
        </p:nvSpPr>
        <p:spPr bwMode="auto">
          <a:xfrm>
            <a:off x="3492197" y="5208464"/>
            <a:ext cx="2364561" cy="351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>
            <a:normAutofit lnSpcReduction="10000"/>
          </a:bodyPr>
          <a:lstStyle/>
          <a:p>
            <a:pPr algn="ctr">
              <a:spcBef>
                <a:spcPct val="0"/>
              </a:spcBef>
            </a:pPr>
            <a:r>
              <a:rPr lang="en-US" altLang="zh-CN" b="1" dirty="0"/>
              <a:t>Text</a:t>
            </a:r>
            <a:r>
              <a:rPr lang="zh-CN" altLang="en-US" b="1" dirty="0"/>
              <a:t> </a:t>
            </a:r>
            <a:r>
              <a:rPr lang="en-US" altLang="zh-CN" b="1" dirty="0"/>
              <a:t>here</a:t>
            </a:r>
          </a:p>
        </p:txBody>
      </p:sp>
      <p:sp>
        <p:nvSpPr>
          <p:cNvPr id="8" name="işḻiḍé">
            <a:extLst>
              <a:ext uri="{FF2B5EF4-FFF2-40B4-BE49-F238E27FC236}">
                <a16:creationId xmlns:a16="http://schemas.microsoft.com/office/drawing/2014/main" id="{4E0F3FEA-0484-4AC6-9767-DF384C50D69D}"/>
              </a:ext>
            </a:extLst>
          </p:cNvPr>
          <p:cNvSpPr/>
          <p:nvPr/>
        </p:nvSpPr>
        <p:spPr>
          <a:xfrm>
            <a:off x="4017139" y="3433936"/>
            <a:ext cx="1314677" cy="378094"/>
          </a:xfrm>
          <a:prstGeom prst="roundRect">
            <a:avLst>
              <a:gd name="adj" fmla="val 11253"/>
            </a:avLst>
          </a:prstGeom>
          <a:solidFill>
            <a:schemeClr val="accent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r>
              <a:rPr lang="en-US" altLang="zh-CN" sz="1400" b="1" i="1" dirty="0"/>
              <a:t>Text</a:t>
            </a:r>
          </a:p>
        </p:txBody>
      </p:sp>
      <p:cxnSp>
        <p:nvCxnSpPr>
          <p:cNvPr id="9" name="îṧ1ïḓé">
            <a:extLst>
              <a:ext uri="{FF2B5EF4-FFF2-40B4-BE49-F238E27FC236}">
                <a16:creationId xmlns:a16="http://schemas.microsoft.com/office/drawing/2014/main" id="{BDD361D9-62E8-4272-AA9D-5C381C4A5BA1}"/>
              </a:ext>
            </a:extLst>
          </p:cNvPr>
          <p:cNvCxnSpPr>
            <a:stCxn id="8" idx="2"/>
            <a:endCxn id="7" idx="0"/>
          </p:cNvCxnSpPr>
          <p:nvPr/>
        </p:nvCxnSpPr>
        <p:spPr>
          <a:xfrm>
            <a:off x="4674478" y="3812030"/>
            <a:ext cx="0" cy="1396434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prstDash val="dash"/>
            <a:round/>
            <a:headEnd type="oval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ïṩḻíḑê">
            <a:extLst>
              <a:ext uri="{FF2B5EF4-FFF2-40B4-BE49-F238E27FC236}">
                <a16:creationId xmlns:a16="http://schemas.microsoft.com/office/drawing/2014/main" id="{D162CF63-97B9-417E-8453-9F3B5C345DB2}"/>
              </a:ext>
            </a:extLst>
          </p:cNvPr>
          <p:cNvSpPr/>
          <p:nvPr/>
        </p:nvSpPr>
        <p:spPr bwMode="auto">
          <a:xfrm>
            <a:off x="660400" y="4741057"/>
            <a:ext cx="2366013" cy="671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/>
          <a:p>
            <a:pPr algn="ctr">
              <a:lnSpc>
                <a:spcPct val="110000"/>
              </a:lnSpc>
            </a:pPr>
            <a:r>
              <a:rPr lang="en-US" altLang="zh-CN" sz="1100" dirty="0"/>
              <a:t>Copy paste fonts. Choose the only option to retain text. </a:t>
            </a:r>
          </a:p>
          <a:p>
            <a:pPr algn="ctr">
              <a:lnSpc>
                <a:spcPct val="110000"/>
              </a:lnSpc>
            </a:pPr>
            <a:r>
              <a:rPr lang="en-US" altLang="zh-CN" sz="1100" dirty="0"/>
              <a:t>……</a:t>
            </a:r>
            <a:endParaRPr lang="zh-CN" altLang="en-US" sz="1100" dirty="0"/>
          </a:p>
        </p:txBody>
      </p:sp>
      <p:sp>
        <p:nvSpPr>
          <p:cNvPr id="11" name="îṥḻïḓé">
            <a:extLst>
              <a:ext uri="{FF2B5EF4-FFF2-40B4-BE49-F238E27FC236}">
                <a16:creationId xmlns:a16="http://schemas.microsoft.com/office/drawing/2014/main" id="{7AC86FA9-C2C6-4891-AECE-2C9A01BB4B74}"/>
              </a:ext>
            </a:extLst>
          </p:cNvPr>
          <p:cNvSpPr txBox="1"/>
          <p:nvPr/>
        </p:nvSpPr>
        <p:spPr bwMode="auto">
          <a:xfrm>
            <a:off x="660400" y="4389918"/>
            <a:ext cx="2366013" cy="351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>
            <a:normAutofit lnSpcReduction="10000"/>
          </a:bodyPr>
          <a:lstStyle/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zh-CN" sz="1800" b="1" dirty="0"/>
              <a:t>Text</a:t>
            </a:r>
            <a:r>
              <a:rPr lang="zh-CN" altLang="en-US" b="1" dirty="0"/>
              <a:t> </a:t>
            </a:r>
            <a:r>
              <a:rPr lang="en-US" altLang="zh-CN" b="1" dirty="0"/>
              <a:t>here</a:t>
            </a:r>
            <a:endParaRPr lang="en-US" altLang="zh-CN" sz="1800" b="1" dirty="0"/>
          </a:p>
        </p:txBody>
      </p:sp>
      <p:sp>
        <p:nvSpPr>
          <p:cNvPr id="12" name="ïś1ïḑè">
            <a:extLst>
              <a:ext uri="{FF2B5EF4-FFF2-40B4-BE49-F238E27FC236}">
                <a16:creationId xmlns:a16="http://schemas.microsoft.com/office/drawing/2014/main" id="{E7A75732-C14B-464A-9398-89BE3D49D1D7}"/>
              </a:ext>
            </a:extLst>
          </p:cNvPr>
          <p:cNvSpPr/>
          <p:nvPr/>
        </p:nvSpPr>
        <p:spPr>
          <a:xfrm>
            <a:off x="1186068" y="3433936"/>
            <a:ext cx="1314677" cy="378094"/>
          </a:xfrm>
          <a:prstGeom prst="roundRect">
            <a:avLst>
              <a:gd name="adj" fmla="val 11253"/>
            </a:avLst>
          </a:prstGeom>
          <a:solidFill>
            <a:schemeClr val="bg1">
              <a:lumMod val="65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r>
              <a:rPr lang="en-US" altLang="zh-CN" sz="1400" b="1" i="1" dirty="0"/>
              <a:t>Text</a:t>
            </a:r>
          </a:p>
        </p:txBody>
      </p:sp>
      <p:cxnSp>
        <p:nvCxnSpPr>
          <p:cNvPr id="13" name="îSliḋe">
            <a:extLst>
              <a:ext uri="{FF2B5EF4-FFF2-40B4-BE49-F238E27FC236}">
                <a16:creationId xmlns:a16="http://schemas.microsoft.com/office/drawing/2014/main" id="{3109EBDC-16FB-4979-9259-525F369E1428}"/>
              </a:ext>
            </a:extLst>
          </p:cNvPr>
          <p:cNvCxnSpPr>
            <a:cxnSpLocks/>
          </p:cNvCxnSpPr>
          <p:nvPr/>
        </p:nvCxnSpPr>
        <p:spPr>
          <a:xfrm>
            <a:off x="1843407" y="3812030"/>
            <a:ext cx="0" cy="481066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prstDash val="dash"/>
            <a:round/>
            <a:headEnd type="oval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íṧ1ídê">
            <a:extLst>
              <a:ext uri="{FF2B5EF4-FFF2-40B4-BE49-F238E27FC236}">
                <a16:creationId xmlns:a16="http://schemas.microsoft.com/office/drawing/2014/main" id="{43889314-60E9-4214-A976-128D9171A4F9}"/>
              </a:ext>
            </a:extLst>
          </p:cNvPr>
          <p:cNvSpPr/>
          <p:nvPr/>
        </p:nvSpPr>
        <p:spPr bwMode="auto">
          <a:xfrm>
            <a:off x="6322542" y="4741057"/>
            <a:ext cx="2366013" cy="671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/>
          <a:p>
            <a:pPr algn="ctr">
              <a:lnSpc>
                <a:spcPct val="110000"/>
              </a:lnSpc>
            </a:pPr>
            <a:r>
              <a:rPr lang="en-US" altLang="zh-CN" sz="1100" dirty="0"/>
              <a:t>Copy paste fonts. Choose the only option to retain text. </a:t>
            </a:r>
          </a:p>
          <a:p>
            <a:pPr algn="ctr">
              <a:lnSpc>
                <a:spcPct val="110000"/>
              </a:lnSpc>
            </a:pPr>
            <a:r>
              <a:rPr lang="en-US" altLang="zh-CN" sz="1100" dirty="0"/>
              <a:t>……</a:t>
            </a:r>
            <a:endParaRPr lang="zh-CN" altLang="en-US" sz="1100" dirty="0"/>
          </a:p>
        </p:txBody>
      </p:sp>
      <p:sp>
        <p:nvSpPr>
          <p:cNvPr id="15" name="isḻïdé">
            <a:extLst>
              <a:ext uri="{FF2B5EF4-FFF2-40B4-BE49-F238E27FC236}">
                <a16:creationId xmlns:a16="http://schemas.microsoft.com/office/drawing/2014/main" id="{4C5063B5-E8DB-4A36-98E7-75B76E06705B}"/>
              </a:ext>
            </a:extLst>
          </p:cNvPr>
          <p:cNvSpPr txBox="1"/>
          <p:nvPr/>
        </p:nvSpPr>
        <p:spPr bwMode="auto">
          <a:xfrm>
            <a:off x="6322542" y="4389918"/>
            <a:ext cx="2366013" cy="351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>
            <a:normAutofit lnSpcReduction="10000"/>
          </a:bodyPr>
          <a:lstStyle/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zh-CN" sz="1800" b="1" dirty="0"/>
              <a:t>Text</a:t>
            </a:r>
            <a:r>
              <a:rPr lang="zh-CN" altLang="en-US" b="1" dirty="0"/>
              <a:t> </a:t>
            </a:r>
            <a:r>
              <a:rPr lang="en-US" altLang="zh-CN" b="1" dirty="0"/>
              <a:t>here</a:t>
            </a:r>
            <a:endParaRPr lang="en-US" altLang="zh-CN" sz="1800" b="1" dirty="0"/>
          </a:p>
        </p:txBody>
      </p:sp>
      <p:sp>
        <p:nvSpPr>
          <p:cNvPr id="16" name="ïşľide">
            <a:extLst>
              <a:ext uri="{FF2B5EF4-FFF2-40B4-BE49-F238E27FC236}">
                <a16:creationId xmlns:a16="http://schemas.microsoft.com/office/drawing/2014/main" id="{7EF56185-8A7C-4F2E-AA58-8FE7752511C7}"/>
              </a:ext>
            </a:extLst>
          </p:cNvPr>
          <p:cNvSpPr/>
          <p:nvPr/>
        </p:nvSpPr>
        <p:spPr>
          <a:xfrm>
            <a:off x="6848210" y="3433936"/>
            <a:ext cx="1314677" cy="378094"/>
          </a:xfrm>
          <a:prstGeom prst="roundRect">
            <a:avLst>
              <a:gd name="adj" fmla="val 11253"/>
            </a:avLst>
          </a:prstGeom>
          <a:solidFill>
            <a:schemeClr val="bg1">
              <a:lumMod val="65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r>
              <a:rPr lang="en-US" altLang="zh-CN" sz="1400" b="1" i="1" dirty="0"/>
              <a:t>Text</a:t>
            </a:r>
          </a:p>
        </p:txBody>
      </p:sp>
      <p:cxnSp>
        <p:nvCxnSpPr>
          <p:cNvPr id="17" name="îṡ1íḍe">
            <a:extLst>
              <a:ext uri="{FF2B5EF4-FFF2-40B4-BE49-F238E27FC236}">
                <a16:creationId xmlns:a16="http://schemas.microsoft.com/office/drawing/2014/main" id="{2C05B982-F2D3-4694-8A22-9D95B77B9A53}"/>
              </a:ext>
            </a:extLst>
          </p:cNvPr>
          <p:cNvCxnSpPr>
            <a:cxnSpLocks/>
          </p:cNvCxnSpPr>
          <p:nvPr/>
        </p:nvCxnSpPr>
        <p:spPr>
          <a:xfrm>
            <a:off x="7505549" y="3812030"/>
            <a:ext cx="0" cy="481066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prstDash val="dash"/>
            <a:round/>
            <a:headEnd type="oval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îṥlîḍê">
            <a:extLst>
              <a:ext uri="{FF2B5EF4-FFF2-40B4-BE49-F238E27FC236}">
                <a16:creationId xmlns:a16="http://schemas.microsoft.com/office/drawing/2014/main" id="{4C2FA7B0-3FC5-4107-9283-CA4AFF0DB0D4}"/>
              </a:ext>
            </a:extLst>
          </p:cNvPr>
          <p:cNvSpPr/>
          <p:nvPr/>
        </p:nvSpPr>
        <p:spPr bwMode="auto">
          <a:xfrm>
            <a:off x="9154339" y="5559603"/>
            <a:ext cx="2364561" cy="671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/>
          <a:p>
            <a:pPr algn="ctr">
              <a:lnSpc>
                <a:spcPct val="110000"/>
              </a:lnSpc>
            </a:pPr>
            <a:r>
              <a:rPr lang="en-US" altLang="zh-CN" sz="1100" dirty="0"/>
              <a:t>Copy paste fonts. Choose the only option to retain text. </a:t>
            </a:r>
          </a:p>
          <a:p>
            <a:pPr algn="ctr">
              <a:lnSpc>
                <a:spcPct val="110000"/>
              </a:lnSpc>
            </a:pPr>
            <a:r>
              <a:rPr lang="en-US" altLang="zh-CN" sz="1100" dirty="0"/>
              <a:t>……</a:t>
            </a:r>
            <a:endParaRPr lang="zh-CN" altLang="en-US" sz="1100" dirty="0"/>
          </a:p>
        </p:txBody>
      </p:sp>
      <p:sp>
        <p:nvSpPr>
          <p:cNvPr id="19" name="íŝlïdê">
            <a:extLst>
              <a:ext uri="{FF2B5EF4-FFF2-40B4-BE49-F238E27FC236}">
                <a16:creationId xmlns:a16="http://schemas.microsoft.com/office/drawing/2014/main" id="{426838D5-4128-4A32-9F26-FEB0A10DA3CA}"/>
              </a:ext>
            </a:extLst>
          </p:cNvPr>
          <p:cNvSpPr txBox="1"/>
          <p:nvPr/>
        </p:nvSpPr>
        <p:spPr bwMode="auto">
          <a:xfrm>
            <a:off x="9154339" y="5208464"/>
            <a:ext cx="2364561" cy="351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>
            <a:normAutofit lnSpcReduction="10000"/>
          </a:bodyPr>
          <a:lstStyle/>
          <a:p>
            <a:pPr algn="ctr">
              <a:spcBef>
                <a:spcPct val="0"/>
              </a:spcBef>
            </a:pPr>
            <a:r>
              <a:rPr lang="en-US" altLang="zh-CN" b="1" dirty="0"/>
              <a:t>Text</a:t>
            </a:r>
            <a:r>
              <a:rPr lang="zh-CN" altLang="en-US" b="1" dirty="0"/>
              <a:t> </a:t>
            </a:r>
            <a:r>
              <a:rPr lang="en-US" altLang="zh-CN" b="1" dirty="0"/>
              <a:t>here</a:t>
            </a:r>
          </a:p>
        </p:txBody>
      </p:sp>
      <p:sp>
        <p:nvSpPr>
          <p:cNvPr id="20" name="ïṩľiḓé">
            <a:extLst>
              <a:ext uri="{FF2B5EF4-FFF2-40B4-BE49-F238E27FC236}">
                <a16:creationId xmlns:a16="http://schemas.microsoft.com/office/drawing/2014/main" id="{8C6B528A-4B8D-4FE6-B816-8965E33012EC}"/>
              </a:ext>
            </a:extLst>
          </p:cNvPr>
          <p:cNvSpPr/>
          <p:nvPr/>
        </p:nvSpPr>
        <p:spPr>
          <a:xfrm>
            <a:off x="9679281" y="3433936"/>
            <a:ext cx="1314677" cy="378094"/>
          </a:xfrm>
          <a:prstGeom prst="roundRect">
            <a:avLst>
              <a:gd name="adj" fmla="val 11253"/>
            </a:avLst>
          </a:prstGeom>
          <a:solidFill>
            <a:schemeClr val="accent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r>
              <a:rPr lang="en-US" altLang="zh-CN" sz="1400" b="1" i="1" dirty="0"/>
              <a:t>Text</a:t>
            </a:r>
          </a:p>
        </p:txBody>
      </p:sp>
      <p:cxnSp>
        <p:nvCxnSpPr>
          <p:cNvPr id="21" name="ïšlídé">
            <a:extLst>
              <a:ext uri="{FF2B5EF4-FFF2-40B4-BE49-F238E27FC236}">
                <a16:creationId xmlns:a16="http://schemas.microsoft.com/office/drawing/2014/main" id="{45C6D883-7574-45C8-9BC5-9318F97229DF}"/>
              </a:ext>
            </a:extLst>
          </p:cNvPr>
          <p:cNvCxnSpPr>
            <a:stCxn id="20" idx="2"/>
            <a:endCxn id="19" idx="0"/>
          </p:cNvCxnSpPr>
          <p:nvPr/>
        </p:nvCxnSpPr>
        <p:spPr>
          <a:xfrm>
            <a:off x="10336620" y="3812030"/>
            <a:ext cx="0" cy="1396434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prstDash val="dash"/>
            <a:round/>
            <a:headEnd type="oval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ïśḻiḑê">
            <a:extLst>
              <a:ext uri="{FF2B5EF4-FFF2-40B4-BE49-F238E27FC236}">
                <a16:creationId xmlns:a16="http://schemas.microsoft.com/office/drawing/2014/main" id="{B6BAB57E-4D58-443A-BF8D-BBD110C40FD4}"/>
              </a:ext>
            </a:extLst>
          </p:cNvPr>
          <p:cNvSpPr/>
          <p:nvPr/>
        </p:nvSpPr>
        <p:spPr>
          <a:xfrm>
            <a:off x="1028194" y="1604473"/>
            <a:ext cx="1515150" cy="1515150"/>
          </a:xfrm>
          <a:prstGeom prst="ellipse">
            <a:avLst/>
          </a:prstGeom>
          <a:gradFill>
            <a:gsLst>
              <a:gs pos="60000">
                <a:schemeClr val="accent1">
                  <a:lumMod val="5000"/>
                  <a:lumOff val="95000"/>
                </a:schemeClr>
              </a:gs>
              <a:gs pos="60000">
                <a:schemeClr val="bg2">
                  <a:lumMod val="7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37" name="ïSľïḑé">
            <a:extLst>
              <a:ext uri="{FF2B5EF4-FFF2-40B4-BE49-F238E27FC236}">
                <a16:creationId xmlns:a16="http://schemas.microsoft.com/office/drawing/2014/main" id="{CAE473B6-0F78-47C3-AA22-77AAA9F6B19D}"/>
              </a:ext>
            </a:extLst>
          </p:cNvPr>
          <p:cNvSpPr/>
          <p:nvPr/>
        </p:nvSpPr>
        <p:spPr>
          <a:xfrm>
            <a:off x="3916902" y="1604473"/>
            <a:ext cx="1515150" cy="1515150"/>
          </a:xfrm>
          <a:prstGeom prst="ellipse">
            <a:avLst/>
          </a:prstGeom>
          <a:gradFill>
            <a:gsLst>
              <a:gs pos="47000">
                <a:schemeClr val="accent1">
                  <a:lumMod val="20000"/>
                  <a:lumOff val="80000"/>
                </a:schemeClr>
              </a:gs>
              <a:gs pos="47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38" name="ïśḷiḑè">
            <a:extLst>
              <a:ext uri="{FF2B5EF4-FFF2-40B4-BE49-F238E27FC236}">
                <a16:creationId xmlns:a16="http://schemas.microsoft.com/office/drawing/2014/main" id="{E62DCBAE-44CD-4BE8-9861-0855E31EAA50}"/>
              </a:ext>
            </a:extLst>
          </p:cNvPr>
          <p:cNvSpPr/>
          <p:nvPr/>
        </p:nvSpPr>
        <p:spPr>
          <a:xfrm>
            <a:off x="6805610" y="1604473"/>
            <a:ext cx="1515150" cy="1515150"/>
          </a:xfrm>
          <a:prstGeom prst="ellipse">
            <a:avLst/>
          </a:prstGeom>
          <a:gradFill>
            <a:gsLst>
              <a:gs pos="16000">
                <a:schemeClr val="accent1">
                  <a:lumMod val="5000"/>
                  <a:lumOff val="95000"/>
                </a:schemeClr>
              </a:gs>
              <a:gs pos="16000">
                <a:schemeClr val="bg2">
                  <a:lumMod val="7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39" name="íşḻîḍé">
            <a:extLst>
              <a:ext uri="{FF2B5EF4-FFF2-40B4-BE49-F238E27FC236}">
                <a16:creationId xmlns:a16="http://schemas.microsoft.com/office/drawing/2014/main" id="{1E6B1460-BF21-45E4-ADE8-5A5876140167}"/>
              </a:ext>
            </a:extLst>
          </p:cNvPr>
          <p:cNvSpPr/>
          <p:nvPr/>
        </p:nvSpPr>
        <p:spPr>
          <a:xfrm>
            <a:off x="9694318" y="1604473"/>
            <a:ext cx="1515150" cy="1515150"/>
          </a:xfrm>
          <a:prstGeom prst="ellipse">
            <a:avLst/>
          </a:prstGeom>
          <a:gradFill>
            <a:gsLst>
              <a:gs pos="38000">
                <a:schemeClr val="accent1">
                  <a:lumMod val="20000"/>
                  <a:lumOff val="80000"/>
                </a:schemeClr>
              </a:gs>
              <a:gs pos="38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72239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šľïḋ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iṡḻîďè">
            <a:extLst>
              <a:ext uri="{FF2B5EF4-FFF2-40B4-BE49-F238E27FC236}">
                <a16:creationId xmlns:a16="http://schemas.microsoft.com/office/drawing/2014/main" id="{26869595-8476-450E-BC33-7AE343FF064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3">
                  <a:alpha val="80000"/>
                </a:schemeClr>
              </a:gs>
              <a:gs pos="100000">
                <a:schemeClr val="accent3">
                  <a:lumMod val="50000"/>
                </a:schemeClr>
              </a:gs>
            </a:gsLst>
            <a:lin ang="5400000" scaled="1"/>
          </a:gradFill>
          <a:ln>
            <a:noFill/>
          </a:ln>
          <a:effectLst>
            <a:outerShdw blurRad="304800" dist="38100" dir="5400000" algn="t" rotWithShape="0">
              <a:schemeClr val="accent1">
                <a:lumMod val="60000"/>
                <a:lumOff val="4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40" name="îś1îḋê">
            <a:extLst>
              <a:ext uri="{FF2B5EF4-FFF2-40B4-BE49-F238E27FC236}">
                <a16:creationId xmlns:a16="http://schemas.microsoft.com/office/drawing/2014/main" id="{2F3FE856-5DDD-4E98-A1D3-DB577717764A}"/>
              </a:ext>
            </a:extLst>
          </p:cNvPr>
          <p:cNvSpPr/>
          <p:nvPr/>
        </p:nvSpPr>
        <p:spPr>
          <a:xfrm>
            <a:off x="1481964" y="3618607"/>
            <a:ext cx="4244488" cy="886259"/>
          </a:xfrm>
          <a:prstGeom prst="roundRect">
            <a:avLst>
              <a:gd name="adj" fmla="val 21627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1" name="išliďé">
            <a:extLst>
              <a:ext uri="{FF2B5EF4-FFF2-40B4-BE49-F238E27FC236}">
                <a16:creationId xmlns:a16="http://schemas.microsoft.com/office/drawing/2014/main" id="{1BAD29DD-9ED5-42DD-BEDC-BF3B722EE893}"/>
              </a:ext>
            </a:extLst>
          </p:cNvPr>
          <p:cNvSpPr/>
          <p:nvPr/>
        </p:nvSpPr>
        <p:spPr>
          <a:xfrm flipV="1">
            <a:off x="4965487" y="4453177"/>
            <a:ext cx="337764" cy="221311"/>
          </a:xfrm>
          <a:prstGeom prst="triangl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iṡḻîḓé">
            <a:extLst>
              <a:ext uri="{FF2B5EF4-FFF2-40B4-BE49-F238E27FC236}">
                <a16:creationId xmlns:a16="http://schemas.microsoft.com/office/drawing/2014/main" id="{CE2E3963-A5C6-44C1-9CA6-CC6B2AFBEC6B}"/>
              </a:ext>
            </a:extLst>
          </p:cNvPr>
          <p:cNvSpPr>
            <a:spLocks/>
          </p:cNvSpPr>
          <p:nvPr/>
        </p:nvSpPr>
        <p:spPr bwMode="auto">
          <a:xfrm>
            <a:off x="1524716" y="1827906"/>
            <a:ext cx="4249306" cy="1044791"/>
          </a:xfrm>
          <a:custGeom>
            <a:avLst/>
            <a:gdLst>
              <a:gd name="T0" fmla="*/ 855 w 877"/>
              <a:gd name="T1" fmla="*/ 0 h 332"/>
              <a:gd name="T2" fmla="*/ 22 w 877"/>
              <a:gd name="T3" fmla="*/ 0 h 332"/>
              <a:gd name="T4" fmla="*/ 0 w 877"/>
              <a:gd name="T5" fmla="*/ 22 h 332"/>
              <a:gd name="T6" fmla="*/ 0 w 877"/>
              <a:gd name="T7" fmla="*/ 255 h 332"/>
              <a:gd name="T8" fmla="*/ 22 w 877"/>
              <a:gd name="T9" fmla="*/ 277 h 332"/>
              <a:gd name="T10" fmla="*/ 726 w 877"/>
              <a:gd name="T11" fmla="*/ 277 h 332"/>
              <a:gd name="T12" fmla="*/ 758 w 877"/>
              <a:gd name="T13" fmla="*/ 332 h 332"/>
              <a:gd name="T14" fmla="*/ 791 w 877"/>
              <a:gd name="T15" fmla="*/ 277 h 332"/>
              <a:gd name="T16" fmla="*/ 855 w 877"/>
              <a:gd name="T17" fmla="*/ 277 h 332"/>
              <a:gd name="T18" fmla="*/ 877 w 877"/>
              <a:gd name="T19" fmla="*/ 255 h 332"/>
              <a:gd name="T20" fmla="*/ 877 w 877"/>
              <a:gd name="T21" fmla="*/ 22 h 332"/>
              <a:gd name="T22" fmla="*/ 855 w 877"/>
              <a:gd name="T23" fmla="*/ 0 h 3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877" h="332">
                <a:moveTo>
                  <a:pt x="855" y="0"/>
                </a:moveTo>
                <a:cubicBezTo>
                  <a:pt x="22" y="0"/>
                  <a:pt x="22" y="0"/>
                  <a:pt x="22" y="0"/>
                </a:cubicBezTo>
                <a:cubicBezTo>
                  <a:pt x="10" y="0"/>
                  <a:pt x="0" y="10"/>
                  <a:pt x="0" y="22"/>
                </a:cubicBezTo>
                <a:cubicBezTo>
                  <a:pt x="0" y="255"/>
                  <a:pt x="0" y="255"/>
                  <a:pt x="0" y="255"/>
                </a:cubicBezTo>
                <a:cubicBezTo>
                  <a:pt x="0" y="268"/>
                  <a:pt x="10" y="277"/>
                  <a:pt x="22" y="277"/>
                </a:cubicBezTo>
                <a:cubicBezTo>
                  <a:pt x="726" y="277"/>
                  <a:pt x="726" y="277"/>
                  <a:pt x="726" y="277"/>
                </a:cubicBezTo>
                <a:cubicBezTo>
                  <a:pt x="758" y="332"/>
                  <a:pt x="758" y="332"/>
                  <a:pt x="758" y="332"/>
                </a:cubicBezTo>
                <a:cubicBezTo>
                  <a:pt x="791" y="277"/>
                  <a:pt x="791" y="277"/>
                  <a:pt x="791" y="277"/>
                </a:cubicBezTo>
                <a:cubicBezTo>
                  <a:pt x="855" y="277"/>
                  <a:pt x="855" y="277"/>
                  <a:pt x="855" y="277"/>
                </a:cubicBezTo>
                <a:cubicBezTo>
                  <a:pt x="867" y="277"/>
                  <a:pt x="877" y="268"/>
                  <a:pt x="877" y="255"/>
                </a:cubicBezTo>
                <a:cubicBezTo>
                  <a:pt x="877" y="22"/>
                  <a:pt x="877" y="22"/>
                  <a:pt x="877" y="22"/>
                </a:cubicBezTo>
                <a:cubicBezTo>
                  <a:pt x="877" y="10"/>
                  <a:pt x="867" y="0"/>
                  <a:pt x="855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127000" dist="38100" dir="5400000" algn="t" rotWithShape="0">
              <a:schemeClr val="accent1">
                <a:alpha val="40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4" name="îşḷîḓe">
            <a:extLst>
              <a:ext uri="{FF2B5EF4-FFF2-40B4-BE49-F238E27FC236}">
                <a16:creationId xmlns:a16="http://schemas.microsoft.com/office/drawing/2014/main" id="{4112A6B3-63A6-46A3-9EC0-680921A57C8D}"/>
              </a:ext>
            </a:extLst>
          </p:cNvPr>
          <p:cNvSpPr>
            <a:spLocks/>
          </p:cNvSpPr>
          <p:nvPr/>
        </p:nvSpPr>
        <p:spPr bwMode="auto">
          <a:xfrm>
            <a:off x="1229010" y="1526500"/>
            <a:ext cx="3958257" cy="1097373"/>
          </a:xfrm>
          <a:custGeom>
            <a:avLst/>
            <a:gdLst>
              <a:gd name="T0" fmla="*/ 762 w 817"/>
              <a:gd name="T1" fmla="*/ 273 h 346"/>
              <a:gd name="T2" fmla="*/ 56 w 817"/>
              <a:gd name="T3" fmla="*/ 346 h 346"/>
              <a:gd name="T4" fmla="*/ 0 w 817"/>
              <a:gd name="T5" fmla="*/ 289 h 346"/>
              <a:gd name="T6" fmla="*/ 0 w 817"/>
              <a:gd name="T7" fmla="*/ 57 h 346"/>
              <a:gd name="T8" fmla="*/ 56 w 817"/>
              <a:gd name="T9" fmla="*/ 0 h 346"/>
              <a:gd name="T10" fmla="*/ 762 w 817"/>
              <a:gd name="T11" fmla="*/ 60 h 346"/>
              <a:gd name="T12" fmla="*/ 817 w 817"/>
              <a:gd name="T13" fmla="*/ 117 h 346"/>
              <a:gd name="T14" fmla="*/ 817 w 817"/>
              <a:gd name="T15" fmla="*/ 217 h 346"/>
              <a:gd name="T16" fmla="*/ 762 w 817"/>
              <a:gd name="T17" fmla="*/ 273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17" h="346">
                <a:moveTo>
                  <a:pt x="762" y="273"/>
                </a:moveTo>
                <a:cubicBezTo>
                  <a:pt x="56" y="346"/>
                  <a:pt x="56" y="346"/>
                  <a:pt x="56" y="346"/>
                </a:cubicBezTo>
                <a:cubicBezTo>
                  <a:pt x="25" y="346"/>
                  <a:pt x="0" y="321"/>
                  <a:pt x="0" y="289"/>
                </a:cubicBezTo>
                <a:cubicBezTo>
                  <a:pt x="0" y="57"/>
                  <a:pt x="0" y="57"/>
                  <a:pt x="0" y="57"/>
                </a:cubicBezTo>
                <a:cubicBezTo>
                  <a:pt x="0" y="26"/>
                  <a:pt x="25" y="0"/>
                  <a:pt x="56" y="0"/>
                </a:cubicBezTo>
                <a:cubicBezTo>
                  <a:pt x="762" y="60"/>
                  <a:pt x="762" y="60"/>
                  <a:pt x="762" y="60"/>
                </a:cubicBezTo>
                <a:cubicBezTo>
                  <a:pt x="792" y="60"/>
                  <a:pt x="817" y="86"/>
                  <a:pt x="817" y="117"/>
                </a:cubicBezTo>
                <a:cubicBezTo>
                  <a:pt x="817" y="217"/>
                  <a:pt x="817" y="217"/>
                  <a:pt x="817" y="217"/>
                </a:cubicBezTo>
                <a:cubicBezTo>
                  <a:pt x="817" y="248"/>
                  <a:pt x="792" y="273"/>
                  <a:pt x="762" y="273"/>
                </a:cubicBezTo>
                <a:close/>
              </a:path>
            </a:pathLst>
          </a:custGeom>
          <a:gradFill>
            <a:gsLst>
              <a:gs pos="0">
                <a:schemeClr val="tx2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sp>
        <p:nvSpPr>
          <p:cNvPr id="45" name="iṡliḋe">
            <a:extLst>
              <a:ext uri="{FF2B5EF4-FFF2-40B4-BE49-F238E27FC236}">
                <a16:creationId xmlns:a16="http://schemas.microsoft.com/office/drawing/2014/main" id="{67F5013D-096A-40FF-AE69-F0B07A7F7581}"/>
              </a:ext>
            </a:extLst>
          </p:cNvPr>
          <p:cNvSpPr/>
          <p:nvPr/>
        </p:nvSpPr>
        <p:spPr>
          <a:xfrm>
            <a:off x="1524716" y="1775328"/>
            <a:ext cx="2994805" cy="341942"/>
          </a:xfrm>
          <a:prstGeom prst="rect">
            <a:avLst/>
          </a:prstGeom>
          <a:noFill/>
        </p:spPr>
        <p:txBody>
          <a:bodyPr wrap="square" lIns="90000" tIns="90000" rIns="90000" bIns="90000" anchor="t" anchorCtr="0">
            <a:noAutofit/>
          </a:bodyPr>
          <a:lstStyle/>
          <a:p>
            <a:pPr lvl="0">
              <a:defRPr/>
            </a:pPr>
            <a:r>
              <a:rPr lang="zh-CN" altLang="en-US" sz="20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一级目录层级样式</a:t>
            </a:r>
          </a:p>
        </p:txBody>
      </p:sp>
      <p:sp>
        <p:nvSpPr>
          <p:cNvPr id="46" name="isļíḋe">
            <a:extLst>
              <a:ext uri="{FF2B5EF4-FFF2-40B4-BE49-F238E27FC236}">
                <a16:creationId xmlns:a16="http://schemas.microsoft.com/office/drawing/2014/main" id="{1F75D2B5-B039-447B-A29D-C1915E4DA507}"/>
              </a:ext>
            </a:extLst>
          </p:cNvPr>
          <p:cNvSpPr/>
          <p:nvPr/>
        </p:nvSpPr>
        <p:spPr>
          <a:xfrm>
            <a:off x="1524716" y="2102330"/>
            <a:ext cx="3145317" cy="341942"/>
          </a:xfrm>
          <a:prstGeom prst="rect">
            <a:avLst/>
          </a:prstGeom>
          <a:noFill/>
        </p:spPr>
        <p:txBody>
          <a:bodyPr wrap="square" lIns="90000" tIns="90000" rIns="90000" bIns="90000" anchor="t" anchorCtr="0">
            <a:noAutofit/>
          </a:bodyPr>
          <a:lstStyle/>
          <a:p>
            <a:pPr>
              <a:defRPr/>
            </a:pPr>
            <a:r>
              <a:rPr lang="zh-CN" altLang="en-US" sz="1000" dirty="0">
                <a:solidFill>
                  <a:schemeClr val="tx2">
                    <a:lumMod val="40000"/>
                    <a:lumOff val="60000"/>
                  </a:schemeClr>
                </a:solidFill>
              </a:rPr>
              <a:t>点击此处添加副标题</a:t>
            </a:r>
          </a:p>
        </p:txBody>
      </p:sp>
      <p:sp>
        <p:nvSpPr>
          <p:cNvPr id="71" name="íṣ1iďê">
            <a:extLst>
              <a:ext uri="{FF2B5EF4-FFF2-40B4-BE49-F238E27FC236}">
                <a16:creationId xmlns:a16="http://schemas.microsoft.com/office/drawing/2014/main" id="{5EF65A8B-882B-49E9-96D6-3972E0E24048}"/>
              </a:ext>
            </a:extLst>
          </p:cNvPr>
          <p:cNvSpPr>
            <a:spLocks noChangeAspect="1"/>
          </p:cNvSpPr>
          <p:nvPr/>
        </p:nvSpPr>
        <p:spPr bwMode="auto">
          <a:xfrm>
            <a:off x="5392874" y="2365393"/>
            <a:ext cx="241392" cy="241617"/>
          </a:xfrm>
          <a:custGeom>
            <a:avLst/>
            <a:gdLst>
              <a:gd name="connsiteX0" fmla="*/ 451337 w 606157"/>
              <a:gd name="connsiteY0" fmla="*/ 147905 h 606722"/>
              <a:gd name="connsiteX1" fmla="*/ 569477 w 606157"/>
              <a:gd name="connsiteY1" fmla="*/ 147905 h 606722"/>
              <a:gd name="connsiteX2" fmla="*/ 606157 w 606157"/>
              <a:gd name="connsiteY2" fmla="*/ 186562 h 606722"/>
              <a:gd name="connsiteX3" fmla="*/ 606157 w 606157"/>
              <a:gd name="connsiteY3" fmla="*/ 363939 h 606722"/>
              <a:gd name="connsiteX4" fmla="*/ 584434 w 606157"/>
              <a:gd name="connsiteY4" fmla="*/ 385711 h 606722"/>
              <a:gd name="connsiteX5" fmla="*/ 557904 w 606157"/>
              <a:gd name="connsiteY5" fmla="*/ 385711 h 606722"/>
              <a:gd name="connsiteX6" fmla="*/ 549980 w 606157"/>
              <a:gd name="connsiteY6" fmla="*/ 548781 h 606722"/>
              <a:gd name="connsiteX7" fmla="*/ 489085 w 606157"/>
              <a:gd name="connsiteY7" fmla="*/ 606722 h 606722"/>
              <a:gd name="connsiteX8" fmla="*/ 426854 w 606157"/>
              <a:gd name="connsiteY8" fmla="*/ 547537 h 606722"/>
              <a:gd name="connsiteX9" fmla="*/ 420711 w 606157"/>
              <a:gd name="connsiteY9" fmla="*/ 420814 h 606722"/>
              <a:gd name="connsiteX10" fmla="*/ 461219 w 606157"/>
              <a:gd name="connsiteY10" fmla="*/ 363228 h 606722"/>
              <a:gd name="connsiteX11" fmla="*/ 461219 w 606157"/>
              <a:gd name="connsiteY11" fmla="*/ 185762 h 606722"/>
              <a:gd name="connsiteX12" fmla="*/ 451337 w 606157"/>
              <a:gd name="connsiteY12" fmla="*/ 147905 h 606722"/>
              <a:gd name="connsiteX13" fmla="*/ 38457 w 606157"/>
              <a:gd name="connsiteY13" fmla="*/ 147552 h 606722"/>
              <a:gd name="connsiteX14" fmla="*/ 155074 w 606157"/>
              <a:gd name="connsiteY14" fmla="*/ 147552 h 606722"/>
              <a:gd name="connsiteX15" fmla="*/ 145014 w 606157"/>
              <a:gd name="connsiteY15" fmla="*/ 185766 h 606722"/>
              <a:gd name="connsiteX16" fmla="*/ 145014 w 606157"/>
              <a:gd name="connsiteY16" fmla="*/ 363239 h 606722"/>
              <a:gd name="connsiteX17" fmla="*/ 187210 w 606157"/>
              <a:gd name="connsiteY17" fmla="*/ 421360 h 606722"/>
              <a:gd name="connsiteX18" fmla="*/ 181068 w 606157"/>
              <a:gd name="connsiteY18" fmla="*/ 548444 h 606722"/>
              <a:gd name="connsiteX19" fmla="*/ 120178 w 606157"/>
              <a:gd name="connsiteY19" fmla="*/ 606298 h 606722"/>
              <a:gd name="connsiteX20" fmla="*/ 57952 w 606157"/>
              <a:gd name="connsiteY20" fmla="*/ 547200 h 606722"/>
              <a:gd name="connsiteX21" fmla="*/ 50029 w 606157"/>
              <a:gd name="connsiteY21" fmla="*/ 385279 h 606722"/>
              <a:gd name="connsiteX22" fmla="*/ 21810 w 606157"/>
              <a:gd name="connsiteY22" fmla="*/ 385279 h 606722"/>
              <a:gd name="connsiteX23" fmla="*/ 0 w 606157"/>
              <a:gd name="connsiteY23" fmla="*/ 363595 h 606722"/>
              <a:gd name="connsiteX24" fmla="*/ 0 w 606157"/>
              <a:gd name="connsiteY24" fmla="*/ 186122 h 606722"/>
              <a:gd name="connsiteX25" fmla="*/ 38457 w 606157"/>
              <a:gd name="connsiteY25" fmla="*/ 147552 h 606722"/>
              <a:gd name="connsiteX26" fmla="*/ 222975 w 606157"/>
              <a:gd name="connsiteY26" fmla="*/ 147058 h 606722"/>
              <a:gd name="connsiteX27" fmla="*/ 282512 w 606157"/>
              <a:gd name="connsiteY27" fmla="*/ 147058 h 606722"/>
              <a:gd name="connsiteX28" fmla="*/ 270498 w 606157"/>
              <a:gd name="connsiteY28" fmla="*/ 159057 h 606722"/>
              <a:gd name="connsiteX29" fmla="*/ 270498 w 606157"/>
              <a:gd name="connsiteY29" fmla="*/ 169278 h 606722"/>
              <a:gd name="connsiteX30" fmla="*/ 283224 w 606157"/>
              <a:gd name="connsiteY30" fmla="*/ 181988 h 606722"/>
              <a:gd name="connsiteX31" fmla="*/ 273345 w 606157"/>
              <a:gd name="connsiteY31" fmla="*/ 292199 h 606722"/>
              <a:gd name="connsiteX32" fmla="*/ 276193 w 606157"/>
              <a:gd name="connsiteY32" fmla="*/ 302953 h 606722"/>
              <a:gd name="connsiteX33" fmla="*/ 297196 w 606157"/>
              <a:gd name="connsiteY33" fmla="*/ 332550 h 606722"/>
              <a:gd name="connsiteX34" fmla="*/ 303070 w 606157"/>
              <a:gd name="connsiteY34" fmla="*/ 335572 h 606722"/>
              <a:gd name="connsiteX35" fmla="*/ 309032 w 606157"/>
              <a:gd name="connsiteY35" fmla="*/ 332550 h 606722"/>
              <a:gd name="connsiteX36" fmla="*/ 329946 w 606157"/>
              <a:gd name="connsiteY36" fmla="*/ 302953 h 606722"/>
              <a:gd name="connsiteX37" fmla="*/ 332883 w 606157"/>
              <a:gd name="connsiteY37" fmla="*/ 292199 h 606722"/>
              <a:gd name="connsiteX38" fmla="*/ 323004 w 606157"/>
              <a:gd name="connsiteY38" fmla="*/ 181988 h 606722"/>
              <a:gd name="connsiteX39" fmla="*/ 335641 w 606157"/>
              <a:gd name="connsiteY39" fmla="*/ 169278 h 606722"/>
              <a:gd name="connsiteX40" fmla="*/ 335641 w 606157"/>
              <a:gd name="connsiteY40" fmla="*/ 159057 h 606722"/>
              <a:gd name="connsiteX41" fmla="*/ 323627 w 606157"/>
              <a:gd name="connsiteY41" fmla="*/ 147058 h 606722"/>
              <a:gd name="connsiteX42" fmla="*/ 385033 w 606157"/>
              <a:gd name="connsiteY42" fmla="*/ 147058 h 606722"/>
              <a:gd name="connsiteX43" fmla="*/ 385033 w 606157"/>
              <a:gd name="connsiteY43" fmla="*/ 147147 h 606722"/>
              <a:gd name="connsiteX44" fmla="*/ 421699 w 606157"/>
              <a:gd name="connsiteY44" fmla="*/ 185721 h 606722"/>
              <a:gd name="connsiteX45" fmla="*/ 421699 w 606157"/>
              <a:gd name="connsiteY45" fmla="*/ 363214 h 606722"/>
              <a:gd name="connsiteX46" fmla="*/ 399895 w 606157"/>
              <a:gd name="connsiteY46" fmla="*/ 384901 h 606722"/>
              <a:gd name="connsiteX47" fmla="*/ 373375 w 606157"/>
              <a:gd name="connsiteY47" fmla="*/ 384901 h 606722"/>
              <a:gd name="connsiteX48" fmla="*/ 371506 w 606157"/>
              <a:gd name="connsiteY48" fmla="*/ 424363 h 606722"/>
              <a:gd name="connsiteX49" fmla="*/ 365455 w 606157"/>
              <a:gd name="connsiteY49" fmla="*/ 548084 h 606722"/>
              <a:gd name="connsiteX50" fmla="*/ 304582 w 606157"/>
              <a:gd name="connsiteY50" fmla="*/ 605945 h 606722"/>
              <a:gd name="connsiteX51" fmla="*/ 242464 w 606157"/>
              <a:gd name="connsiteY51" fmla="*/ 546840 h 606722"/>
              <a:gd name="connsiteX52" fmla="*/ 236502 w 606157"/>
              <a:gd name="connsiteY52" fmla="*/ 424363 h 606722"/>
              <a:gd name="connsiteX53" fmla="*/ 234544 w 606157"/>
              <a:gd name="connsiteY53" fmla="*/ 384901 h 606722"/>
              <a:gd name="connsiteX54" fmla="*/ 206244 w 606157"/>
              <a:gd name="connsiteY54" fmla="*/ 384901 h 606722"/>
              <a:gd name="connsiteX55" fmla="*/ 184529 w 606157"/>
              <a:gd name="connsiteY55" fmla="*/ 363214 h 606722"/>
              <a:gd name="connsiteX56" fmla="*/ 184529 w 606157"/>
              <a:gd name="connsiteY56" fmla="*/ 185721 h 606722"/>
              <a:gd name="connsiteX57" fmla="*/ 222975 w 606157"/>
              <a:gd name="connsiteY57" fmla="*/ 147058 h 606722"/>
              <a:gd name="connsiteX58" fmla="*/ 488454 w 606157"/>
              <a:gd name="connsiteY58" fmla="*/ 706 h 606722"/>
              <a:gd name="connsiteX59" fmla="*/ 550481 w 606157"/>
              <a:gd name="connsiteY59" fmla="*/ 62663 h 606722"/>
              <a:gd name="connsiteX60" fmla="*/ 488454 w 606157"/>
              <a:gd name="connsiteY60" fmla="*/ 124620 h 606722"/>
              <a:gd name="connsiteX61" fmla="*/ 426427 w 606157"/>
              <a:gd name="connsiteY61" fmla="*/ 62663 h 606722"/>
              <a:gd name="connsiteX62" fmla="*/ 488454 w 606157"/>
              <a:gd name="connsiteY62" fmla="*/ 706 h 606722"/>
              <a:gd name="connsiteX63" fmla="*/ 119538 w 606157"/>
              <a:gd name="connsiteY63" fmla="*/ 353 h 606722"/>
              <a:gd name="connsiteX64" fmla="*/ 181565 w 606157"/>
              <a:gd name="connsiteY64" fmla="*/ 62310 h 606722"/>
              <a:gd name="connsiteX65" fmla="*/ 119538 w 606157"/>
              <a:gd name="connsiteY65" fmla="*/ 124267 h 606722"/>
              <a:gd name="connsiteX66" fmla="*/ 57511 w 606157"/>
              <a:gd name="connsiteY66" fmla="*/ 62310 h 606722"/>
              <a:gd name="connsiteX67" fmla="*/ 119538 w 606157"/>
              <a:gd name="connsiteY67" fmla="*/ 353 h 606722"/>
              <a:gd name="connsiteX68" fmla="*/ 303961 w 606157"/>
              <a:gd name="connsiteY68" fmla="*/ 0 h 606722"/>
              <a:gd name="connsiteX69" fmla="*/ 366024 w 606157"/>
              <a:gd name="connsiteY69" fmla="*/ 61957 h 606722"/>
              <a:gd name="connsiteX70" fmla="*/ 303961 w 606157"/>
              <a:gd name="connsiteY70" fmla="*/ 123914 h 606722"/>
              <a:gd name="connsiteX71" fmla="*/ 241898 w 606157"/>
              <a:gd name="connsiteY71" fmla="*/ 61957 h 606722"/>
              <a:gd name="connsiteX72" fmla="*/ 303961 w 606157"/>
              <a:gd name="connsiteY72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</a:cxnLst>
            <a:rect l="l" t="t" r="r" b="b"/>
            <a:pathLst>
              <a:path w="606157" h="606722">
                <a:moveTo>
                  <a:pt x="451337" y="147905"/>
                </a:moveTo>
                <a:lnTo>
                  <a:pt x="569477" y="147905"/>
                </a:lnTo>
                <a:cubicBezTo>
                  <a:pt x="589954" y="148971"/>
                  <a:pt x="606157" y="165856"/>
                  <a:pt x="606157" y="186562"/>
                </a:cubicBezTo>
                <a:lnTo>
                  <a:pt x="606157" y="363939"/>
                </a:lnTo>
                <a:cubicBezTo>
                  <a:pt x="606157" y="375936"/>
                  <a:pt x="596453" y="385711"/>
                  <a:pt x="584434" y="385711"/>
                </a:cubicBezTo>
                <a:lnTo>
                  <a:pt x="557904" y="385711"/>
                </a:lnTo>
                <a:lnTo>
                  <a:pt x="549980" y="548781"/>
                </a:lnTo>
                <a:cubicBezTo>
                  <a:pt x="548378" y="581217"/>
                  <a:pt x="521580" y="606722"/>
                  <a:pt x="489085" y="606722"/>
                </a:cubicBezTo>
                <a:cubicBezTo>
                  <a:pt x="455877" y="606722"/>
                  <a:pt x="428456" y="580684"/>
                  <a:pt x="426854" y="547537"/>
                </a:cubicBezTo>
                <a:lnTo>
                  <a:pt x="420711" y="420814"/>
                </a:lnTo>
                <a:cubicBezTo>
                  <a:pt x="444482" y="412194"/>
                  <a:pt x="461219" y="389355"/>
                  <a:pt x="461219" y="363228"/>
                </a:cubicBezTo>
                <a:lnTo>
                  <a:pt x="461219" y="185762"/>
                </a:lnTo>
                <a:cubicBezTo>
                  <a:pt x="461219" y="172077"/>
                  <a:pt x="457658" y="159102"/>
                  <a:pt x="451337" y="147905"/>
                </a:cubicBezTo>
                <a:close/>
                <a:moveTo>
                  <a:pt x="38457" y="147552"/>
                </a:moveTo>
                <a:lnTo>
                  <a:pt x="155074" y="147552"/>
                </a:lnTo>
                <a:cubicBezTo>
                  <a:pt x="148664" y="158839"/>
                  <a:pt x="145014" y="171902"/>
                  <a:pt x="145014" y="185766"/>
                </a:cubicBezTo>
                <a:lnTo>
                  <a:pt x="145014" y="363239"/>
                </a:lnTo>
                <a:cubicBezTo>
                  <a:pt x="145014" y="389811"/>
                  <a:pt x="162284" y="413184"/>
                  <a:pt x="187210" y="421360"/>
                </a:cubicBezTo>
                <a:lnTo>
                  <a:pt x="181068" y="548444"/>
                </a:lnTo>
                <a:cubicBezTo>
                  <a:pt x="179465" y="580881"/>
                  <a:pt x="152670" y="606298"/>
                  <a:pt x="120178" y="606298"/>
                </a:cubicBezTo>
                <a:cubicBezTo>
                  <a:pt x="86973" y="606298"/>
                  <a:pt x="59555" y="580348"/>
                  <a:pt x="57952" y="547200"/>
                </a:cubicBezTo>
                <a:lnTo>
                  <a:pt x="50029" y="385279"/>
                </a:lnTo>
                <a:lnTo>
                  <a:pt x="21810" y="385279"/>
                </a:lnTo>
                <a:cubicBezTo>
                  <a:pt x="9792" y="385279"/>
                  <a:pt x="0" y="375592"/>
                  <a:pt x="0" y="363595"/>
                </a:cubicBezTo>
                <a:lnTo>
                  <a:pt x="0" y="186122"/>
                </a:lnTo>
                <a:cubicBezTo>
                  <a:pt x="0" y="164882"/>
                  <a:pt x="17181" y="147641"/>
                  <a:pt x="38457" y="147552"/>
                </a:cubicBezTo>
                <a:close/>
                <a:moveTo>
                  <a:pt x="222975" y="147058"/>
                </a:moveTo>
                <a:lnTo>
                  <a:pt x="282512" y="147058"/>
                </a:lnTo>
                <a:lnTo>
                  <a:pt x="270498" y="159057"/>
                </a:lnTo>
                <a:cubicBezTo>
                  <a:pt x="267739" y="161901"/>
                  <a:pt x="267739" y="166523"/>
                  <a:pt x="270498" y="169278"/>
                </a:cubicBezTo>
                <a:lnTo>
                  <a:pt x="283224" y="181988"/>
                </a:lnTo>
                <a:lnTo>
                  <a:pt x="273345" y="292199"/>
                </a:lnTo>
                <a:cubicBezTo>
                  <a:pt x="272989" y="296021"/>
                  <a:pt x="274057" y="299754"/>
                  <a:pt x="276193" y="302953"/>
                </a:cubicBezTo>
                <a:lnTo>
                  <a:pt x="297196" y="332550"/>
                </a:lnTo>
                <a:cubicBezTo>
                  <a:pt x="298531" y="334417"/>
                  <a:pt x="300756" y="335572"/>
                  <a:pt x="303070" y="335572"/>
                </a:cubicBezTo>
                <a:cubicBezTo>
                  <a:pt x="305472" y="335572"/>
                  <a:pt x="307608" y="334417"/>
                  <a:pt x="309032" y="332550"/>
                </a:cubicBezTo>
                <a:lnTo>
                  <a:pt x="329946" y="302953"/>
                </a:lnTo>
                <a:cubicBezTo>
                  <a:pt x="332171" y="299754"/>
                  <a:pt x="333239" y="296021"/>
                  <a:pt x="332883" y="292199"/>
                </a:cubicBezTo>
                <a:lnTo>
                  <a:pt x="323004" y="181988"/>
                </a:lnTo>
                <a:lnTo>
                  <a:pt x="335641" y="169278"/>
                </a:lnTo>
                <a:cubicBezTo>
                  <a:pt x="338489" y="166523"/>
                  <a:pt x="338489" y="161901"/>
                  <a:pt x="335641" y="159057"/>
                </a:cubicBezTo>
                <a:lnTo>
                  <a:pt x="323627" y="147058"/>
                </a:lnTo>
                <a:lnTo>
                  <a:pt x="385033" y="147058"/>
                </a:lnTo>
                <a:lnTo>
                  <a:pt x="385033" y="147147"/>
                </a:lnTo>
                <a:cubicBezTo>
                  <a:pt x="405413" y="148214"/>
                  <a:pt x="421699" y="165101"/>
                  <a:pt x="421699" y="185721"/>
                </a:cubicBezTo>
                <a:lnTo>
                  <a:pt x="421699" y="363214"/>
                </a:lnTo>
                <a:cubicBezTo>
                  <a:pt x="421699" y="375213"/>
                  <a:pt x="411910" y="384901"/>
                  <a:pt x="399895" y="384901"/>
                </a:cubicBezTo>
                <a:lnTo>
                  <a:pt x="373375" y="384901"/>
                </a:lnTo>
                <a:lnTo>
                  <a:pt x="371506" y="424363"/>
                </a:lnTo>
                <a:lnTo>
                  <a:pt x="365455" y="548084"/>
                </a:lnTo>
                <a:cubicBezTo>
                  <a:pt x="363853" y="580525"/>
                  <a:pt x="337154" y="605945"/>
                  <a:pt x="304582" y="605945"/>
                </a:cubicBezTo>
                <a:cubicBezTo>
                  <a:pt x="271388" y="605945"/>
                  <a:pt x="244066" y="579903"/>
                  <a:pt x="242464" y="546840"/>
                </a:cubicBezTo>
                <a:lnTo>
                  <a:pt x="236502" y="424363"/>
                </a:lnTo>
                <a:lnTo>
                  <a:pt x="234544" y="384901"/>
                </a:lnTo>
                <a:lnTo>
                  <a:pt x="206244" y="384901"/>
                </a:lnTo>
                <a:cubicBezTo>
                  <a:pt x="194229" y="384901"/>
                  <a:pt x="184529" y="375213"/>
                  <a:pt x="184529" y="363214"/>
                </a:cubicBezTo>
                <a:lnTo>
                  <a:pt x="184529" y="185721"/>
                </a:lnTo>
                <a:cubicBezTo>
                  <a:pt x="184529" y="164479"/>
                  <a:pt x="201705" y="147236"/>
                  <a:pt x="222975" y="147058"/>
                </a:cubicBezTo>
                <a:close/>
                <a:moveTo>
                  <a:pt x="488454" y="706"/>
                </a:moveTo>
                <a:cubicBezTo>
                  <a:pt x="522711" y="706"/>
                  <a:pt x="550481" y="28445"/>
                  <a:pt x="550481" y="62663"/>
                </a:cubicBezTo>
                <a:cubicBezTo>
                  <a:pt x="550481" y="96881"/>
                  <a:pt x="522711" y="124620"/>
                  <a:pt x="488454" y="124620"/>
                </a:cubicBezTo>
                <a:cubicBezTo>
                  <a:pt x="454197" y="124620"/>
                  <a:pt x="426427" y="96881"/>
                  <a:pt x="426427" y="62663"/>
                </a:cubicBezTo>
                <a:cubicBezTo>
                  <a:pt x="426427" y="28445"/>
                  <a:pt x="454197" y="706"/>
                  <a:pt x="488454" y="706"/>
                </a:cubicBezTo>
                <a:close/>
                <a:moveTo>
                  <a:pt x="119538" y="353"/>
                </a:moveTo>
                <a:cubicBezTo>
                  <a:pt x="153795" y="353"/>
                  <a:pt x="181565" y="28092"/>
                  <a:pt x="181565" y="62310"/>
                </a:cubicBezTo>
                <a:cubicBezTo>
                  <a:pt x="181565" y="96528"/>
                  <a:pt x="153795" y="124267"/>
                  <a:pt x="119538" y="124267"/>
                </a:cubicBezTo>
                <a:cubicBezTo>
                  <a:pt x="85281" y="124267"/>
                  <a:pt x="57511" y="96528"/>
                  <a:pt x="57511" y="62310"/>
                </a:cubicBezTo>
                <a:cubicBezTo>
                  <a:pt x="57511" y="28092"/>
                  <a:pt x="85281" y="353"/>
                  <a:pt x="119538" y="353"/>
                </a:cubicBezTo>
                <a:close/>
                <a:moveTo>
                  <a:pt x="303961" y="0"/>
                </a:moveTo>
                <a:cubicBezTo>
                  <a:pt x="338237" y="0"/>
                  <a:pt x="366024" y="27739"/>
                  <a:pt x="366024" y="61957"/>
                </a:cubicBezTo>
                <a:cubicBezTo>
                  <a:pt x="366024" y="96175"/>
                  <a:pt x="338237" y="123914"/>
                  <a:pt x="303961" y="123914"/>
                </a:cubicBezTo>
                <a:cubicBezTo>
                  <a:pt x="269685" y="123914"/>
                  <a:pt x="241898" y="96175"/>
                  <a:pt x="241898" y="61957"/>
                </a:cubicBezTo>
                <a:cubicBezTo>
                  <a:pt x="241898" y="27739"/>
                  <a:pt x="269685" y="0"/>
                  <a:pt x="30396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48" name="ïsḻïďê">
            <a:extLst>
              <a:ext uri="{FF2B5EF4-FFF2-40B4-BE49-F238E27FC236}">
                <a16:creationId xmlns:a16="http://schemas.microsoft.com/office/drawing/2014/main" id="{5DBC2E52-BB3B-4769-A2EE-55CB0000210E}"/>
              </a:ext>
            </a:extLst>
          </p:cNvPr>
          <p:cNvSpPr/>
          <p:nvPr/>
        </p:nvSpPr>
        <p:spPr>
          <a:xfrm>
            <a:off x="4099211" y="1775328"/>
            <a:ext cx="866745" cy="341942"/>
          </a:xfrm>
          <a:prstGeom prst="rect">
            <a:avLst/>
          </a:prstGeom>
          <a:noFill/>
        </p:spPr>
        <p:txBody>
          <a:bodyPr wrap="square" lIns="90000" tIns="90000" rIns="90000" bIns="90000" anchor="t" anchorCtr="0">
            <a:noAutofit/>
          </a:bodyPr>
          <a:lstStyle/>
          <a:p>
            <a:pPr lvl="0" algn="r">
              <a:defRPr/>
            </a:pPr>
            <a:r>
              <a:rPr lang="en-US" altLang="zh-CN" sz="20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50" name="ïṥļíḓê">
            <a:extLst>
              <a:ext uri="{FF2B5EF4-FFF2-40B4-BE49-F238E27FC236}">
                <a16:creationId xmlns:a16="http://schemas.microsoft.com/office/drawing/2014/main" id="{0C79E246-EE5D-4690-8688-1E8F7DFE396B}"/>
              </a:ext>
            </a:extLst>
          </p:cNvPr>
          <p:cNvSpPr>
            <a:spLocks/>
          </p:cNvSpPr>
          <p:nvPr/>
        </p:nvSpPr>
        <p:spPr bwMode="auto">
          <a:xfrm>
            <a:off x="6756437" y="1827906"/>
            <a:ext cx="4249306" cy="1044791"/>
          </a:xfrm>
          <a:custGeom>
            <a:avLst/>
            <a:gdLst>
              <a:gd name="T0" fmla="*/ 855 w 877"/>
              <a:gd name="T1" fmla="*/ 0 h 332"/>
              <a:gd name="T2" fmla="*/ 22 w 877"/>
              <a:gd name="T3" fmla="*/ 0 h 332"/>
              <a:gd name="T4" fmla="*/ 0 w 877"/>
              <a:gd name="T5" fmla="*/ 22 h 332"/>
              <a:gd name="T6" fmla="*/ 0 w 877"/>
              <a:gd name="T7" fmla="*/ 255 h 332"/>
              <a:gd name="T8" fmla="*/ 22 w 877"/>
              <a:gd name="T9" fmla="*/ 277 h 332"/>
              <a:gd name="T10" fmla="*/ 726 w 877"/>
              <a:gd name="T11" fmla="*/ 277 h 332"/>
              <a:gd name="T12" fmla="*/ 758 w 877"/>
              <a:gd name="T13" fmla="*/ 332 h 332"/>
              <a:gd name="T14" fmla="*/ 791 w 877"/>
              <a:gd name="T15" fmla="*/ 277 h 332"/>
              <a:gd name="T16" fmla="*/ 855 w 877"/>
              <a:gd name="T17" fmla="*/ 277 h 332"/>
              <a:gd name="T18" fmla="*/ 877 w 877"/>
              <a:gd name="T19" fmla="*/ 255 h 332"/>
              <a:gd name="T20" fmla="*/ 877 w 877"/>
              <a:gd name="T21" fmla="*/ 22 h 332"/>
              <a:gd name="T22" fmla="*/ 855 w 877"/>
              <a:gd name="T23" fmla="*/ 0 h 3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877" h="332">
                <a:moveTo>
                  <a:pt x="855" y="0"/>
                </a:moveTo>
                <a:cubicBezTo>
                  <a:pt x="22" y="0"/>
                  <a:pt x="22" y="0"/>
                  <a:pt x="22" y="0"/>
                </a:cubicBezTo>
                <a:cubicBezTo>
                  <a:pt x="10" y="0"/>
                  <a:pt x="0" y="10"/>
                  <a:pt x="0" y="22"/>
                </a:cubicBezTo>
                <a:cubicBezTo>
                  <a:pt x="0" y="255"/>
                  <a:pt x="0" y="255"/>
                  <a:pt x="0" y="255"/>
                </a:cubicBezTo>
                <a:cubicBezTo>
                  <a:pt x="0" y="268"/>
                  <a:pt x="10" y="277"/>
                  <a:pt x="22" y="277"/>
                </a:cubicBezTo>
                <a:cubicBezTo>
                  <a:pt x="726" y="277"/>
                  <a:pt x="726" y="277"/>
                  <a:pt x="726" y="277"/>
                </a:cubicBezTo>
                <a:cubicBezTo>
                  <a:pt x="758" y="332"/>
                  <a:pt x="758" y="332"/>
                  <a:pt x="758" y="332"/>
                </a:cubicBezTo>
                <a:cubicBezTo>
                  <a:pt x="791" y="277"/>
                  <a:pt x="791" y="277"/>
                  <a:pt x="791" y="277"/>
                </a:cubicBezTo>
                <a:cubicBezTo>
                  <a:pt x="855" y="277"/>
                  <a:pt x="855" y="277"/>
                  <a:pt x="855" y="277"/>
                </a:cubicBezTo>
                <a:cubicBezTo>
                  <a:pt x="867" y="277"/>
                  <a:pt x="877" y="268"/>
                  <a:pt x="877" y="255"/>
                </a:cubicBezTo>
                <a:cubicBezTo>
                  <a:pt x="877" y="22"/>
                  <a:pt x="877" y="22"/>
                  <a:pt x="877" y="22"/>
                </a:cubicBezTo>
                <a:cubicBezTo>
                  <a:pt x="877" y="10"/>
                  <a:pt x="867" y="0"/>
                  <a:pt x="855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127000" dist="38100" dir="5400000" algn="t" rotWithShape="0">
              <a:schemeClr val="accent1">
                <a:alpha val="40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1" name="îSļïḑê">
            <a:extLst>
              <a:ext uri="{FF2B5EF4-FFF2-40B4-BE49-F238E27FC236}">
                <a16:creationId xmlns:a16="http://schemas.microsoft.com/office/drawing/2014/main" id="{FD598457-F0C8-444C-8F76-42D4F12A31BF}"/>
              </a:ext>
            </a:extLst>
          </p:cNvPr>
          <p:cNvSpPr>
            <a:spLocks/>
          </p:cNvSpPr>
          <p:nvPr/>
        </p:nvSpPr>
        <p:spPr bwMode="auto">
          <a:xfrm>
            <a:off x="6460731" y="1526500"/>
            <a:ext cx="3958257" cy="1097373"/>
          </a:xfrm>
          <a:custGeom>
            <a:avLst/>
            <a:gdLst>
              <a:gd name="T0" fmla="*/ 762 w 817"/>
              <a:gd name="T1" fmla="*/ 273 h 346"/>
              <a:gd name="T2" fmla="*/ 56 w 817"/>
              <a:gd name="T3" fmla="*/ 346 h 346"/>
              <a:gd name="T4" fmla="*/ 0 w 817"/>
              <a:gd name="T5" fmla="*/ 289 h 346"/>
              <a:gd name="T6" fmla="*/ 0 w 817"/>
              <a:gd name="T7" fmla="*/ 57 h 346"/>
              <a:gd name="T8" fmla="*/ 56 w 817"/>
              <a:gd name="T9" fmla="*/ 0 h 346"/>
              <a:gd name="T10" fmla="*/ 762 w 817"/>
              <a:gd name="T11" fmla="*/ 60 h 346"/>
              <a:gd name="T12" fmla="*/ 817 w 817"/>
              <a:gd name="T13" fmla="*/ 117 h 346"/>
              <a:gd name="T14" fmla="*/ 817 w 817"/>
              <a:gd name="T15" fmla="*/ 217 h 346"/>
              <a:gd name="T16" fmla="*/ 762 w 817"/>
              <a:gd name="T17" fmla="*/ 273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17" h="346">
                <a:moveTo>
                  <a:pt x="762" y="273"/>
                </a:moveTo>
                <a:cubicBezTo>
                  <a:pt x="56" y="346"/>
                  <a:pt x="56" y="346"/>
                  <a:pt x="56" y="346"/>
                </a:cubicBezTo>
                <a:cubicBezTo>
                  <a:pt x="25" y="346"/>
                  <a:pt x="0" y="321"/>
                  <a:pt x="0" y="289"/>
                </a:cubicBezTo>
                <a:cubicBezTo>
                  <a:pt x="0" y="57"/>
                  <a:pt x="0" y="57"/>
                  <a:pt x="0" y="57"/>
                </a:cubicBezTo>
                <a:cubicBezTo>
                  <a:pt x="0" y="26"/>
                  <a:pt x="25" y="0"/>
                  <a:pt x="56" y="0"/>
                </a:cubicBezTo>
                <a:cubicBezTo>
                  <a:pt x="762" y="60"/>
                  <a:pt x="762" y="60"/>
                  <a:pt x="762" y="60"/>
                </a:cubicBezTo>
                <a:cubicBezTo>
                  <a:pt x="792" y="60"/>
                  <a:pt x="817" y="86"/>
                  <a:pt x="817" y="117"/>
                </a:cubicBezTo>
                <a:cubicBezTo>
                  <a:pt x="817" y="217"/>
                  <a:pt x="817" y="217"/>
                  <a:pt x="817" y="217"/>
                </a:cubicBezTo>
                <a:cubicBezTo>
                  <a:pt x="817" y="248"/>
                  <a:pt x="792" y="273"/>
                  <a:pt x="762" y="273"/>
                </a:cubicBezTo>
                <a:close/>
              </a:path>
            </a:pathLst>
          </a:custGeom>
          <a:gradFill>
            <a:gsLst>
              <a:gs pos="0">
                <a:schemeClr val="tx2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52" name="îSļiḓê">
            <a:extLst>
              <a:ext uri="{FF2B5EF4-FFF2-40B4-BE49-F238E27FC236}">
                <a16:creationId xmlns:a16="http://schemas.microsoft.com/office/drawing/2014/main" id="{7DD891B2-8E6B-4BED-91D2-92A983D900EF}"/>
              </a:ext>
            </a:extLst>
          </p:cNvPr>
          <p:cNvSpPr/>
          <p:nvPr/>
        </p:nvSpPr>
        <p:spPr>
          <a:xfrm>
            <a:off x="6756437" y="1775328"/>
            <a:ext cx="2994805" cy="341942"/>
          </a:xfrm>
          <a:prstGeom prst="rect">
            <a:avLst/>
          </a:prstGeom>
          <a:noFill/>
        </p:spPr>
        <p:txBody>
          <a:bodyPr wrap="square" lIns="90000" tIns="90000" rIns="90000" bIns="90000" anchor="t" anchorCtr="0">
            <a:noAutofit/>
          </a:bodyPr>
          <a:lstStyle/>
          <a:p>
            <a:pPr lvl="0">
              <a:defRPr/>
            </a:pPr>
            <a:r>
              <a:rPr lang="zh-CN" altLang="en-US" sz="20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一级目录层级样式</a:t>
            </a:r>
          </a:p>
        </p:txBody>
      </p:sp>
      <p:sp>
        <p:nvSpPr>
          <p:cNvPr id="53" name="ïṣ1îḋe">
            <a:extLst>
              <a:ext uri="{FF2B5EF4-FFF2-40B4-BE49-F238E27FC236}">
                <a16:creationId xmlns:a16="http://schemas.microsoft.com/office/drawing/2014/main" id="{CB69FB40-4669-45BD-A815-6AC5F3569D15}"/>
              </a:ext>
            </a:extLst>
          </p:cNvPr>
          <p:cNvSpPr/>
          <p:nvPr/>
        </p:nvSpPr>
        <p:spPr>
          <a:xfrm>
            <a:off x="6756437" y="2102330"/>
            <a:ext cx="3145317" cy="341942"/>
          </a:xfrm>
          <a:prstGeom prst="rect">
            <a:avLst/>
          </a:prstGeom>
          <a:noFill/>
        </p:spPr>
        <p:txBody>
          <a:bodyPr wrap="square" lIns="90000" tIns="90000" rIns="90000" bIns="90000" anchor="t" anchorCtr="0">
            <a:noAutofit/>
          </a:bodyPr>
          <a:lstStyle/>
          <a:p>
            <a:pPr>
              <a:defRPr/>
            </a:pPr>
            <a:r>
              <a:rPr lang="zh-CN" altLang="en-US" sz="1000" dirty="0">
                <a:solidFill>
                  <a:schemeClr val="tx2">
                    <a:lumMod val="40000"/>
                    <a:lumOff val="60000"/>
                  </a:schemeClr>
                </a:solidFill>
              </a:rPr>
              <a:t>点击此处添加副标题</a:t>
            </a:r>
          </a:p>
        </p:txBody>
      </p:sp>
      <p:sp>
        <p:nvSpPr>
          <p:cNvPr id="72" name="îŝ1ïḓé">
            <a:extLst>
              <a:ext uri="{FF2B5EF4-FFF2-40B4-BE49-F238E27FC236}">
                <a16:creationId xmlns:a16="http://schemas.microsoft.com/office/drawing/2014/main" id="{D6008EF4-7366-48C3-8714-4242223756DD}"/>
              </a:ext>
            </a:extLst>
          </p:cNvPr>
          <p:cNvSpPr>
            <a:spLocks noChangeAspect="1"/>
          </p:cNvSpPr>
          <p:nvPr/>
        </p:nvSpPr>
        <p:spPr bwMode="auto">
          <a:xfrm>
            <a:off x="10624482" y="2365575"/>
            <a:ext cx="241618" cy="241253"/>
          </a:xfrm>
          <a:custGeom>
            <a:avLst/>
            <a:gdLst>
              <a:gd name="T0" fmla="*/ 6542 w 6827"/>
              <a:gd name="T1" fmla="*/ 0 h 6827"/>
              <a:gd name="T2" fmla="*/ 284 w 6827"/>
              <a:gd name="T3" fmla="*/ 0 h 6827"/>
              <a:gd name="T4" fmla="*/ 0 w 6827"/>
              <a:gd name="T5" fmla="*/ 284 h 6827"/>
              <a:gd name="T6" fmla="*/ 284 w 6827"/>
              <a:gd name="T7" fmla="*/ 569 h 6827"/>
              <a:gd name="T8" fmla="*/ 284 w 6827"/>
              <a:gd name="T9" fmla="*/ 4836 h 6827"/>
              <a:gd name="T10" fmla="*/ 3129 w 6827"/>
              <a:gd name="T11" fmla="*/ 4836 h 6827"/>
              <a:gd name="T12" fmla="*/ 3129 w 6827"/>
              <a:gd name="T13" fmla="*/ 5172 h 6827"/>
              <a:gd name="T14" fmla="*/ 2560 w 6827"/>
              <a:gd name="T15" fmla="*/ 5973 h 6827"/>
              <a:gd name="T16" fmla="*/ 3413 w 6827"/>
              <a:gd name="T17" fmla="*/ 6827 h 6827"/>
              <a:gd name="T18" fmla="*/ 4267 w 6827"/>
              <a:gd name="T19" fmla="*/ 5973 h 6827"/>
              <a:gd name="T20" fmla="*/ 3698 w 6827"/>
              <a:gd name="T21" fmla="*/ 5172 h 6827"/>
              <a:gd name="T22" fmla="*/ 3698 w 6827"/>
              <a:gd name="T23" fmla="*/ 4836 h 6827"/>
              <a:gd name="T24" fmla="*/ 6542 w 6827"/>
              <a:gd name="T25" fmla="*/ 4836 h 6827"/>
              <a:gd name="T26" fmla="*/ 6542 w 6827"/>
              <a:gd name="T27" fmla="*/ 569 h 6827"/>
              <a:gd name="T28" fmla="*/ 6827 w 6827"/>
              <a:gd name="T29" fmla="*/ 284 h 6827"/>
              <a:gd name="T30" fmla="*/ 6542 w 6827"/>
              <a:gd name="T31" fmla="*/ 0 h 6827"/>
              <a:gd name="T32" fmla="*/ 3413 w 6827"/>
              <a:gd name="T33" fmla="*/ 6258 h 6827"/>
              <a:gd name="T34" fmla="*/ 3129 w 6827"/>
              <a:gd name="T35" fmla="*/ 5973 h 6827"/>
              <a:gd name="T36" fmla="*/ 3413 w 6827"/>
              <a:gd name="T37" fmla="*/ 5689 h 6827"/>
              <a:gd name="T38" fmla="*/ 3698 w 6827"/>
              <a:gd name="T39" fmla="*/ 5973 h 6827"/>
              <a:gd name="T40" fmla="*/ 3413 w 6827"/>
              <a:gd name="T41" fmla="*/ 6258 h 6827"/>
              <a:gd name="T42" fmla="*/ 5120 w 6827"/>
              <a:gd name="T43" fmla="*/ 3698 h 6827"/>
              <a:gd name="T44" fmla="*/ 1707 w 6827"/>
              <a:gd name="T45" fmla="*/ 3698 h 6827"/>
              <a:gd name="T46" fmla="*/ 1422 w 6827"/>
              <a:gd name="T47" fmla="*/ 3413 h 6827"/>
              <a:gd name="T48" fmla="*/ 1707 w 6827"/>
              <a:gd name="T49" fmla="*/ 3129 h 6827"/>
              <a:gd name="T50" fmla="*/ 1991 w 6827"/>
              <a:gd name="T51" fmla="*/ 3129 h 6827"/>
              <a:gd name="T52" fmla="*/ 1991 w 6827"/>
              <a:gd name="T53" fmla="*/ 1707 h 6827"/>
              <a:gd name="T54" fmla="*/ 2560 w 6827"/>
              <a:gd name="T55" fmla="*/ 1707 h 6827"/>
              <a:gd name="T56" fmla="*/ 2560 w 6827"/>
              <a:gd name="T57" fmla="*/ 3129 h 6827"/>
              <a:gd name="T58" fmla="*/ 3129 w 6827"/>
              <a:gd name="T59" fmla="*/ 3129 h 6827"/>
              <a:gd name="T60" fmla="*/ 3129 w 6827"/>
              <a:gd name="T61" fmla="*/ 2276 h 6827"/>
              <a:gd name="T62" fmla="*/ 3698 w 6827"/>
              <a:gd name="T63" fmla="*/ 2276 h 6827"/>
              <a:gd name="T64" fmla="*/ 3698 w 6827"/>
              <a:gd name="T65" fmla="*/ 3129 h 6827"/>
              <a:gd name="T66" fmla="*/ 4267 w 6827"/>
              <a:gd name="T67" fmla="*/ 3129 h 6827"/>
              <a:gd name="T68" fmla="*/ 4267 w 6827"/>
              <a:gd name="T69" fmla="*/ 1422 h 6827"/>
              <a:gd name="T70" fmla="*/ 4836 w 6827"/>
              <a:gd name="T71" fmla="*/ 1422 h 6827"/>
              <a:gd name="T72" fmla="*/ 4836 w 6827"/>
              <a:gd name="T73" fmla="*/ 3129 h 6827"/>
              <a:gd name="T74" fmla="*/ 5120 w 6827"/>
              <a:gd name="T75" fmla="*/ 3129 h 6827"/>
              <a:gd name="T76" fmla="*/ 5404 w 6827"/>
              <a:gd name="T77" fmla="*/ 3413 h 6827"/>
              <a:gd name="T78" fmla="*/ 5120 w 6827"/>
              <a:gd name="T79" fmla="*/ 3698 h 68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6827" h="6827">
                <a:moveTo>
                  <a:pt x="6542" y="0"/>
                </a:moveTo>
                <a:lnTo>
                  <a:pt x="284" y="0"/>
                </a:lnTo>
                <a:cubicBezTo>
                  <a:pt x="127" y="0"/>
                  <a:pt x="0" y="127"/>
                  <a:pt x="0" y="284"/>
                </a:cubicBezTo>
                <a:cubicBezTo>
                  <a:pt x="0" y="441"/>
                  <a:pt x="127" y="569"/>
                  <a:pt x="284" y="569"/>
                </a:cubicBezTo>
                <a:lnTo>
                  <a:pt x="284" y="4836"/>
                </a:lnTo>
                <a:lnTo>
                  <a:pt x="3129" y="4836"/>
                </a:lnTo>
                <a:lnTo>
                  <a:pt x="3129" y="5172"/>
                </a:lnTo>
                <a:cubicBezTo>
                  <a:pt x="2799" y="5290"/>
                  <a:pt x="2560" y="5603"/>
                  <a:pt x="2560" y="5973"/>
                </a:cubicBezTo>
                <a:cubicBezTo>
                  <a:pt x="2560" y="6444"/>
                  <a:pt x="2943" y="6827"/>
                  <a:pt x="3413" y="6827"/>
                </a:cubicBezTo>
                <a:cubicBezTo>
                  <a:pt x="3884" y="6827"/>
                  <a:pt x="4267" y="6444"/>
                  <a:pt x="4267" y="5973"/>
                </a:cubicBezTo>
                <a:cubicBezTo>
                  <a:pt x="4267" y="5603"/>
                  <a:pt x="4028" y="5290"/>
                  <a:pt x="3698" y="5172"/>
                </a:cubicBezTo>
                <a:lnTo>
                  <a:pt x="3698" y="4836"/>
                </a:lnTo>
                <a:lnTo>
                  <a:pt x="6542" y="4836"/>
                </a:lnTo>
                <a:lnTo>
                  <a:pt x="6542" y="569"/>
                </a:lnTo>
                <a:cubicBezTo>
                  <a:pt x="6699" y="569"/>
                  <a:pt x="6827" y="441"/>
                  <a:pt x="6827" y="284"/>
                </a:cubicBezTo>
                <a:cubicBezTo>
                  <a:pt x="6827" y="127"/>
                  <a:pt x="6699" y="0"/>
                  <a:pt x="6542" y="0"/>
                </a:cubicBezTo>
                <a:close/>
                <a:moveTo>
                  <a:pt x="3413" y="6258"/>
                </a:moveTo>
                <a:cubicBezTo>
                  <a:pt x="3257" y="6258"/>
                  <a:pt x="3129" y="6130"/>
                  <a:pt x="3129" y="5973"/>
                </a:cubicBezTo>
                <a:cubicBezTo>
                  <a:pt x="3129" y="5817"/>
                  <a:pt x="3257" y="5689"/>
                  <a:pt x="3413" y="5689"/>
                </a:cubicBezTo>
                <a:cubicBezTo>
                  <a:pt x="3570" y="5689"/>
                  <a:pt x="3698" y="5817"/>
                  <a:pt x="3698" y="5973"/>
                </a:cubicBezTo>
                <a:cubicBezTo>
                  <a:pt x="3698" y="6130"/>
                  <a:pt x="3570" y="6258"/>
                  <a:pt x="3413" y="6258"/>
                </a:cubicBezTo>
                <a:close/>
                <a:moveTo>
                  <a:pt x="5120" y="3698"/>
                </a:moveTo>
                <a:lnTo>
                  <a:pt x="1707" y="3698"/>
                </a:lnTo>
                <a:cubicBezTo>
                  <a:pt x="1550" y="3698"/>
                  <a:pt x="1422" y="3570"/>
                  <a:pt x="1422" y="3413"/>
                </a:cubicBezTo>
                <a:cubicBezTo>
                  <a:pt x="1422" y="3256"/>
                  <a:pt x="1550" y="3129"/>
                  <a:pt x="1707" y="3129"/>
                </a:cubicBezTo>
                <a:lnTo>
                  <a:pt x="1991" y="3129"/>
                </a:lnTo>
                <a:lnTo>
                  <a:pt x="1991" y="1707"/>
                </a:lnTo>
                <a:lnTo>
                  <a:pt x="2560" y="1707"/>
                </a:lnTo>
                <a:lnTo>
                  <a:pt x="2560" y="3129"/>
                </a:lnTo>
                <a:lnTo>
                  <a:pt x="3129" y="3129"/>
                </a:lnTo>
                <a:lnTo>
                  <a:pt x="3129" y="2276"/>
                </a:lnTo>
                <a:lnTo>
                  <a:pt x="3698" y="2276"/>
                </a:lnTo>
                <a:lnTo>
                  <a:pt x="3698" y="3129"/>
                </a:lnTo>
                <a:lnTo>
                  <a:pt x="4267" y="3129"/>
                </a:lnTo>
                <a:lnTo>
                  <a:pt x="4267" y="1422"/>
                </a:lnTo>
                <a:lnTo>
                  <a:pt x="4836" y="1422"/>
                </a:lnTo>
                <a:lnTo>
                  <a:pt x="4836" y="3129"/>
                </a:lnTo>
                <a:lnTo>
                  <a:pt x="5120" y="3129"/>
                </a:lnTo>
                <a:cubicBezTo>
                  <a:pt x="5277" y="3129"/>
                  <a:pt x="5404" y="3256"/>
                  <a:pt x="5404" y="3413"/>
                </a:cubicBezTo>
                <a:cubicBezTo>
                  <a:pt x="5404" y="3570"/>
                  <a:pt x="5277" y="3698"/>
                  <a:pt x="5120" y="369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55" name="í$ļídé">
            <a:extLst>
              <a:ext uri="{FF2B5EF4-FFF2-40B4-BE49-F238E27FC236}">
                <a16:creationId xmlns:a16="http://schemas.microsoft.com/office/drawing/2014/main" id="{58F08BC9-FA90-4184-A458-EDE8AD38464F}"/>
              </a:ext>
            </a:extLst>
          </p:cNvPr>
          <p:cNvSpPr/>
          <p:nvPr/>
        </p:nvSpPr>
        <p:spPr>
          <a:xfrm>
            <a:off x="9330932" y="1775328"/>
            <a:ext cx="866745" cy="341942"/>
          </a:xfrm>
          <a:prstGeom prst="rect">
            <a:avLst/>
          </a:prstGeom>
          <a:noFill/>
        </p:spPr>
        <p:txBody>
          <a:bodyPr wrap="square" lIns="90000" tIns="90000" rIns="90000" bIns="90000" anchor="t" anchorCtr="0">
            <a:noAutofit/>
          </a:bodyPr>
          <a:lstStyle/>
          <a:p>
            <a:pPr lvl="0" algn="r">
              <a:defRPr/>
            </a:pPr>
            <a:r>
              <a:rPr lang="en-US" altLang="zh-CN" sz="20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</a:t>
            </a:r>
          </a:p>
        </p:txBody>
      </p:sp>
      <p:sp>
        <p:nvSpPr>
          <p:cNvPr id="57" name="íṧľîḓè">
            <a:extLst>
              <a:ext uri="{FF2B5EF4-FFF2-40B4-BE49-F238E27FC236}">
                <a16:creationId xmlns:a16="http://schemas.microsoft.com/office/drawing/2014/main" id="{2FAF39C8-274C-4CBE-A189-2C494D7F244B}"/>
              </a:ext>
            </a:extLst>
          </p:cNvPr>
          <p:cNvSpPr>
            <a:spLocks/>
          </p:cNvSpPr>
          <p:nvPr/>
        </p:nvSpPr>
        <p:spPr bwMode="auto">
          <a:xfrm>
            <a:off x="1186258" y="3317201"/>
            <a:ext cx="3958257" cy="1097373"/>
          </a:xfrm>
          <a:custGeom>
            <a:avLst/>
            <a:gdLst>
              <a:gd name="T0" fmla="*/ 762 w 817"/>
              <a:gd name="T1" fmla="*/ 273 h 346"/>
              <a:gd name="T2" fmla="*/ 56 w 817"/>
              <a:gd name="T3" fmla="*/ 346 h 346"/>
              <a:gd name="T4" fmla="*/ 0 w 817"/>
              <a:gd name="T5" fmla="*/ 289 h 346"/>
              <a:gd name="T6" fmla="*/ 0 w 817"/>
              <a:gd name="T7" fmla="*/ 57 h 346"/>
              <a:gd name="T8" fmla="*/ 56 w 817"/>
              <a:gd name="T9" fmla="*/ 0 h 346"/>
              <a:gd name="T10" fmla="*/ 762 w 817"/>
              <a:gd name="T11" fmla="*/ 60 h 346"/>
              <a:gd name="T12" fmla="*/ 817 w 817"/>
              <a:gd name="T13" fmla="*/ 117 h 346"/>
              <a:gd name="T14" fmla="*/ 817 w 817"/>
              <a:gd name="T15" fmla="*/ 217 h 346"/>
              <a:gd name="T16" fmla="*/ 762 w 817"/>
              <a:gd name="T17" fmla="*/ 273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17" h="346">
                <a:moveTo>
                  <a:pt x="762" y="273"/>
                </a:moveTo>
                <a:cubicBezTo>
                  <a:pt x="56" y="346"/>
                  <a:pt x="56" y="346"/>
                  <a:pt x="56" y="346"/>
                </a:cubicBezTo>
                <a:cubicBezTo>
                  <a:pt x="25" y="346"/>
                  <a:pt x="0" y="321"/>
                  <a:pt x="0" y="289"/>
                </a:cubicBezTo>
                <a:cubicBezTo>
                  <a:pt x="0" y="57"/>
                  <a:pt x="0" y="57"/>
                  <a:pt x="0" y="57"/>
                </a:cubicBezTo>
                <a:cubicBezTo>
                  <a:pt x="0" y="26"/>
                  <a:pt x="25" y="0"/>
                  <a:pt x="56" y="0"/>
                </a:cubicBezTo>
                <a:cubicBezTo>
                  <a:pt x="762" y="60"/>
                  <a:pt x="762" y="60"/>
                  <a:pt x="762" y="60"/>
                </a:cubicBezTo>
                <a:cubicBezTo>
                  <a:pt x="792" y="60"/>
                  <a:pt x="817" y="86"/>
                  <a:pt x="817" y="117"/>
                </a:cubicBezTo>
                <a:cubicBezTo>
                  <a:pt x="817" y="217"/>
                  <a:pt x="817" y="217"/>
                  <a:pt x="817" y="217"/>
                </a:cubicBezTo>
                <a:cubicBezTo>
                  <a:pt x="817" y="248"/>
                  <a:pt x="792" y="273"/>
                  <a:pt x="762" y="273"/>
                </a:cubicBezTo>
                <a:close/>
              </a:path>
            </a:pathLst>
          </a:custGeom>
          <a:gradFill>
            <a:gsLst>
              <a:gs pos="0">
                <a:schemeClr val="tx2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sp>
        <p:nvSpPr>
          <p:cNvPr id="58" name="îṩ1iḍê">
            <a:extLst>
              <a:ext uri="{FF2B5EF4-FFF2-40B4-BE49-F238E27FC236}">
                <a16:creationId xmlns:a16="http://schemas.microsoft.com/office/drawing/2014/main" id="{889B32DA-20AF-47FC-A130-83F7AC958E53}"/>
              </a:ext>
            </a:extLst>
          </p:cNvPr>
          <p:cNvSpPr/>
          <p:nvPr/>
        </p:nvSpPr>
        <p:spPr>
          <a:xfrm>
            <a:off x="1481964" y="3566029"/>
            <a:ext cx="2994805" cy="341942"/>
          </a:xfrm>
          <a:prstGeom prst="rect">
            <a:avLst/>
          </a:prstGeom>
          <a:noFill/>
        </p:spPr>
        <p:txBody>
          <a:bodyPr wrap="square" lIns="90000" tIns="90000" rIns="90000" bIns="90000" anchor="t" anchorCtr="0">
            <a:noAutofit/>
          </a:bodyPr>
          <a:lstStyle/>
          <a:p>
            <a:pPr lvl="0">
              <a:defRPr/>
            </a:pPr>
            <a:r>
              <a:rPr lang="zh-CN" altLang="en-US" sz="20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一级目录层级样式</a:t>
            </a:r>
          </a:p>
        </p:txBody>
      </p:sp>
      <p:sp>
        <p:nvSpPr>
          <p:cNvPr id="59" name="íṣľïďe">
            <a:extLst>
              <a:ext uri="{FF2B5EF4-FFF2-40B4-BE49-F238E27FC236}">
                <a16:creationId xmlns:a16="http://schemas.microsoft.com/office/drawing/2014/main" id="{D7AA0E9D-C628-4EF2-A233-DFE8D9DEB2CE}"/>
              </a:ext>
            </a:extLst>
          </p:cNvPr>
          <p:cNvSpPr/>
          <p:nvPr/>
        </p:nvSpPr>
        <p:spPr>
          <a:xfrm>
            <a:off x="1481964" y="3893031"/>
            <a:ext cx="3145317" cy="341942"/>
          </a:xfrm>
          <a:prstGeom prst="rect">
            <a:avLst/>
          </a:prstGeom>
          <a:noFill/>
        </p:spPr>
        <p:txBody>
          <a:bodyPr wrap="square" lIns="90000" tIns="90000" rIns="90000" bIns="90000" anchor="t" anchorCtr="0">
            <a:noAutofit/>
          </a:bodyPr>
          <a:lstStyle/>
          <a:p>
            <a:pPr>
              <a:defRPr/>
            </a:pPr>
            <a:r>
              <a:rPr lang="zh-CN" altLang="en-US" sz="1000" dirty="0">
                <a:solidFill>
                  <a:schemeClr val="tx2">
                    <a:lumMod val="40000"/>
                    <a:lumOff val="60000"/>
                  </a:schemeClr>
                </a:solidFill>
              </a:rPr>
              <a:t>点击此处添加副标题</a:t>
            </a:r>
          </a:p>
        </p:txBody>
      </p:sp>
      <p:sp>
        <p:nvSpPr>
          <p:cNvPr id="74" name="ïślîďe">
            <a:extLst>
              <a:ext uri="{FF2B5EF4-FFF2-40B4-BE49-F238E27FC236}">
                <a16:creationId xmlns:a16="http://schemas.microsoft.com/office/drawing/2014/main" id="{9DE66902-40E4-4A70-B36B-E4DA298D58C1}"/>
              </a:ext>
            </a:extLst>
          </p:cNvPr>
          <p:cNvSpPr>
            <a:spLocks noChangeAspect="1"/>
          </p:cNvSpPr>
          <p:nvPr/>
        </p:nvSpPr>
        <p:spPr bwMode="auto">
          <a:xfrm>
            <a:off x="5350009" y="4168429"/>
            <a:ext cx="241618" cy="216946"/>
          </a:xfrm>
          <a:custGeom>
            <a:avLst/>
            <a:gdLst>
              <a:gd name="connsiteX0" fmla="*/ 0 w 608838"/>
              <a:gd name="connsiteY0" fmla="*/ 228420 h 546670"/>
              <a:gd name="connsiteX1" fmla="*/ 297218 w 608838"/>
              <a:gd name="connsiteY1" fmla="*/ 424992 h 546670"/>
              <a:gd name="connsiteX2" fmla="*/ 311620 w 608838"/>
              <a:gd name="connsiteY2" fmla="*/ 424992 h 546670"/>
              <a:gd name="connsiteX3" fmla="*/ 608838 w 608838"/>
              <a:gd name="connsiteY3" fmla="*/ 228514 h 546670"/>
              <a:gd name="connsiteX4" fmla="*/ 608838 w 608838"/>
              <a:gd name="connsiteY4" fmla="*/ 507543 h 546670"/>
              <a:gd name="connsiteX5" fmla="*/ 569652 w 608838"/>
              <a:gd name="connsiteY5" fmla="*/ 546670 h 546670"/>
              <a:gd name="connsiteX6" fmla="*/ 39186 w 608838"/>
              <a:gd name="connsiteY6" fmla="*/ 546670 h 546670"/>
              <a:gd name="connsiteX7" fmla="*/ 0 w 608838"/>
              <a:gd name="connsiteY7" fmla="*/ 507543 h 546670"/>
              <a:gd name="connsiteX8" fmla="*/ 139649 w 608838"/>
              <a:gd name="connsiteY8" fmla="*/ 191091 h 546670"/>
              <a:gd name="connsiteX9" fmla="*/ 227715 w 608838"/>
              <a:gd name="connsiteY9" fmla="*/ 191091 h 546670"/>
              <a:gd name="connsiteX10" fmla="*/ 227715 w 608838"/>
              <a:gd name="connsiteY10" fmla="*/ 334339 h 546670"/>
              <a:gd name="connsiteX11" fmla="*/ 139649 w 608838"/>
              <a:gd name="connsiteY11" fmla="*/ 276162 h 546670"/>
              <a:gd name="connsiteX12" fmla="*/ 260386 w 608838"/>
              <a:gd name="connsiteY12" fmla="*/ 117280 h 546670"/>
              <a:gd name="connsiteX13" fmla="*/ 348522 w 608838"/>
              <a:gd name="connsiteY13" fmla="*/ 117280 h 546670"/>
              <a:gd name="connsiteX14" fmla="*/ 348522 w 608838"/>
              <a:gd name="connsiteY14" fmla="*/ 355850 h 546670"/>
              <a:gd name="connsiteX15" fmla="*/ 304407 w 608838"/>
              <a:gd name="connsiteY15" fmla="*/ 385076 h 546670"/>
              <a:gd name="connsiteX16" fmla="*/ 260386 w 608838"/>
              <a:gd name="connsiteY16" fmla="*/ 355944 h 546670"/>
              <a:gd name="connsiteX17" fmla="*/ 381124 w 608838"/>
              <a:gd name="connsiteY17" fmla="*/ 0 h 546670"/>
              <a:gd name="connsiteX18" fmla="*/ 469260 w 608838"/>
              <a:gd name="connsiteY18" fmla="*/ 0 h 546670"/>
              <a:gd name="connsiteX19" fmla="*/ 469260 w 608838"/>
              <a:gd name="connsiteY19" fmla="*/ 276123 h 546670"/>
              <a:gd name="connsiteX20" fmla="*/ 381124 w 608838"/>
              <a:gd name="connsiteY20" fmla="*/ 334339 h 5466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608838" h="546670">
                <a:moveTo>
                  <a:pt x="0" y="228420"/>
                </a:moveTo>
                <a:lnTo>
                  <a:pt x="297218" y="424992"/>
                </a:lnTo>
                <a:lnTo>
                  <a:pt x="311620" y="424992"/>
                </a:lnTo>
                <a:lnTo>
                  <a:pt x="608838" y="228514"/>
                </a:lnTo>
                <a:lnTo>
                  <a:pt x="608838" y="507543"/>
                </a:lnTo>
                <a:cubicBezTo>
                  <a:pt x="608838" y="529021"/>
                  <a:pt x="591162" y="546670"/>
                  <a:pt x="569652" y="546670"/>
                </a:cubicBezTo>
                <a:lnTo>
                  <a:pt x="39186" y="546670"/>
                </a:lnTo>
                <a:cubicBezTo>
                  <a:pt x="17582" y="546670"/>
                  <a:pt x="0" y="529021"/>
                  <a:pt x="0" y="507543"/>
                </a:cubicBezTo>
                <a:close/>
                <a:moveTo>
                  <a:pt x="139649" y="191091"/>
                </a:moveTo>
                <a:lnTo>
                  <a:pt x="227715" y="191091"/>
                </a:lnTo>
                <a:lnTo>
                  <a:pt x="227715" y="334339"/>
                </a:lnTo>
                <a:lnTo>
                  <a:pt x="139649" y="276162"/>
                </a:lnTo>
                <a:close/>
                <a:moveTo>
                  <a:pt x="260386" y="117280"/>
                </a:moveTo>
                <a:lnTo>
                  <a:pt x="348522" y="117280"/>
                </a:lnTo>
                <a:lnTo>
                  <a:pt x="348522" y="355850"/>
                </a:lnTo>
                <a:lnTo>
                  <a:pt x="304407" y="385076"/>
                </a:lnTo>
                <a:lnTo>
                  <a:pt x="260386" y="355944"/>
                </a:lnTo>
                <a:close/>
                <a:moveTo>
                  <a:pt x="381124" y="0"/>
                </a:moveTo>
                <a:lnTo>
                  <a:pt x="469260" y="0"/>
                </a:lnTo>
                <a:lnTo>
                  <a:pt x="469260" y="276123"/>
                </a:lnTo>
                <a:lnTo>
                  <a:pt x="381124" y="33433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61" name="ïṣliḑè">
            <a:extLst>
              <a:ext uri="{FF2B5EF4-FFF2-40B4-BE49-F238E27FC236}">
                <a16:creationId xmlns:a16="http://schemas.microsoft.com/office/drawing/2014/main" id="{454C9276-28C7-40BA-A5F8-653BBC82C545}"/>
              </a:ext>
            </a:extLst>
          </p:cNvPr>
          <p:cNvSpPr/>
          <p:nvPr/>
        </p:nvSpPr>
        <p:spPr>
          <a:xfrm>
            <a:off x="4056459" y="3566029"/>
            <a:ext cx="866745" cy="341942"/>
          </a:xfrm>
          <a:prstGeom prst="rect">
            <a:avLst/>
          </a:prstGeom>
          <a:noFill/>
        </p:spPr>
        <p:txBody>
          <a:bodyPr wrap="square" lIns="90000" tIns="90000" rIns="90000" bIns="90000" anchor="t" anchorCtr="0">
            <a:noAutofit/>
          </a:bodyPr>
          <a:lstStyle/>
          <a:p>
            <a:pPr lvl="0" algn="r">
              <a:defRPr/>
            </a:pPr>
            <a:r>
              <a:rPr lang="en-US" altLang="zh-CN" sz="20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3</a:t>
            </a:r>
          </a:p>
        </p:txBody>
      </p:sp>
      <p:sp>
        <p:nvSpPr>
          <p:cNvPr id="63" name="í$ḻïďê">
            <a:extLst>
              <a:ext uri="{FF2B5EF4-FFF2-40B4-BE49-F238E27FC236}">
                <a16:creationId xmlns:a16="http://schemas.microsoft.com/office/drawing/2014/main" id="{4DF44FC6-B1E4-41FC-ADA6-03DFC2DD2E16}"/>
              </a:ext>
            </a:extLst>
          </p:cNvPr>
          <p:cNvSpPr>
            <a:spLocks/>
          </p:cNvSpPr>
          <p:nvPr/>
        </p:nvSpPr>
        <p:spPr bwMode="auto">
          <a:xfrm>
            <a:off x="6713685" y="3618607"/>
            <a:ext cx="4249306" cy="1044791"/>
          </a:xfrm>
          <a:custGeom>
            <a:avLst/>
            <a:gdLst>
              <a:gd name="T0" fmla="*/ 855 w 877"/>
              <a:gd name="T1" fmla="*/ 0 h 332"/>
              <a:gd name="T2" fmla="*/ 22 w 877"/>
              <a:gd name="T3" fmla="*/ 0 h 332"/>
              <a:gd name="T4" fmla="*/ 0 w 877"/>
              <a:gd name="T5" fmla="*/ 22 h 332"/>
              <a:gd name="T6" fmla="*/ 0 w 877"/>
              <a:gd name="T7" fmla="*/ 255 h 332"/>
              <a:gd name="T8" fmla="*/ 22 w 877"/>
              <a:gd name="T9" fmla="*/ 277 h 332"/>
              <a:gd name="T10" fmla="*/ 726 w 877"/>
              <a:gd name="T11" fmla="*/ 277 h 332"/>
              <a:gd name="T12" fmla="*/ 758 w 877"/>
              <a:gd name="T13" fmla="*/ 332 h 332"/>
              <a:gd name="T14" fmla="*/ 791 w 877"/>
              <a:gd name="T15" fmla="*/ 277 h 332"/>
              <a:gd name="T16" fmla="*/ 855 w 877"/>
              <a:gd name="T17" fmla="*/ 277 h 332"/>
              <a:gd name="T18" fmla="*/ 877 w 877"/>
              <a:gd name="T19" fmla="*/ 255 h 332"/>
              <a:gd name="T20" fmla="*/ 877 w 877"/>
              <a:gd name="T21" fmla="*/ 22 h 332"/>
              <a:gd name="T22" fmla="*/ 855 w 877"/>
              <a:gd name="T23" fmla="*/ 0 h 3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877" h="332">
                <a:moveTo>
                  <a:pt x="855" y="0"/>
                </a:moveTo>
                <a:cubicBezTo>
                  <a:pt x="22" y="0"/>
                  <a:pt x="22" y="0"/>
                  <a:pt x="22" y="0"/>
                </a:cubicBezTo>
                <a:cubicBezTo>
                  <a:pt x="10" y="0"/>
                  <a:pt x="0" y="10"/>
                  <a:pt x="0" y="22"/>
                </a:cubicBezTo>
                <a:cubicBezTo>
                  <a:pt x="0" y="255"/>
                  <a:pt x="0" y="255"/>
                  <a:pt x="0" y="255"/>
                </a:cubicBezTo>
                <a:cubicBezTo>
                  <a:pt x="0" y="268"/>
                  <a:pt x="10" y="277"/>
                  <a:pt x="22" y="277"/>
                </a:cubicBezTo>
                <a:cubicBezTo>
                  <a:pt x="726" y="277"/>
                  <a:pt x="726" y="277"/>
                  <a:pt x="726" y="277"/>
                </a:cubicBezTo>
                <a:cubicBezTo>
                  <a:pt x="758" y="332"/>
                  <a:pt x="758" y="332"/>
                  <a:pt x="758" y="332"/>
                </a:cubicBezTo>
                <a:cubicBezTo>
                  <a:pt x="791" y="277"/>
                  <a:pt x="791" y="277"/>
                  <a:pt x="791" y="277"/>
                </a:cubicBezTo>
                <a:cubicBezTo>
                  <a:pt x="855" y="277"/>
                  <a:pt x="855" y="277"/>
                  <a:pt x="855" y="277"/>
                </a:cubicBezTo>
                <a:cubicBezTo>
                  <a:pt x="867" y="277"/>
                  <a:pt x="877" y="268"/>
                  <a:pt x="877" y="255"/>
                </a:cubicBezTo>
                <a:cubicBezTo>
                  <a:pt x="877" y="22"/>
                  <a:pt x="877" y="22"/>
                  <a:pt x="877" y="22"/>
                </a:cubicBezTo>
                <a:cubicBezTo>
                  <a:pt x="877" y="10"/>
                  <a:pt x="867" y="0"/>
                  <a:pt x="855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127000" dist="38100" dir="5400000" algn="t" rotWithShape="0">
              <a:schemeClr val="accent1">
                <a:alpha val="40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4" name="îśḻïḋê">
            <a:extLst>
              <a:ext uri="{FF2B5EF4-FFF2-40B4-BE49-F238E27FC236}">
                <a16:creationId xmlns:a16="http://schemas.microsoft.com/office/drawing/2014/main" id="{32AC7F95-14A9-419F-8AAB-AB8487C76F12}"/>
              </a:ext>
            </a:extLst>
          </p:cNvPr>
          <p:cNvSpPr>
            <a:spLocks/>
          </p:cNvSpPr>
          <p:nvPr/>
        </p:nvSpPr>
        <p:spPr bwMode="auto">
          <a:xfrm>
            <a:off x="6417979" y="3317201"/>
            <a:ext cx="3958257" cy="1097373"/>
          </a:xfrm>
          <a:custGeom>
            <a:avLst/>
            <a:gdLst>
              <a:gd name="T0" fmla="*/ 762 w 817"/>
              <a:gd name="T1" fmla="*/ 273 h 346"/>
              <a:gd name="T2" fmla="*/ 56 w 817"/>
              <a:gd name="T3" fmla="*/ 346 h 346"/>
              <a:gd name="T4" fmla="*/ 0 w 817"/>
              <a:gd name="T5" fmla="*/ 289 h 346"/>
              <a:gd name="T6" fmla="*/ 0 w 817"/>
              <a:gd name="T7" fmla="*/ 57 h 346"/>
              <a:gd name="T8" fmla="*/ 56 w 817"/>
              <a:gd name="T9" fmla="*/ 0 h 346"/>
              <a:gd name="T10" fmla="*/ 762 w 817"/>
              <a:gd name="T11" fmla="*/ 60 h 346"/>
              <a:gd name="T12" fmla="*/ 817 w 817"/>
              <a:gd name="T13" fmla="*/ 117 h 346"/>
              <a:gd name="T14" fmla="*/ 817 w 817"/>
              <a:gd name="T15" fmla="*/ 217 h 346"/>
              <a:gd name="T16" fmla="*/ 762 w 817"/>
              <a:gd name="T17" fmla="*/ 273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17" h="346">
                <a:moveTo>
                  <a:pt x="762" y="273"/>
                </a:moveTo>
                <a:cubicBezTo>
                  <a:pt x="56" y="346"/>
                  <a:pt x="56" y="346"/>
                  <a:pt x="56" y="346"/>
                </a:cubicBezTo>
                <a:cubicBezTo>
                  <a:pt x="25" y="346"/>
                  <a:pt x="0" y="321"/>
                  <a:pt x="0" y="289"/>
                </a:cubicBezTo>
                <a:cubicBezTo>
                  <a:pt x="0" y="57"/>
                  <a:pt x="0" y="57"/>
                  <a:pt x="0" y="57"/>
                </a:cubicBezTo>
                <a:cubicBezTo>
                  <a:pt x="0" y="26"/>
                  <a:pt x="25" y="0"/>
                  <a:pt x="56" y="0"/>
                </a:cubicBezTo>
                <a:cubicBezTo>
                  <a:pt x="762" y="60"/>
                  <a:pt x="762" y="60"/>
                  <a:pt x="762" y="60"/>
                </a:cubicBezTo>
                <a:cubicBezTo>
                  <a:pt x="792" y="60"/>
                  <a:pt x="817" y="86"/>
                  <a:pt x="817" y="117"/>
                </a:cubicBezTo>
                <a:cubicBezTo>
                  <a:pt x="817" y="217"/>
                  <a:pt x="817" y="217"/>
                  <a:pt x="817" y="217"/>
                </a:cubicBezTo>
                <a:cubicBezTo>
                  <a:pt x="817" y="248"/>
                  <a:pt x="792" y="273"/>
                  <a:pt x="762" y="273"/>
                </a:cubicBezTo>
                <a:close/>
              </a:path>
            </a:pathLst>
          </a:custGeom>
          <a:gradFill>
            <a:gsLst>
              <a:gs pos="0">
                <a:schemeClr val="tx2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sp>
        <p:nvSpPr>
          <p:cNvPr id="65" name="ïśliḑe">
            <a:extLst>
              <a:ext uri="{FF2B5EF4-FFF2-40B4-BE49-F238E27FC236}">
                <a16:creationId xmlns:a16="http://schemas.microsoft.com/office/drawing/2014/main" id="{B90D8540-0032-4B72-9EFD-F24350C4C645}"/>
              </a:ext>
            </a:extLst>
          </p:cNvPr>
          <p:cNvSpPr/>
          <p:nvPr/>
        </p:nvSpPr>
        <p:spPr>
          <a:xfrm>
            <a:off x="6713685" y="3566029"/>
            <a:ext cx="2994805" cy="341942"/>
          </a:xfrm>
          <a:prstGeom prst="rect">
            <a:avLst/>
          </a:prstGeom>
          <a:noFill/>
        </p:spPr>
        <p:txBody>
          <a:bodyPr wrap="square" lIns="90000" tIns="90000" rIns="90000" bIns="90000" anchor="t" anchorCtr="0">
            <a:noAutofit/>
          </a:bodyPr>
          <a:lstStyle/>
          <a:p>
            <a:pPr lvl="0">
              <a:defRPr/>
            </a:pPr>
            <a:r>
              <a:rPr lang="zh-CN" altLang="en-US" sz="20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一级目录层级样式</a:t>
            </a:r>
          </a:p>
        </p:txBody>
      </p:sp>
      <p:sp>
        <p:nvSpPr>
          <p:cNvPr id="66" name="iṡlíḑê">
            <a:extLst>
              <a:ext uri="{FF2B5EF4-FFF2-40B4-BE49-F238E27FC236}">
                <a16:creationId xmlns:a16="http://schemas.microsoft.com/office/drawing/2014/main" id="{CD2AD778-1802-4516-8972-9EAFC62EE727}"/>
              </a:ext>
            </a:extLst>
          </p:cNvPr>
          <p:cNvSpPr/>
          <p:nvPr/>
        </p:nvSpPr>
        <p:spPr>
          <a:xfrm>
            <a:off x="6713685" y="3893031"/>
            <a:ext cx="3145317" cy="341942"/>
          </a:xfrm>
          <a:prstGeom prst="rect">
            <a:avLst/>
          </a:prstGeom>
          <a:noFill/>
        </p:spPr>
        <p:txBody>
          <a:bodyPr wrap="square" lIns="90000" tIns="90000" rIns="90000" bIns="90000" anchor="t" anchorCtr="0">
            <a:noAutofit/>
          </a:bodyPr>
          <a:lstStyle/>
          <a:p>
            <a:pPr>
              <a:defRPr/>
            </a:pPr>
            <a:r>
              <a:rPr lang="zh-CN" altLang="en-US" sz="1000" dirty="0">
                <a:solidFill>
                  <a:schemeClr val="tx2">
                    <a:lumMod val="40000"/>
                    <a:lumOff val="60000"/>
                  </a:schemeClr>
                </a:solidFill>
              </a:rPr>
              <a:t>点击此处添加副标题</a:t>
            </a:r>
          </a:p>
        </p:txBody>
      </p:sp>
      <p:sp>
        <p:nvSpPr>
          <p:cNvPr id="73" name="íŝḻiḓe">
            <a:extLst>
              <a:ext uri="{FF2B5EF4-FFF2-40B4-BE49-F238E27FC236}">
                <a16:creationId xmlns:a16="http://schemas.microsoft.com/office/drawing/2014/main" id="{BAC95785-AB92-440E-BFE7-7B0072D23054}"/>
              </a:ext>
            </a:extLst>
          </p:cNvPr>
          <p:cNvSpPr>
            <a:spLocks noChangeAspect="1"/>
          </p:cNvSpPr>
          <p:nvPr/>
        </p:nvSpPr>
        <p:spPr bwMode="auto">
          <a:xfrm>
            <a:off x="10619490" y="4156093"/>
            <a:ext cx="166098" cy="241618"/>
          </a:xfrm>
          <a:custGeom>
            <a:avLst/>
            <a:gdLst>
              <a:gd name="connsiteX0" fmla="*/ 257186 w 415485"/>
              <a:gd name="connsiteY0" fmla="*/ 426850 h 604393"/>
              <a:gd name="connsiteX1" fmla="*/ 333827 w 415485"/>
              <a:gd name="connsiteY1" fmla="*/ 426850 h 604393"/>
              <a:gd name="connsiteX2" fmla="*/ 347323 w 415485"/>
              <a:gd name="connsiteY2" fmla="*/ 440326 h 604393"/>
              <a:gd name="connsiteX3" fmla="*/ 347323 w 415485"/>
              <a:gd name="connsiteY3" fmla="*/ 590918 h 604393"/>
              <a:gd name="connsiteX4" fmla="*/ 333827 w 415485"/>
              <a:gd name="connsiteY4" fmla="*/ 604393 h 604393"/>
              <a:gd name="connsiteX5" fmla="*/ 257186 w 415485"/>
              <a:gd name="connsiteY5" fmla="*/ 604393 h 604393"/>
              <a:gd name="connsiteX6" fmla="*/ 243592 w 415485"/>
              <a:gd name="connsiteY6" fmla="*/ 590918 h 604393"/>
              <a:gd name="connsiteX7" fmla="*/ 243592 w 415485"/>
              <a:gd name="connsiteY7" fmla="*/ 440326 h 604393"/>
              <a:gd name="connsiteX8" fmla="*/ 257186 w 415485"/>
              <a:gd name="connsiteY8" fmla="*/ 426850 h 604393"/>
              <a:gd name="connsiteX9" fmla="*/ 135362 w 415485"/>
              <a:gd name="connsiteY9" fmla="*/ 392767 h 604393"/>
              <a:gd name="connsiteX10" fmla="*/ 212003 w 415485"/>
              <a:gd name="connsiteY10" fmla="*/ 392767 h 604393"/>
              <a:gd name="connsiteX11" fmla="*/ 225597 w 415485"/>
              <a:gd name="connsiteY11" fmla="*/ 406338 h 604393"/>
              <a:gd name="connsiteX12" fmla="*/ 225597 w 415485"/>
              <a:gd name="connsiteY12" fmla="*/ 590921 h 604393"/>
              <a:gd name="connsiteX13" fmla="*/ 212003 w 415485"/>
              <a:gd name="connsiteY13" fmla="*/ 604393 h 604393"/>
              <a:gd name="connsiteX14" fmla="*/ 135362 w 415485"/>
              <a:gd name="connsiteY14" fmla="*/ 604393 h 604393"/>
              <a:gd name="connsiteX15" fmla="*/ 121866 w 415485"/>
              <a:gd name="connsiteY15" fmla="*/ 590921 h 604393"/>
              <a:gd name="connsiteX16" fmla="*/ 121866 w 415485"/>
              <a:gd name="connsiteY16" fmla="*/ 406338 h 604393"/>
              <a:gd name="connsiteX17" fmla="*/ 135362 w 415485"/>
              <a:gd name="connsiteY17" fmla="*/ 392767 h 604393"/>
              <a:gd name="connsiteX18" fmla="*/ 13496 w 415485"/>
              <a:gd name="connsiteY18" fmla="*/ 341678 h 604393"/>
              <a:gd name="connsiteX19" fmla="*/ 90137 w 415485"/>
              <a:gd name="connsiteY19" fmla="*/ 341678 h 604393"/>
              <a:gd name="connsiteX20" fmla="*/ 103731 w 415485"/>
              <a:gd name="connsiteY20" fmla="*/ 355153 h 604393"/>
              <a:gd name="connsiteX21" fmla="*/ 103731 w 415485"/>
              <a:gd name="connsiteY21" fmla="*/ 590918 h 604393"/>
              <a:gd name="connsiteX22" fmla="*/ 90137 w 415485"/>
              <a:gd name="connsiteY22" fmla="*/ 604393 h 604393"/>
              <a:gd name="connsiteX23" fmla="*/ 13496 w 415485"/>
              <a:gd name="connsiteY23" fmla="*/ 604393 h 604393"/>
              <a:gd name="connsiteX24" fmla="*/ 0 w 415485"/>
              <a:gd name="connsiteY24" fmla="*/ 590918 h 604393"/>
              <a:gd name="connsiteX25" fmla="*/ 0 w 415485"/>
              <a:gd name="connsiteY25" fmla="*/ 355153 h 604393"/>
              <a:gd name="connsiteX26" fmla="*/ 13496 w 415485"/>
              <a:gd name="connsiteY26" fmla="*/ 341678 h 604393"/>
              <a:gd name="connsiteX27" fmla="*/ 330114 w 415485"/>
              <a:gd name="connsiteY27" fmla="*/ 214344 h 604393"/>
              <a:gd name="connsiteX28" fmla="*/ 321247 w 415485"/>
              <a:gd name="connsiteY28" fmla="*/ 229197 h 604393"/>
              <a:gd name="connsiteX29" fmla="*/ 309818 w 415485"/>
              <a:gd name="connsiteY29" fmla="*/ 233427 h 604393"/>
              <a:gd name="connsiteX30" fmla="*/ 313365 w 415485"/>
              <a:gd name="connsiteY30" fmla="*/ 239919 h 604393"/>
              <a:gd name="connsiteX31" fmla="*/ 314941 w 415485"/>
              <a:gd name="connsiteY31" fmla="*/ 241297 h 604393"/>
              <a:gd name="connsiteX32" fmla="*/ 337011 w 415485"/>
              <a:gd name="connsiteY32" fmla="*/ 219262 h 604393"/>
              <a:gd name="connsiteX33" fmla="*/ 335631 w 415485"/>
              <a:gd name="connsiteY33" fmla="*/ 217590 h 604393"/>
              <a:gd name="connsiteX34" fmla="*/ 330114 w 415485"/>
              <a:gd name="connsiteY34" fmla="*/ 214344 h 604393"/>
              <a:gd name="connsiteX35" fmla="*/ 226270 w 415485"/>
              <a:gd name="connsiteY35" fmla="*/ 111846 h 604393"/>
              <a:gd name="connsiteX36" fmla="*/ 238487 w 415485"/>
              <a:gd name="connsiteY36" fmla="*/ 116272 h 604393"/>
              <a:gd name="connsiteX37" fmla="*/ 286468 w 415485"/>
              <a:gd name="connsiteY37" fmla="*/ 151783 h 604393"/>
              <a:gd name="connsiteX38" fmla="*/ 308045 w 415485"/>
              <a:gd name="connsiteY38" fmla="*/ 173423 h 604393"/>
              <a:gd name="connsiteX39" fmla="*/ 326075 w 415485"/>
              <a:gd name="connsiteY39" fmla="*/ 198114 h 604393"/>
              <a:gd name="connsiteX40" fmla="*/ 327454 w 415485"/>
              <a:gd name="connsiteY40" fmla="*/ 200081 h 604393"/>
              <a:gd name="connsiteX41" fmla="*/ 345287 w 415485"/>
              <a:gd name="connsiteY41" fmla="*/ 207950 h 604393"/>
              <a:gd name="connsiteX42" fmla="*/ 346765 w 415485"/>
              <a:gd name="connsiteY42" fmla="*/ 209524 h 604393"/>
              <a:gd name="connsiteX43" fmla="*/ 357898 w 415485"/>
              <a:gd name="connsiteY43" fmla="*/ 198409 h 604393"/>
              <a:gd name="connsiteX44" fmla="*/ 365977 w 415485"/>
              <a:gd name="connsiteY44" fmla="*/ 195064 h 604393"/>
              <a:gd name="connsiteX45" fmla="*/ 374154 w 415485"/>
              <a:gd name="connsiteY45" fmla="*/ 198409 h 604393"/>
              <a:gd name="connsiteX46" fmla="*/ 412086 w 415485"/>
              <a:gd name="connsiteY46" fmla="*/ 236280 h 604393"/>
              <a:gd name="connsiteX47" fmla="*/ 412086 w 415485"/>
              <a:gd name="connsiteY47" fmla="*/ 252609 h 604393"/>
              <a:gd name="connsiteX48" fmla="*/ 348341 w 415485"/>
              <a:gd name="connsiteY48" fmla="*/ 316252 h 604393"/>
              <a:gd name="connsiteX49" fmla="*/ 340262 w 415485"/>
              <a:gd name="connsiteY49" fmla="*/ 319596 h 604393"/>
              <a:gd name="connsiteX50" fmla="*/ 332085 w 415485"/>
              <a:gd name="connsiteY50" fmla="*/ 316252 h 604393"/>
              <a:gd name="connsiteX51" fmla="*/ 294153 w 415485"/>
              <a:gd name="connsiteY51" fmla="*/ 278282 h 604393"/>
              <a:gd name="connsiteX52" fmla="*/ 294153 w 415485"/>
              <a:gd name="connsiteY52" fmla="*/ 262052 h 604393"/>
              <a:gd name="connsiteX53" fmla="*/ 305188 w 415485"/>
              <a:gd name="connsiteY53" fmla="*/ 250936 h 604393"/>
              <a:gd name="connsiteX54" fmla="*/ 303710 w 415485"/>
              <a:gd name="connsiteY54" fmla="*/ 249559 h 604393"/>
              <a:gd name="connsiteX55" fmla="*/ 295828 w 415485"/>
              <a:gd name="connsiteY55" fmla="*/ 229788 h 604393"/>
              <a:gd name="connsiteX56" fmla="*/ 290113 w 415485"/>
              <a:gd name="connsiteY56" fmla="*/ 224377 h 604393"/>
              <a:gd name="connsiteX57" fmla="*/ 272084 w 415485"/>
              <a:gd name="connsiteY57" fmla="*/ 199786 h 604393"/>
              <a:gd name="connsiteX58" fmla="*/ 260753 w 415485"/>
              <a:gd name="connsiteY58" fmla="*/ 188178 h 604393"/>
              <a:gd name="connsiteX59" fmla="*/ 292577 w 415485"/>
              <a:gd name="connsiteY59" fmla="*/ 305628 h 604393"/>
              <a:gd name="connsiteX60" fmla="*/ 299473 w 415485"/>
              <a:gd name="connsiteY60" fmla="*/ 322843 h 604393"/>
              <a:gd name="connsiteX61" fmla="*/ 332774 w 415485"/>
              <a:gd name="connsiteY61" fmla="*/ 384322 h 604393"/>
              <a:gd name="connsiteX62" fmla="*/ 323316 w 415485"/>
              <a:gd name="connsiteY62" fmla="*/ 416094 h 604393"/>
              <a:gd name="connsiteX63" fmla="*/ 313464 w 415485"/>
              <a:gd name="connsiteY63" fmla="*/ 418947 h 604393"/>
              <a:gd name="connsiteX64" fmla="*/ 312183 w 415485"/>
              <a:gd name="connsiteY64" fmla="*/ 418947 h 604393"/>
              <a:gd name="connsiteX65" fmla="*/ 291493 w 415485"/>
              <a:gd name="connsiteY65" fmla="*/ 406651 h 604393"/>
              <a:gd name="connsiteX66" fmla="*/ 258093 w 415485"/>
              <a:gd name="connsiteY66" fmla="*/ 345172 h 604393"/>
              <a:gd name="connsiteX67" fmla="*/ 247157 w 415485"/>
              <a:gd name="connsiteY67" fmla="*/ 317727 h 604393"/>
              <a:gd name="connsiteX68" fmla="*/ 231984 w 415485"/>
              <a:gd name="connsiteY68" fmla="*/ 261167 h 604393"/>
              <a:gd name="connsiteX69" fmla="*/ 209422 w 415485"/>
              <a:gd name="connsiteY69" fmla="*/ 261167 h 604393"/>
              <a:gd name="connsiteX70" fmla="*/ 207255 w 415485"/>
              <a:gd name="connsiteY70" fmla="*/ 263429 h 604393"/>
              <a:gd name="connsiteX71" fmla="*/ 176614 w 415485"/>
              <a:gd name="connsiteY71" fmla="*/ 289988 h 604393"/>
              <a:gd name="connsiteX72" fmla="*/ 190013 w 415485"/>
              <a:gd name="connsiteY72" fmla="*/ 355599 h 604393"/>
              <a:gd name="connsiteX73" fmla="*/ 171688 w 415485"/>
              <a:gd name="connsiteY73" fmla="*/ 383240 h 604393"/>
              <a:gd name="connsiteX74" fmla="*/ 166959 w 415485"/>
              <a:gd name="connsiteY74" fmla="*/ 383732 h 604393"/>
              <a:gd name="connsiteX75" fmla="*/ 144003 w 415485"/>
              <a:gd name="connsiteY75" fmla="*/ 364944 h 604393"/>
              <a:gd name="connsiteX76" fmla="*/ 130209 w 415485"/>
              <a:gd name="connsiteY76" fmla="*/ 297857 h 604393"/>
              <a:gd name="connsiteX77" fmla="*/ 144594 w 415485"/>
              <a:gd name="connsiteY77" fmla="*/ 255658 h 604393"/>
              <a:gd name="connsiteX78" fmla="*/ 174151 w 415485"/>
              <a:gd name="connsiteY78" fmla="*/ 229984 h 604393"/>
              <a:gd name="connsiteX79" fmla="*/ 162722 w 415485"/>
              <a:gd name="connsiteY79" fmla="*/ 185031 h 604393"/>
              <a:gd name="connsiteX80" fmla="*/ 160949 w 415485"/>
              <a:gd name="connsiteY80" fmla="*/ 188867 h 604393"/>
              <a:gd name="connsiteX81" fmla="*/ 129027 w 415485"/>
              <a:gd name="connsiteY81" fmla="*/ 215033 h 604393"/>
              <a:gd name="connsiteX82" fmla="*/ 86563 w 415485"/>
              <a:gd name="connsiteY82" fmla="*/ 225164 h 604393"/>
              <a:gd name="connsiteX83" fmla="*/ 81342 w 415485"/>
              <a:gd name="connsiteY83" fmla="*/ 225755 h 604393"/>
              <a:gd name="connsiteX84" fmla="*/ 59666 w 415485"/>
              <a:gd name="connsiteY84" fmla="*/ 208639 h 604393"/>
              <a:gd name="connsiteX85" fmla="*/ 62425 w 415485"/>
              <a:gd name="connsiteY85" fmla="*/ 191818 h 604393"/>
              <a:gd name="connsiteX86" fmla="*/ 76218 w 415485"/>
              <a:gd name="connsiteY86" fmla="*/ 181883 h 604393"/>
              <a:gd name="connsiteX87" fmla="*/ 118288 w 415485"/>
              <a:gd name="connsiteY87" fmla="*/ 171850 h 604393"/>
              <a:gd name="connsiteX88" fmla="*/ 120653 w 415485"/>
              <a:gd name="connsiteY88" fmla="*/ 169981 h 604393"/>
              <a:gd name="connsiteX89" fmla="*/ 141244 w 415485"/>
              <a:gd name="connsiteY89" fmla="*/ 124929 h 604393"/>
              <a:gd name="connsiteX90" fmla="*/ 158781 w 415485"/>
              <a:gd name="connsiteY90" fmla="*/ 111944 h 604393"/>
              <a:gd name="connsiteX91" fmla="*/ 226270 w 415485"/>
              <a:gd name="connsiteY91" fmla="*/ 111846 h 604393"/>
              <a:gd name="connsiteX92" fmla="*/ 189398 w 415485"/>
              <a:gd name="connsiteY92" fmla="*/ 0 h 604393"/>
              <a:gd name="connsiteX93" fmla="*/ 242040 w 415485"/>
              <a:gd name="connsiteY93" fmla="*/ 52572 h 604393"/>
              <a:gd name="connsiteX94" fmla="*/ 189398 w 415485"/>
              <a:gd name="connsiteY94" fmla="*/ 105144 h 604393"/>
              <a:gd name="connsiteX95" fmla="*/ 136756 w 415485"/>
              <a:gd name="connsiteY95" fmla="*/ 52572 h 604393"/>
              <a:gd name="connsiteX96" fmla="*/ 189398 w 415485"/>
              <a:gd name="connsiteY96" fmla="*/ 0 h 6043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</a:cxnLst>
            <a:rect l="l" t="t" r="r" b="b"/>
            <a:pathLst>
              <a:path w="415485" h="604393">
                <a:moveTo>
                  <a:pt x="257186" y="426850"/>
                </a:moveTo>
                <a:lnTo>
                  <a:pt x="333827" y="426850"/>
                </a:lnTo>
                <a:cubicBezTo>
                  <a:pt x="341314" y="426850"/>
                  <a:pt x="347323" y="432949"/>
                  <a:pt x="347323" y="440326"/>
                </a:cubicBezTo>
                <a:lnTo>
                  <a:pt x="347323" y="590918"/>
                </a:lnTo>
                <a:cubicBezTo>
                  <a:pt x="347323" y="598295"/>
                  <a:pt x="341314" y="604393"/>
                  <a:pt x="333827" y="604393"/>
                </a:cubicBezTo>
                <a:lnTo>
                  <a:pt x="257186" y="604393"/>
                </a:lnTo>
                <a:cubicBezTo>
                  <a:pt x="249700" y="604393"/>
                  <a:pt x="243592" y="598295"/>
                  <a:pt x="243592" y="590918"/>
                </a:cubicBezTo>
                <a:lnTo>
                  <a:pt x="243592" y="440326"/>
                </a:lnTo>
                <a:cubicBezTo>
                  <a:pt x="243592" y="432949"/>
                  <a:pt x="249700" y="426850"/>
                  <a:pt x="257186" y="426850"/>
                </a:cubicBezTo>
                <a:close/>
                <a:moveTo>
                  <a:pt x="135362" y="392767"/>
                </a:moveTo>
                <a:lnTo>
                  <a:pt x="212003" y="392767"/>
                </a:lnTo>
                <a:cubicBezTo>
                  <a:pt x="219489" y="392767"/>
                  <a:pt x="225597" y="398864"/>
                  <a:pt x="225597" y="406338"/>
                </a:cubicBezTo>
                <a:lnTo>
                  <a:pt x="225597" y="590921"/>
                </a:lnTo>
                <a:cubicBezTo>
                  <a:pt x="225597" y="598296"/>
                  <a:pt x="219489" y="604393"/>
                  <a:pt x="212003" y="604393"/>
                </a:cubicBezTo>
                <a:lnTo>
                  <a:pt x="135362" y="604393"/>
                </a:lnTo>
                <a:cubicBezTo>
                  <a:pt x="127875" y="604393"/>
                  <a:pt x="121866" y="598296"/>
                  <a:pt x="121866" y="590921"/>
                </a:cubicBezTo>
                <a:lnTo>
                  <a:pt x="121866" y="406338"/>
                </a:lnTo>
                <a:cubicBezTo>
                  <a:pt x="121866" y="398864"/>
                  <a:pt x="127875" y="392767"/>
                  <a:pt x="135362" y="392767"/>
                </a:cubicBezTo>
                <a:close/>
                <a:moveTo>
                  <a:pt x="13496" y="341678"/>
                </a:moveTo>
                <a:lnTo>
                  <a:pt x="90137" y="341678"/>
                </a:lnTo>
                <a:cubicBezTo>
                  <a:pt x="97623" y="341678"/>
                  <a:pt x="103731" y="347776"/>
                  <a:pt x="103731" y="355153"/>
                </a:cubicBezTo>
                <a:lnTo>
                  <a:pt x="103731" y="590918"/>
                </a:lnTo>
                <a:cubicBezTo>
                  <a:pt x="103731" y="598295"/>
                  <a:pt x="97623" y="604393"/>
                  <a:pt x="90137" y="604393"/>
                </a:cubicBezTo>
                <a:lnTo>
                  <a:pt x="13496" y="604393"/>
                </a:lnTo>
                <a:cubicBezTo>
                  <a:pt x="6009" y="604393"/>
                  <a:pt x="0" y="598295"/>
                  <a:pt x="0" y="590918"/>
                </a:cubicBezTo>
                <a:lnTo>
                  <a:pt x="0" y="355153"/>
                </a:lnTo>
                <a:cubicBezTo>
                  <a:pt x="0" y="347776"/>
                  <a:pt x="6009" y="341678"/>
                  <a:pt x="13496" y="341678"/>
                </a:cubicBezTo>
                <a:close/>
                <a:moveTo>
                  <a:pt x="330114" y="214344"/>
                </a:moveTo>
                <a:cubicBezTo>
                  <a:pt x="329326" y="220049"/>
                  <a:pt x="326370" y="225459"/>
                  <a:pt x="321247" y="229197"/>
                </a:cubicBezTo>
                <a:cubicBezTo>
                  <a:pt x="317897" y="231657"/>
                  <a:pt x="313956" y="233132"/>
                  <a:pt x="309818" y="233427"/>
                </a:cubicBezTo>
                <a:cubicBezTo>
                  <a:pt x="310311" y="235886"/>
                  <a:pt x="311592" y="238149"/>
                  <a:pt x="313365" y="239919"/>
                </a:cubicBezTo>
                <a:cubicBezTo>
                  <a:pt x="313858" y="240411"/>
                  <a:pt x="314350" y="240805"/>
                  <a:pt x="314941" y="241297"/>
                </a:cubicBezTo>
                <a:lnTo>
                  <a:pt x="337011" y="219262"/>
                </a:lnTo>
                <a:cubicBezTo>
                  <a:pt x="336617" y="218672"/>
                  <a:pt x="336124" y="218082"/>
                  <a:pt x="335631" y="217590"/>
                </a:cubicBezTo>
                <a:cubicBezTo>
                  <a:pt x="334154" y="216016"/>
                  <a:pt x="332282" y="214934"/>
                  <a:pt x="330114" y="214344"/>
                </a:cubicBezTo>
                <a:close/>
                <a:moveTo>
                  <a:pt x="226270" y="111846"/>
                </a:moveTo>
                <a:cubicBezTo>
                  <a:pt x="231886" y="111846"/>
                  <a:pt x="237009" y="115092"/>
                  <a:pt x="238487" y="116272"/>
                </a:cubicBezTo>
                <a:lnTo>
                  <a:pt x="286468" y="151783"/>
                </a:lnTo>
                <a:cubicBezTo>
                  <a:pt x="293463" y="156996"/>
                  <a:pt x="302823" y="166341"/>
                  <a:pt x="308045" y="173423"/>
                </a:cubicBezTo>
                <a:lnTo>
                  <a:pt x="326075" y="198114"/>
                </a:lnTo>
                <a:cubicBezTo>
                  <a:pt x="326567" y="198704"/>
                  <a:pt x="327060" y="199392"/>
                  <a:pt x="327454" y="200081"/>
                </a:cubicBezTo>
                <a:cubicBezTo>
                  <a:pt x="334252" y="200474"/>
                  <a:pt x="340558" y="203229"/>
                  <a:pt x="345287" y="207950"/>
                </a:cubicBezTo>
                <a:cubicBezTo>
                  <a:pt x="345878" y="208442"/>
                  <a:pt x="346272" y="208934"/>
                  <a:pt x="346765" y="209524"/>
                </a:cubicBezTo>
                <a:lnTo>
                  <a:pt x="357898" y="198409"/>
                </a:lnTo>
                <a:cubicBezTo>
                  <a:pt x="360065" y="196245"/>
                  <a:pt x="362923" y="195064"/>
                  <a:pt x="365977" y="195064"/>
                </a:cubicBezTo>
                <a:cubicBezTo>
                  <a:pt x="369130" y="195064"/>
                  <a:pt x="371987" y="196245"/>
                  <a:pt x="374154" y="198409"/>
                </a:cubicBezTo>
                <a:lnTo>
                  <a:pt x="412086" y="236280"/>
                </a:lnTo>
                <a:cubicBezTo>
                  <a:pt x="416618" y="240805"/>
                  <a:pt x="416618" y="248084"/>
                  <a:pt x="412086" y="252609"/>
                </a:cubicBezTo>
                <a:lnTo>
                  <a:pt x="348341" y="316252"/>
                </a:lnTo>
                <a:cubicBezTo>
                  <a:pt x="346173" y="318416"/>
                  <a:pt x="343316" y="319596"/>
                  <a:pt x="340262" y="319596"/>
                </a:cubicBezTo>
                <a:cubicBezTo>
                  <a:pt x="337109" y="319596"/>
                  <a:pt x="334252" y="318416"/>
                  <a:pt x="332085" y="316252"/>
                </a:cubicBezTo>
                <a:lnTo>
                  <a:pt x="294153" y="278282"/>
                </a:lnTo>
                <a:cubicBezTo>
                  <a:pt x="289621" y="273856"/>
                  <a:pt x="289621" y="266577"/>
                  <a:pt x="294153" y="262052"/>
                </a:cubicBezTo>
                <a:lnTo>
                  <a:pt x="305188" y="250936"/>
                </a:lnTo>
                <a:cubicBezTo>
                  <a:pt x="304695" y="250543"/>
                  <a:pt x="304202" y="250051"/>
                  <a:pt x="303710" y="249559"/>
                </a:cubicBezTo>
                <a:cubicBezTo>
                  <a:pt x="298389" y="244346"/>
                  <a:pt x="295631" y="237263"/>
                  <a:pt x="295828" y="229788"/>
                </a:cubicBezTo>
                <a:cubicBezTo>
                  <a:pt x="293660" y="228312"/>
                  <a:pt x="291690" y="226542"/>
                  <a:pt x="290113" y="224377"/>
                </a:cubicBezTo>
                <a:lnTo>
                  <a:pt x="272084" y="199786"/>
                </a:lnTo>
                <a:cubicBezTo>
                  <a:pt x="269621" y="196441"/>
                  <a:pt x="264300" y="191031"/>
                  <a:pt x="260753" y="188178"/>
                </a:cubicBezTo>
                <a:lnTo>
                  <a:pt x="292577" y="305628"/>
                </a:lnTo>
                <a:cubicBezTo>
                  <a:pt x="293857" y="310350"/>
                  <a:pt x="297109" y="318514"/>
                  <a:pt x="299473" y="322843"/>
                </a:cubicBezTo>
                <a:lnTo>
                  <a:pt x="332774" y="384322"/>
                </a:lnTo>
                <a:cubicBezTo>
                  <a:pt x="338981" y="395732"/>
                  <a:pt x="334745" y="409995"/>
                  <a:pt x="323316" y="416094"/>
                </a:cubicBezTo>
                <a:cubicBezTo>
                  <a:pt x="320262" y="417766"/>
                  <a:pt x="316912" y="418750"/>
                  <a:pt x="313464" y="418947"/>
                </a:cubicBezTo>
                <a:cubicBezTo>
                  <a:pt x="312971" y="418947"/>
                  <a:pt x="312577" y="418947"/>
                  <a:pt x="312183" y="418947"/>
                </a:cubicBezTo>
                <a:cubicBezTo>
                  <a:pt x="303513" y="418947"/>
                  <a:pt x="295532" y="414225"/>
                  <a:pt x="291493" y="406651"/>
                </a:cubicBezTo>
                <a:lnTo>
                  <a:pt x="258093" y="345172"/>
                </a:lnTo>
                <a:cubicBezTo>
                  <a:pt x="254054" y="337696"/>
                  <a:pt x="249423" y="325990"/>
                  <a:pt x="247157" y="317727"/>
                </a:cubicBezTo>
                <a:lnTo>
                  <a:pt x="231984" y="261167"/>
                </a:lnTo>
                <a:lnTo>
                  <a:pt x="209422" y="261167"/>
                </a:lnTo>
                <a:cubicBezTo>
                  <a:pt x="208733" y="261954"/>
                  <a:pt x="208043" y="262740"/>
                  <a:pt x="207255" y="263429"/>
                </a:cubicBezTo>
                <a:lnTo>
                  <a:pt x="176614" y="289988"/>
                </a:lnTo>
                <a:lnTo>
                  <a:pt x="190013" y="355599"/>
                </a:lnTo>
                <a:cubicBezTo>
                  <a:pt x="192575" y="368288"/>
                  <a:pt x="184397" y="380682"/>
                  <a:pt x="171688" y="383240"/>
                </a:cubicBezTo>
                <a:cubicBezTo>
                  <a:pt x="170111" y="383633"/>
                  <a:pt x="168535" y="383732"/>
                  <a:pt x="166959" y="383732"/>
                </a:cubicBezTo>
                <a:cubicBezTo>
                  <a:pt x="155826" y="383732"/>
                  <a:pt x="146170" y="375862"/>
                  <a:pt x="144003" y="364944"/>
                </a:cubicBezTo>
                <a:lnTo>
                  <a:pt x="130209" y="297857"/>
                </a:lnTo>
                <a:cubicBezTo>
                  <a:pt x="127155" y="282906"/>
                  <a:pt x="133067" y="265593"/>
                  <a:pt x="144594" y="255658"/>
                </a:cubicBezTo>
                <a:lnTo>
                  <a:pt x="174151" y="229984"/>
                </a:lnTo>
                <a:lnTo>
                  <a:pt x="162722" y="185031"/>
                </a:lnTo>
                <a:lnTo>
                  <a:pt x="160949" y="188867"/>
                </a:lnTo>
                <a:cubicBezTo>
                  <a:pt x="155333" y="201163"/>
                  <a:pt x="142229" y="211885"/>
                  <a:pt x="129027" y="215033"/>
                </a:cubicBezTo>
                <a:lnTo>
                  <a:pt x="86563" y="225164"/>
                </a:lnTo>
                <a:cubicBezTo>
                  <a:pt x="84790" y="225558"/>
                  <a:pt x="83115" y="225755"/>
                  <a:pt x="81342" y="225755"/>
                </a:cubicBezTo>
                <a:cubicBezTo>
                  <a:pt x="70997" y="225755"/>
                  <a:pt x="62129" y="218771"/>
                  <a:pt x="59666" y="208639"/>
                </a:cubicBezTo>
                <a:cubicBezTo>
                  <a:pt x="58287" y="202835"/>
                  <a:pt x="59272" y="196933"/>
                  <a:pt x="62425" y="191818"/>
                </a:cubicBezTo>
                <a:cubicBezTo>
                  <a:pt x="65578" y="186801"/>
                  <a:pt x="70405" y="183260"/>
                  <a:pt x="76218" y="181883"/>
                </a:cubicBezTo>
                <a:lnTo>
                  <a:pt x="118288" y="171850"/>
                </a:lnTo>
                <a:cubicBezTo>
                  <a:pt x="118978" y="171554"/>
                  <a:pt x="120160" y="170571"/>
                  <a:pt x="120653" y="169981"/>
                </a:cubicBezTo>
                <a:lnTo>
                  <a:pt x="141244" y="124929"/>
                </a:lnTo>
                <a:cubicBezTo>
                  <a:pt x="145185" y="116272"/>
                  <a:pt x="150899" y="112043"/>
                  <a:pt x="158781" y="111944"/>
                </a:cubicBezTo>
                <a:cubicBezTo>
                  <a:pt x="158880" y="111846"/>
                  <a:pt x="226270" y="111846"/>
                  <a:pt x="226270" y="111846"/>
                </a:cubicBezTo>
                <a:close/>
                <a:moveTo>
                  <a:pt x="189398" y="0"/>
                </a:moveTo>
                <a:cubicBezTo>
                  <a:pt x="218471" y="0"/>
                  <a:pt x="242040" y="23537"/>
                  <a:pt x="242040" y="52572"/>
                </a:cubicBezTo>
                <a:cubicBezTo>
                  <a:pt x="242040" y="81607"/>
                  <a:pt x="218471" y="105144"/>
                  <a:pt x="189398" y="105144"/>
                </a:cubicBezTo>
                <a:cubicBezTo>
                  <a:pt x="160325" y="105144"/>
                  <a:pt x="136756" y="81607"/>
                  <a:pt x="136756" y="52572"/>
                </a:cubicBezTo>
                <a:cubicBezTo>
                  <a:pt x="136756" y="23537"/>
                  <a:pt x="160325" y="0"/>
                  <a:pt x="189398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68" name="iṡḻîďè">
            <a:extLst>
              <a:ext uri="{FF2B5EF4-FFF2-40B4-BE49-F238E27FC236}">
                <a16:creationId xmlns:a16="http://schemas.microsoft.com/office/drawing/2014/main" id="{35E6C915-3024-4599-90B4-7997A4D7438E}"/>
              </a:ext>
            </a:extLst>
          </p:cNvPr>
          <p:cNvSpPr/>
          <p:nvPr/>
        </p:nvSpPr>
        <p:spPr>
          <a:xfrm>
            <a:off x="9288180" y="3566029"/>
            <a:ext cx="866745" cy="341942"/>
          </a:xfrm>
          <a:prstGeom prst="rect">
            <a:avLst/>
          </a:prstGeom>
          <a:noFill/>
        </p:spPr>
        <p:txBody>
          <a:bodyPr wrap="square" lIns="90000" tIns="90000" rIns="90000" bIns="90000" anchor="t" anchorCtr="0">
            <a:noAutofit/>
          </a:bodyPr>
          <a:lstStyle/>
          <a:p>
            <a:pPr lvl="0" algn="r">
              <a:defRPr/>
            </a:pPr>
            <a:r>
              <a:rPr lang="en-US" altLang="zh-CN" sz="20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4</a:t>
            </a:r>
          </a:p>
        </p:txBody>
      </p:sp>
      <p:sp>
        <p:nvSpPr>
          <p:cNvPr id="69" name="ïṩḷíḍé">
            <a:extLst>
              <a:ext uri="{FF2B5EF4-FFF2-40B4-BE49-F238E27FC236}">
                <a16:creationId xmlns:a16="http://schemas.microsoft.com/office/drawing/2014/main" id="{63808B15-349D-4D67-A2B7-18C9637C2EFC}"/>
              </a:ext>
            </a:extLst>
          </p:cNvPr>
          <p:cNvSpPr/>
          <p:nvPr/>
        </p:nvSpPr>
        <p:spPr>
          <a:xfrm>
            <a:off x="7209735" y="5365434"/>
            <a:ext cx="3940936" cy="672121"/>
          </a:xfrm>
          <a:prstGeom prst="rect">
            <a:avLst/>
          </a:prstGeom>
        </p:spPr>
        <p:txBody>
          <a:bodyPr wrap="square" lIns="91440" tIns="45720" rIns="91440" bIns="45720">
            <a:normAutofit/>
          </a:bodyPr>
          <a:lstStyle/>
          <a:p>
            <a:pPr algn="r"/>
            <a:r>
              <a:rPr lang="zh-CN" altLang="en-US" sz="3200" b="1" kern="0" dirty="0">
                <a:ln w="6350">
                  <a:noFill/>
                </a:ln>
                <a:solidFill>
                  <a:schemeClr val="bg1"/>
                </a:solidFill>
                <a:cs typeface="+mn-ea"/>
                <a:sym typeface="+mn-lt"/>
              </a:rPr>
              <a:t>目录</a:t>
            </a:r>
            <a:r>
              <a:rPr lang="en-US" altLang="zh-CN" sz="3200" b="1" kern="0" dirty="0">
                <a:ln w="6350">
                  <a:noFill/>
                </a:ln>
                <a:solidFill>
                  <a:schemeClr val="bg1"/>
                </a:solidFill>
                <a:cs typeface="+mn-ea"/>
                <a:sym typeface="+mn-lt"/>
              </a:rPr>
              <a:t>/</a:t>
            </a:r>
            <a:r>
              <a:rPr lang="zh-CN" altLang="en-US" sz="3200" dirty="0">
                <a:solidFill>
                  <a:schemeClr val="bg1"/>
                </a:solidFill>
                <a:cs typeface="+mn-ea"/>
                <a:sym typeface="+mn-lt"/>
              </a:rPr>
              <a:t>Contents</a:t>
            </a:r>
          </a:p>
        </p:txBody>
      </p:sp>
      <p:sp>
        <p:nvSpPr>
          <p:cNvPr id="31" name="ís1íḑé">
            <a:extLst>
              <a:ext uri="{FF2B5EF4-FFF2-40B4-BE49-F238E27FC236}">
                <a16:creationId xmlns:a16="http://schemas.microsoft.com/office/drawing/2014/main" id="{B77AA6A2-AA7F-41A3-8652-FF74E67161AA}"/>
              </a:ext>
            </a:extLst>
          </p:cNvPr>
          <p:cNvSpPr txBox="1"/>
          <p:nvPr/>
        </p:nvSpPr>
        <p:spPr>
          <a:xfrm>
            <a:off x="6999832" y="5924029"/>
            <a:ext cx="41783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zh-CN" altLang="en-US" sz="1400" b="0" i="0" spc="600" dirty="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格</a:t>
            </a:r>
            <a:r>
              <a:rPr lang="en-US" altLang="zh-CN" sz="1400" b="0" i="0" spc="600" dirty="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lang="zh-CN" altLang="en-US" sz="1400" b="0" i="0" spc="600" dirty="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物</a:t>
            </a:r>
            <a:r>
              <a:rPr lang="en-US" altLang="zh-CN" sz="1400" b="0" i="0" spc="600" dirty="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lang="zh-CN" altLang="en-US" sz="1400" b="0" i="0" spc="600" dirty="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明</a:t>
            </a:r>
            <a:r>
              <a:rPr lang="en-US" altLang="zh-CN" sz="1400" b="0" i="0" spc="600" dirty="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lang="zh-CN" altLang="en-US" sz="1400" b="0" i="0" spc="600" dirty="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理  致</a:t>
            </a:r>
            <a:r>
              <a:rPr lang="en-US" altLang="zh-CN" sz="1400" b="0" i="0" spc="600" dirty="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lang="zh-CN" altLang="en-US" sz="1400" b="0" i="0" spc="600" dirty="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知</a:t>
            </a:r>
            <a:r>
              <a:rPr lang="en-US" altLang="zh-CN" sz="1400" b="0" i="0" spc="600" dirty="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lang="zh-CN" altLang="en-US" sz="1400" b="0" i="0" spc="600" dirty="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笃</a:t>
            </a:r>
            <a:r>
              <a:rPr lang="en-US" altLang="zh-CN" sz="1400" b="0" i="0" spc="600" dirty="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lang="zh-CN" altLang="en-US" sz="1400" b="0" i="0" spc="600" dirty="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行</a:t>
            </a:r>
            <a:endParaRPr lang="en-US" altLang="zh-CN" sz="1400" spc="600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984863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ṩļí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$ľîďe">
            <a:extLst>
              <a:ext uri="{FF2B5EF4-FFF2-40B4-BE49-F238E27FC236}">
                <a16:creationId xmlns:a16="http://schemas.microsoft.com/office/drawing/2014/main" id="{1FB98ECE-4F26-4EF4-B453-16B6677B96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ïṡlíde">
            <a:extLst>
              <a:ext uri="{FF2B5EF4-FFF2-40B4-BE49-F238E27FC236}">
                <a16:creationId xmlns:a16="http://schemas.microsoft.com/office/drawing/2014/main" id="{4A964289-C38E-404E-BF43-A72EC40F26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íṧḻïḋè">
            <a:extLst>
              <a:ext uri="{FF2B5EF4-FFF2-40B4-BE49-F238E27FC236}">
                <a16:creationId xmlns:a16="http://schemas.microsoft.com/office/drawing/2014/main" id="{AF75D027-55A1-43D3-BAF6-A4582BCB65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/>
          </a:p>
        </p:txBody>
      </p:sp>
      <p:grpSp>
        <p:nvGrpSpPr>
          <p:cNvPr id="5" name="iṣlïde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FF23D265-611E-47B2-85D4-8CF728311E4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9925" y="2303993"/>
            <a:ext cx="10848975" cy="2930579"/>
            <a:chOff x="669935" y="2304001"/>
            <a:chExt cx="10848965" cy="2930576"/>
          </a:xfrm>
        </p:grpSpPr>
        <p:grpSp>
          <p:nvGrpSpPr>
            <p:cNvPr id="6" name="îśḻiḋe">
              <a:extLst>
                <a:ext uri="{FF2B5EF4-FFF2-40B4-BE49-F238E27FC236}">
                  <a16:creationId xmlns:a16="http://schemas.microsoft.com/office/drawing/2014/main" id="{56FA9A53-B8FB-44E7-9EA2-B28AC6A8BC5D}"/>
                </a:ext>
              </a:extLst>
            </p:cNvPr>
            <p:cNvGrpSpPr/>
            <p:nvPr/>
          </p:nvGrpSpPr>
          <p:grpSpPr>
            <a:xfrm>
              <a:off x="669935" y="2304001"/>
              <a:ext cx="5963120" cy="2930576"/>
              <a:chOff x="3011298" y="414885"/>
              <a:chExt cx="5646554" cy="2774951"/>
            </a:xfrm>
            <a:solidFill>
              <a:schemeClr val="bg1">
                <a:lumMod val="85000"/>
              </a:schemeClr>
            </a:solidFill>
          </p:grpSpPr>
          <p:sp>
            <p:nvSpPr>
              <p:cNvPr id="33" name="iṩļïḋè">
                <a:extLst>
                  <a:ext uri="{FF2B5EF4-FFF2-40B4-BE49-F238E27FC236}">
                    <a16:creationId xmlns:a16="http://schemas.microsoft.com/office/drawing/2014/main" id="{473AD885-2B1A-402F-960C-840E6E78D504}"/>
                  </a:ext>
                </a:extLst>
              </p:cNvPr>
              <p:cNvSpPr/>
              <p:nvPr/>
            </p:nvSpPr>
            <p:spPr bwMode="auto">
              <a:xfrm>
                <a:off x="6523058" y="505936"/>
                <a:ext cx="42023" cy="22413"/>
              </a:xfrm>
              <a:custGeom>
                <a:avLst/>
                <a:gdLst>
                  <a:gd name="T0" fmla="*/ 10 w 20"/>
                  <a:gd name="T1" fmla="*/ 0 h 11"/>
                  <a:gd name="T2" fmla="*/ 12 w 20"/>
                  <a:gd name="T3" fmla="*/ 2 h 11"/>
                  <a:gd name="T4" fmla="*/ 16 w 20"/>
                  <a:gd name="T5" fmla="*/ 9 h 11"/>
                  <a:gd name="T6" fmla="*/ 6 w 20"/>
                  <a:gd name="T7" fmla="*/ 6 h 11"/>
                  <a:gd name="T8" fmla="*/ 10 w 20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11">
                    <a:moveTo>
                      <a:pt x="10" y="0"/>
                    </a:moveTo>
                    <a:cubicBezTo>
                      <a:pt x="12" y="0"/>
                      <a:pt x="12" y="1"/>
                      <a:pt x="12" y="2"/>
                    </a:cubicBezTo>
                    <a:cubicBezTo>
                      <a:pt x="14" y="5"/>
                      <a:pt x="20" y="5"/>
                      <a:pt x="16" y="9"/>
                    </a:cubicBezTo>
                    <a:cubicBezTo>
                      <a:pt x="10" y="11"/>
                      <a:pt x="13" y="3"/>
                      <a:pt x="6" y="6"/>
                    </a:cubicBezTo>
                    <a:cubicBezTo>
                      <a:pt x="0" y="3"/>
                      <a:pt x="14" y="6"/>
                      <a:pt x="1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34" name="isľîḋe">
                <a:extLst>
                  <a:ext uri="{FF2B5EF4-FFF2-40B4-BE49-F238E27FC236}">
                    <a16:creationId xmlns:a16="http://schemas.microsoft.com/office/drawing/2014/main" id="{720CE438-E9BA-4FEA-AFE4-16DE74A7F560}"/>
                  </a:ext>
                </a:extLst>
              </p:cNvPr>
              <p:cNvSpPr/>
              <p:nvPr/>
            </p:nvSpPr>
            <p:spPr bwMode="auto">
              <a:xfrm>
                <a:off x="7114188" y="505936"/>
                <a:ext cx="81245" cy="42023"/>
              </a:xfrm>
              <a:custGeom>
                <a:avLst/>
                <a:gdLst>
                  <a:gd name="T0" fmla="*/ 37 w 39"/>
                  <a:gd name="T1" fmla="*/ 15 h 20"/>
                  <a:gd name="T2" fmla="*/ 23 w 39"/>
                  <a:gd name="T3" fmla="*/ 19 h 20"/>
                  <a:gd name="T4" fmla="*/ 4 w 39"/>
                  <a:gd name="T5" fmla="*/ 19 h 20"/>
                  <a:gd name="T6" fmla="*/ 0 w 39"/>
                  <a:gd name="T7" fmla="*/ 15 h 20"/>
                  <a:gd name="T8" fmla="*/ 30 w 39"/>
                  <a:gd name="T9" fmla="*/ 0 h 20"/>
                  <a:gd name="T10" fmla="*/ 36 w 39"/>
                  <a:gd name="T11" fmla="*/ 4 h 20"/>
                  <a:gd name="T12" fmla="*/ 32 w 39"/>
                  <a:gd name="T13" fmla="*/ 6 h 20"/>
                  <a:gd name="T14" fmla="*/ 37 w 39"/>
                  <a:gd name="T15" fmla="*/ 15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20">
                    <a:moveTo>
                      <a:pt x="37" y="15"/>
                    </a:moveTo>
                    <a:cubicBezTo>
                      <a:pt x="32" y="16"/>
                      <a:pt x="23" y="13"/>
                      <a:pt x="23" y="19"/>
                    </a:cubicBezTo>
                    <a:cubicBezTo>
                      <a:pt x="19" y="16"/>
                      <a:pt x="12" y="20"/>
                      <a:pt x="4" y="19"/>
                    </a:cubicBezTo>
                    <a:cubicBezTo>
                      <a:pt x="5" y="16"/>
                      <a:pt x="2" y="15"/>
                      <a:pt x="0" y="15"/>
                    </a:cubicBezTo>
                    <a:cubicBezTo>
                      <a:pt x="4" y="4"/>
                      <a:pt x="15" y="0"/>
                      <a:pt x="30" y="0"/>
                    </a:cubicBezTo>
                    <a:cubicBezTo>
                      <a:pt x="28" y="5"/>
                      <a:pt x="34" y="2"/>
                      <a:pt x="36" y="4"/>
                    </a:cubicBezTo>
                    <a:cubicBezTo>
                      <a:pt x="37" y="5"/>
                      <a:pt x="32" y="5"/>
                      <a:pt x="32" y="6"/>
                    </a:cubicBezTo>
                    <a:cubicBezTo>
                      <a:pt x="31" y="8"/>
                      <a:pt x="39" y="7"/>
                      <a:pt x="37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35" name="iSḻïdé">
                <a:extLst>
                  <a:ext uri="{FF2B5EF4-FFF2-40B4-BE49-F238E27FC236}">
                    <a16:creationId xmlns:a16="http://schemas.microsoft.com/office/drawing/2014/main" id="{AAB3B732-F9E0-40A4-8EE3-C4B545D0DE43}"/>
                  </a:ext>
                </a:extLst>
              </p:cNvPr>
              <p:cNvSpPr/>
              <p:nvPr/>
            </p:nvSpPr>
            <p:spPr bwMode="auto">
              <a:xfrm>
                <a:off x="6651930" y="510139"/>
                <a:ext cx="39222" cy="22413"/>
              </a:xfrm>
              <a:custGeom>
                <a:avLst/>
                <a:gdLst>
                  <a:gd name="T0" fmla="*/ 19 w 19"/>
                  <a:gd name="T1" fmla="*/ 2 h 11"/>
                  <a:gd name="T2" fmla="*/ 17 w 19"/>
                  <a:gd name="T3" fmla="*/ 9 h 11"/>
                  <a:gd name="T4" fmla="*/ 10 w 19"/>
                  <a:gd name="T5" fmla="*/ 11 h 11"/>
                  <a:gd name="T6" fmla="*/ 0 w 19"/>
                  <a:gd name="T7" fmla="*/ 6 h 11"/>
                  <a:gd name="T8" fmla="*/ 12 w 19"/>
                  <a:gd name="T9" fmla="*/ 6 h 11"/>
                  <a:gd name="T10" fmla="*/ 19 w 19"/>
                  <a:gd name="T11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11">
                    <a:moveTo>
                      <a:pt x="19" y="2"/>
                    </a:moveTo>
                    <a:cubicBezTo>
                      <a:pt x="18" y="3"/>
                      <a:pt x="17" y="6"/>
                      <a:pt x="17" y="9"/>
                    </a:cubicBezTo>
                    <a:cubicBezTo>
                      <a:pt x="13" y="8"/>
                      <a:pt x="12" y="11"/>
                      <a:pt x="10" y="11"/>
                    </a:cubicBezTo>
                    <a:cubicBezTo>
                      <a:pt x="6" y="9"/>
                      <a:pt x="0" y="11"/>
                      <a:pt x="0" y="6"/>
                    </a:cubicBezTo>
                    <a:cubicBezTo>
                      <a:pt x="6" y="6"/>
                      <a:pt x="8" y="1"/>
                      <a:pt x="12" y="6"/>
                    </a:cubicBezTo>
                    <a:cubicBezTo>
                      <a:pt x="14" y="5"/>
                      <a:pt x="13" y="0"/>
                      <a:pt x="19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36" name="ïşliḍê">
                <a:extLst>
                  <a:ext uri="{FF2B5EF4-FFF2-40B4-BE49-F238E27FC236}">
                    <a16:creationId xmlns:a16="http://schemas.microsoft.com/office/drawing/2014/main" id="{7E400388-1249-440B-8E60-F310B2C97281}"/>
                  </a:ext>
                </a:extLst>
              </p:cNvPr>
              <p:cNvSpPr/>
              <p:nvPr/>
            </p:nvSpPr>
            <p:spPr bwMode="auto">
              <a:xfrm>
                <a:off x="6402591" y="522746"/>
                <a:ext cx="50428" cy="26615"/>
              </a:xfrm>
              <a:custGeom>
                <a:avLst/>
                <a:gdLst>
                  <a:gd name="T0" fmla="*/ 23 w 24"/>
                  <a:gd name="T1" fmla="*/ 0 h 13"/>
                  <a:gd name="T2" fmla="*/ 20 w 24"/>
                  <a:gd name="T3" fmla="*/ 5 h 13"/>
                  <a:gd name="T4" fmla="*/ 14 w 24"/>
                  <a:gd name="T5" fmla="*/ 11 h 13"/>
                  <a:gd name="T6" fmla="*/ 10 w 24"/>
                  <a:gd name="T7" fmla="*/ 7 h 13"/>
                  <a:gd name="T8" fmla="*/ 5 w 24"/>
                  <a:gd name="T9" fmla="*/ 9 h 13"/>
                  <a:gd name="T10" fmla="*/ 1 w 24"/>
                  <a:gd name="T11" fmla="*/ 5 h 13"/>
                  <a:gd name="T12" fmla="*/ 10 w 24"/>
                  <a:gd name="T13" fmla="*/ 3 h 13"/>
                  <a:gd name="T14" fmla="*/ 10 w 24"/>
                  <a:gd name="T15" fmla="*/ 1 h 13"/>
                  <a:gd name="T16" fmla="*/ 23 w 24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13">
                    <a:moveTo>
                      <a:pt x="23" y="0"/>
                    </a:moveTo>
                    <a:cubicBezTo>
                      <a:pt x="24" y="4"/>
                      <a:pt x="20" y="2"/>
                      <a:pt x="20" y="5"/>
                    </a:cubicBezTo>
                    <a:cubicBezTo>
                      <a:pt x="20" y="6"/>
                      <a:pt x="17" y="10"/>
                      <a:pt x="14" y="11"/>
                    </a:cubicBezTo>
                    <a:cubicBezTo>
                      <a:pt x="10" y="13"/>
                      <a:pt x="11" y="7"/>
                      <a:pt x="10" y="7"/>
                    </a:cubicBezTo>
                    <a:cubicBezTo>
                      <a:pt x="10" y="7"/>
                      <a:pt x="7" y="9"/>
                      <a:pt x="5" y="9"/>
                    </a:cubicBezTo>
                    <a:cubicBezTo>
                      <a:pt x="4" y="9"/>
                      <a:pt x="3" y="5"/>
                      <a:pt x="1" y="5"/>
                    </a:cubicBezTo>
                    <a:cubicBezTo>
                      <a:pt x="0" y="0"/>
                      <a:pt x="8" y="5"/>
                      <a:pt x="10" y="3"/>
                    </a:cubicBezTo>
                    <a:cubicBezTo>
                      <a:pt x="11" y="3"/>
                      <a:pt x="10" y="1"/>
                      <a:pt x="10" y="1"/>
                    </a:cubicBezTo>
                    <a:cubicBezTo>
                      <a:pt x="15" y="0"/>
                      <a:pt x="17" y="1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37" name="iš1íďé">
                <a:extLst>
                  <a:ext uri="{FF2B5EF4-FFF2-40B4-BE49-F238E27FC236}">
                    <a16:creationId xmlns:a16="http://schemas.microsoft.com/office/drawing/2014/main" id="{4A247F3C-B509-4468-B31F-24A4A8BE04CD}"/>
                  </a:ext>
                </a:extLst>
              </p:cNvPr>
              <p:cNvSpPr/>
              <p:nvPr/>
            </p:nvSpPr>
            <p:spPr bwMode="auto">
              <a:xfrm>
                <a:off x="6604304" y="518544"/>
                <a:ext cx="42023" cy="14008"/>
              </a:xfrm>
              <a:custGeom>
                <a:avLst/>
                <a:gdLst>
                  <a:gd name="T0" fmla="*/ 18 w 20"/>
                  <a:gd name="T1" fmla="*/ 7 h 7"/>
                  <a:gd name="T2" fmla="*/ 3 w 20"/>
                  <a:gd name="T3" fmla="*/ 7 h 7"/>
                  <a:gd name="T4" fmla="*/ 8 w 20"/>
                  <a:gd name="T5" fmla="*/ 2 h 7"/>
                  <a:gd name="T6" fmla="*/ 18 w 20"/>
                  <a:gd name="T7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7">
                    <a:moveTo>
                      <a:pt x="18" y="7"/>
                    </a:moveTo>
                    <a:cubicBezTo>
                      <a:pt x="13" y="7"/>
                      <a:pt x="8" y="7"/>
                      <a:pt x="3" y="7"/>
                    </a:cubicBezTo>
                    <a:cubicBezTo>
                      <a:pt x="0" y="1"/>
                      <a:pt x="9" y="6"/>
                      <a:pt x="8" y="2"/>
                    </a:cubicBezTo>
                    <a:cubicBezTo>
                      <a:pt x="10" y="5"/>
                      <a:pt x="20" y="0"/>
                      <a:pt x="18" y="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38" name="iṧ1iḋé">
                <a:extLst>
                  <a:ext uri="{FF2B5EF4-FFF2-40B4-BE49-F238E27FC236}">
                    <a16:creationId xmlns:a16="http://schemas.microsoft.com/office/drawing/2014/main" id="{BF992C4F-7598-4095-937D-D46262F08AD7}"/>
                  </a:ext>
                </a:extLst>
              </p:cNvPr>
              <p:cNvSpPr/>
              <p:nvPr/>
            </p:nvSpPr>
            <p:spPr bwMode="auto">
              <a:xfrm>
                <a:off x="6544070" y="536753"/>
                <a:ext cx="50428" cy="18211"/>
              </a:xfrm>
              <a:custGeom>
                <a:avLst/>
                <a:gdLst>
                  <a:gd name="T0" fmla="*/ 17 w 24"/>
                  <a:gd name="T1" fmla="*/ 0 h 9"/>
                  <a:gd name="T2" fmla="*/ 17 w 24"/>
                  <a:gd name="T3" fmla="*/ 7 h 9"/>
                  <a:gd name="T4" fmla="*/ 0 w 24"/>
                  <a:gd name="T5" fmla="*/ 6 h 9"/>
                  <a:gd name="T6" fmla="*/ 17 w 24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9">
                    <a:moveTo>
                      <a:pt x="17" y="0"/>
                    </a:moveTo>
                    <a:cubicBezTo>
                      <a:pt x="24" y="3"/>
                      <a:pt x="17" y="2"/>
                      <a:pt x="17" y="7"/>
                    </a:cubicBezTo>
                    <a:cubicBezTo>
                      <a:pt x="11" y="7"/>
                      <a:pt x="3" y="9"/>
                      <a:pt x="0" y="6"/>
                    </a:cubicBezTo>
                    <a:cubicBezTo>
                      <a:pt x="3" y="1"/>
                      <a:pt x="13" y="4"/>
                      <a:pt x="1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39" name="îṥļíḓe">
                <a:extLst>
                  <a:ext uri="{FF2B5EF4-FFF2-40B4-BE49-F238E27FC236}">
                    <a16:creationId xmlns:a16="http://schemas.microsoft.com/office/drawing/2014/main" id="{642B06B0-53E5-4E76-BC5A-25213FC310B5}"/>
                  </a:ext>
                </a:extLst>
              </p:cNvPr>
              <p:cNvSpPr/>
              <p:nvPr/>
            </p:nvSpPr>
            <p:spPr bwMode="auto">
              <a:xfrm>
                <a:off x="4077293" y="552163"/>
                <a:ext cx="22413" cy="15409"/>
              </a:xfrm>
              <a:custGeom>
                <a:avLst/>
                <a:gdLst>
                  <a:gd name="T0" fmla="*/ 1 w 11"/>
                  <a:gd name="T1" fmla="*/ 0 h 8"/>
                  <a:gd name="T2" fmla="*/ 10 w 11"/>
                  <a:gd name="T3" fmla="*/ 8 h 8"/>
                  <a:gd name="T4" fmla="*/ 1 w 11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8">
                    <a:moveTo>
                      <a:pt x="1" y="0"/>
                    </a:moveTo>
                    <a:cubicBezTo>
                      <a:pt x="6" y="1"/>
                      <a:pt x="11" y="1"/>
                      <a:pt x="10" y="8"/>
                    </a:cubicBezTo>
                    <a:cubicBezTo>
                      <a:pt x="7" y="5"/>
                      <a:pt x="0" y="6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40" name="iṡľiḓe">
                <a:extLst>
                  <a:ext uri="{FF2B5EF4-FFF2-40B4-BE49-F238E27FC236}">
                    <a16:creationId xmlns:a16="http://schemas.microsoft.com/office/drawing/2014/main" id="{96059632-3BBD-4F6F-A8E5-5FA64CBE7805}"/>
                  </a:ext>
                </a:extLst>
              </p:cNvPr>
              <p:cNvSpPr/>
              <p:nvPr/>
            </p:nvSpPr>
            <p:spPr bwMode="auto">
              <a:xfrm>
                <a:off x="7143605" y="549361"/>
                <a:ext cx="89650" cy="46226"/>
              </a:xfrm>
              <a:custGeom>
                <a:avLst/>
                <a:gdLst>
                  <a:gd name="T0" fmla="*/ 38 w 43"/>
                  <a:gd name="T1" fmla="*/ 5 h 22"/>
                  <a:gd name="T2" fmla="*/ 42 w 43"/>
                  <a:gd name="T3" fmla="*/ 15 h 22"/>
                  <a:gd name="T4" fmla="*/ 23 w 43"/>
                  <a:gd name="T5" fmla="*/ 20 h 22"/>
                  <a:gd name="T6" fmla="*/ 20 w 43"/>
                  <a:gd name="T7" fmla="*/ 18 h 22"/>
                  <a:gd name="T8" fmla="*/ 12 w 43"/>
                  <a:gd name="T9" fmla="*/ 18 h 22"/>
                  <a:gd name="T10" fmla="*/ 12 w 43"/>
                  <a:gd name="T11" fmla="*/ 15 h 22"/>
                  <a:gd name="T12" fmla="*/ 7 w 43"/>
                  <a:gd name="T13" fmla="*/ 16 h 22"/>
                  <a:gd name="T14" fmla="*/ 9 w 43"/>
                  <a:gd name="T15" fmla="*/ 13 h 22"/>
                  <a:gd name="T16" fmla="*/ 1 w 43"/>
                  <a:gd name="T17" fmla="*/ 11 h 22"/>
                  <a:gd name="T18" fmla="*/ 5 w 43"/>
                  <a:gd name="T19" fmla="*/ 7 h 22"/>
                  <a:gd name="T20" fmla="*/ 10 w 43"/>
                  <a:gd name="T21" fmla="*/ 3 h 22"/>
                  <a:gd name="T22" fmla="*/ 27 w 43"/>
                  <a:gd name="T23" fmla="*/ 1 h 22"/>
                  <a:gd name="T24" fmla="*/ 27 w 43"/>
                  <a:gd name="T25" fmla="*/ 5 h 22"/>
                  <a:gd name="T26" fmla="*/ 38 w 43"/>
                  <a:gd name="T27" fmla="*/ 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3" h="22">
                    <a:moveTo>
                      <a:pt x="38" y="5"/>
                    </a:moveTo>
                    <a:cubicBezTo>
                      <a:pt x="37" y="11"/>
                      <a:pt x="31" y="15"/>
                      <a:pt x="42" y="15"/>
                    </a:cubicBezTo>
                    <a:cubicBezTo>
                      <a:pt x="43" y="22"/>
                      <a:pt x="31" y="21"/>
                      <a:pt x="23" y="20"/>
                    </a:cubicBezTo>
                    <a:cubicBezTo>
                      <a:pt x="20" y="20"/>
                      <a:pt x="21" y="20"/>
                      <a:pt x="20" y="18"/>
                    </a:cubicBezTo>
                    <a:cubicBezTo>
                      <a:pt x="16" y="15"/>
                      <a:pt x="17" y="21"/>
                      <a:pt x="12" y="18"/>
                    </a:cubicBezTo>
                    <a:cubicBezTo>
                      <a:pt x="12" y="18"/>
                      <a:pt x="13" y="15"/>
                      <a:pt x="12" y="15"/>
                    </a:cubicBezTo>
                    <a:cubicBezTo>
                      <a:pt x="11" y="14"/>
                      <a:pt x="9" y="17"/>
                      <a:pt x="7" y="16"/>
                    </a:cubicBezTo>
                    <a:cubicBezTo>
                      <a:pt x="6" y="16"/>
                      <a:pt x="9" y="13"/>
                      <a:pt x="9" y="13"/>
                    </a:cubicBezTo>
                    <a:cubicBezTo>
                      <a:pt x="7" y="11"/>
                      <a:pt x="0" y="15"/>
                      <a:pt x="1" y="11"/>
                    </a:cubicBezTo>
                    <a:cubicBezTo>
                      <a:pt x="0" y="7"/>
                      <a:pt x="3" y="8"/>
                      <a:pt x="5" y="7"/>
                    </a:cubicBezTo>
                    <a:cubicBezTo>
                      <a:pt x="7" y="5"/>
                      <a:pt x="6" y="4"/>
                      <a:pt x="10" y="3"/>
                    </a:cubicBezTo>
                    <a:cubicBezTo>
                      <a:pt x="12" y="3"/>
                      <a:pt x="20" y="0"/>
                      <a:pt x="27" y="1"/>
                    </a:cubicBezTo>
                    <a:cubicBezTo>
                      <a:pt x="27" y="2"/>
                      <a:pt x="27" y="5"/>
                      <a:pt x="27" y="5"/>
                    </a:cubicBezTo>
                    <a:cubicBezTo>
                      <a:pt x="30" y="7"/>
                      <a:pt x="37" y="3"/>
                      <a:pt x="38" y="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41" name="iš1íḋè">
                <a:extLst>
                  <a:ext uri="{FF2B5EF4-FFF2-40B4-BE49-F238E27FC236}">
                    <a16:creationId xmlns:a16="http://schemas.microsoft.com/office/drawing/2014/main" id="{8A868B55-BD30-4039-8011-5BF04D206B40}"/>
                  </a:ext>
                </a:extLst>
              </p:cNvPr>
              <p:cNvSpPr/>
              <p:nvPr/>
            </p:nvSpPr>
            <p:spPr bwMode="auto">
              <a:xfrm>
                <a:off x="7105784" y="552163"/>
                <a:ext cx="35020" cy="22413"/>
              </a:xfrm>
              <a:custGeom>
                <a:avLst/>
                <a:gdLst>
                  <a:gd name="T0" fmla="*/ 17 w 17"/>
                  <a:gd name="T1" fmla="*/ 6 h 11"/>
                  <a:gd name="T2" fmla="*/ 12 w 17"/>
                  <a:gd name="T3" fmla="*/ 6 h 11"/>
                  <a:gd name="T4" fmla="*/ 10 w 17"/>
                  <a:gd name="T5" fmla="*/ 10 h 11"/>
                  <a:gd name="T6" fmla="*/ 0 w 17"/>
                  <a:gd name="T7" fmla="*/ 6 h 11"/>
                  <a:gd name="T8" fmla="*/ 17 w 17"/>
                  <a:gd name="T9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1">
                    <a:moveTo>
                      <a:pt x="17" y="6"/>
                    </a:moveTo>
                    <a:cubicBezTo>
                      <a:pt x="16" y="9"/>
                      <a:pt x="14" y="6"/>
                      <a:pt x="12" y="6"/>
                    </a:cubicBezTo>
                    <a:cubicBezTo>
                      <a:pt x="10" y="6"/>
                      <a:pt x="10" y="8"/>
                      <a:pt x="10" y="10"/>
                    </a:cubicBezTo>
                    <a:cubicBezTo>
                      <a:pt x="4" y="11"/>
                      <a:pt x="6" y="5"/>
                      <a:pt x="0" y="6"/>
                    </a:cubicBezTo>
                    <a:cubicBezTo>
                      <a:pt x="4" y="0"/>
                      <a:pt x="12" y="4"/>
                      <a:pt x="17" y="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42" name="ïS1îḑè">
                <a:extLst>
                  <a:ext uri="{FF2B5EF4-FFF2-40B4-BE49-F238E27FC236}">
                    <a16:creationId xmlns:a16="http://schemas.microsoft.com/office/drawing/2014/main" id="{F4F62A45-EA5E-4999-B1F4-025CD91E9560}"/>
                  </a:ext>
                </a:extLst>
              </p:cNvPr>
              <p:cNvSpPr/>
              <p:nvPr/>
            </p:nvSpPr>
            <p:spPr bwMode="auto">
              <a:xfrm>
                <a:off x="3997449" y="578777"/>
                <a:ext cx="91051" cy="49028"/>
              </a:xfrm>
              <a:custGeom>
                <a:avLst/>
                <a:gdLst>
                  <a:gd name="T0" fmla="*/ 31 w 44"/>
                  <a:gd name="T1" fmla="*/ 6 h 24"/>
                  <a:gd name="T2" fmla="*/ 37 w 44"/>
                  <a:gd name="T3" fmla="*/ 14 h 24"/>
                  <a:gd name="T4" fmla="*/ 42 w 44"/>
                  <a:gd name="T5" fmla="*/ 23 h 24"/>
                  <a:gd name="T6" fmla="*/ 37 w 44"/>
                  <a:gd name="T7" fmla="*/ 23 h 24"/>
                  <a:gd name="T8" fmla="*/ 37 w 44"/>
                  <a:gd name="T9" fmla="*/ 19 h 24"/>
                  <a:gd name="T10" fmla="*/ 33 w 44"/>
                  <a:gd name="T11" fmla="*/ 17 h 24"/>
                  <a:gd name="T12" fmla="*/ 9 w 44"/>
                  <a:gd name="T13" fmla="*/ 15 h 24"/>
                  <a:gd name="T14" fmla="*/ 15 w 44"/>
                  <a:gd name="T15" fmla="*/ 12 h 24"/>
                  <a:gd name="T16" fmla="*/ 11 w 44"/>
                  <a:gd name="T17" fmla="*/ 8 h 24"/>
                  <a:gd name="T18" fmla="*/ 0 w 44"/>
                  <a:gd name="T19" fmla="*/ 2 h 24"/>
                  <a:gd name="T20" fmla="*/ 15 w 44"/>
                  <a:gd name="T21" fmla="*/ 2 h 24"/>
                  <a:gd name="T22" fmla="*/ 18 w 44"/>
                  <a:gd name="T23" fmla="*/ 6 h 24"/>
                  <a:gd name="T24" fmla="*/ 26 w 44"/>
                  <a:gd name="T25" fmla="*/ 6 h 24"/>
                  <a:gd name="T26" fmla="*/ 31 w 44"/>
                  <a:gd name="T27" fmla="*/ 6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4" h="24">
                    <a:moveTo>
                      <a:pt x="31" y="6"/>
                    </a:moveTo>
                    <a:cubicBezTo>
                      <a:pt x="34" y="8"/>
                      <a:pt x="35" y="11"/>
                      <a:pt x="37" y="14"/>
                    </a:cubicBezTo>
                    <a:cubicBezTo>
                      <a:pt x="39" y="16"/>
                      <a:pt x="44" y="18"/>
                      <a:pt x="42" y="23"/>
                    </a:cubicBezTo>
                    <a:cubicBezTo>
                      <a:pt x="41" y="22"/>
                      <a:pt x="38" y="24"/>
                      <a:pt x="37" y="23"/>
                    </a:cubicBezTo>
                    <a:cubicBezTo>
                      <a:pt x="36" y="22"/>
                      <a:pt x="37" y="20"/>
                      <a:pt x="37" y="19"/>
                    </a:cubicBezTo>
                    <a:cubicBezTo>
                      <a:pt x="36" y="19"/>
                      <a:pt x="32" y="23"/>
                      <a:pt x="33" y="17"/>
                    </a:cubicBezTo>
                    <a:cubicBezTo>
                      <a:pt x="22" y="17"/>
                      <a:pt x="15" y="17"/>
                      <a:pt x="9" y="15"/>
                    </a:cubicBezTo>
                    <a:cubicBezTo>
                      <a:pt x="8" y="11"/>
                      <a:pt x="12" y="12"/>
                      <a:pt x="15" y="12"/>
                    </a:cubicBezTo>
                    <a:cubicBezTo>
                      <a:pt x="14" y="10"/>
                      <a:pt x="11" y="10"/>
                      <a:pt x="11" y="8"/>
                    </a:cubicBezTo>
                    <a:cubicBezTo>
                      <a:pt x="4" y="6"/>
                      <a:pt x="1" y="11"/>
                      <a:pt x="0" y="2"/>
                    </a:cubicBezTo>
                    <a:cubicBezTo>
                      <a:pt x="4" y="0"/>
                      <a:pt x="10" y="1"/>
                      <a:pt x="15" y="2"/>
                    </a:cubicBezTo>
                    <a:cubicBezTo>
                      <a:pt x="17" y="3"/>
                      <a:pt x="18" y="3"/>
                      <a:pt x="18" y="6"/>
                    </a:cubicBezTo>
                    <a:cubicBezTo>
                      <a:pt x="20" y="8"/>
                      <a:pt x="26" y="0"/>
                      <a:pt x="26" y="6"/>
                    </a:cubicBezTo>
                    <a:cubicBezTo>
                      <a:pt x="26" y="8"/>
                      <a:pt x="32" y="9"/>
                      <a:pt x="31" y="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43" name="íṧ1ïḑè">
                <a:extLst>
                  <a:ext uri="{FF2B5EF4-FFF2-40B4-BE49-F238E27FC236}">
                    <a16:creationId xmlns:a16="http://schemas.microsoft.com/office/drawing/2014/main" id="{7A505831-4282-450D-96A3-CB8283D858AB}"/>
                  </a:ext>
                </a:extLst>
              </p:cNvPr>
              <p:cNvSpPr/>
              <p:nvPr/>
            </p:nvSpPr>
            <p:spPr bwMode="auto">
              <a:xfrm>
                <a:off x="7237457" y="578777"/>
                <a:ext cx="88250" cy="44825"/>
              </a:xfrm>
              <a:custGeom>
                <a:avLst/>
                <a:gdLst>
                  <a:gd name="T0" fmla="*/ 18 w 43"/>
                  <a:gd name="T1" fmla="*/ 1 h 22"/>
                  <a:gd name="T2" fmla="*/ 25 w 43"/>
                  <a:gd name="T3" fmla="*/ 6 h 22"/>
                  <a:gd name="T4" fmla="*/ 27 w 43"/>
                  <a:gd name="T5" fmla="*/ 2 h 22"/>
                  <a:gd name="T6" fmla="*/ 31 w 43"/>
                  <a:gd name="T7" fmla="*/ 6 h 22"/>
                  <a:gd name="T8" fmla="*/ 34 w 43"/>
                  <a:gd name="T9" fmla="*/ 6 h 22"/>
                  <a:gd name="T10" fmla="*/ 34 w 43"/>
                  <a:gd name="T11" fmla="*/ 8 h 22"/>
                  <a:gd name="T12" fmla="*/ 42 w 43"/>
                  <a:gd name="T13" fmla="*/ 10 h 22"/>
                  <a:gd name="T14" fmla="*/ 29 w 43"/>
                  <a:gd name="T15" fmla="*/ 14 h 22"/>
                  <a:gd name="T16" fmla="*/ 27 w 43"/>
                  <a:gd name="T17" fmla="*/ 17 h 22"/>
                  <a:gd name="T18" fmla="*/ 10 w 43"/>
                  <a:gd name="T19" fmla="*/ 17 h 22"/>
                  <a:gd name="T20" fmla="*/ 8 w 43"/>
                  <a:gd name="T21" fmla="*/ 21 h 22"/>
                  <a:gd name="T22" fmla="*/ 1 w 43"/>
                  <a:gd name="T23" fmla="*/ 19 h 22"/>
                  <a:gd name="T24" fmla="*/ 1 w 43"/>
                  <a:gd name="T25" fmla="*/ 14 h 22"/>
                  <a:gd name="T26" fmla="*/ 5 w 43"/>
                  <a:gd name="T27" fmla="*/ 14 h 22"/>
                  <a:gd name="T28" fmla="*/ 6 w 43"/>
                  <a:gd name="T29" fmla="*/ 8 h 22"/>
                  <a:gd name="T30" fmla="*/ 10 w 43"/>
                  <a:gd name="T31" fmla="*/ 8 h 22"/>
                  <a:gd name="T32" fmla="*/ 18 w 43"/>
                  <a:gd name="T33" fmla="*/ 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3" h="22">
                    <a:moveTo>
                      <a:pt x="18" y="1"/>
                    </a:moveTo>
                    <a:cubicBezTo>
                      <a:pt x="19" y="4"/>
                      <a:pt x="27" y="0"/>
                      <a:pt x="25" y="6"/>
                    </a:cubicBezTo>
                    <a:cubicBezTo>
                      <a:pt x="27" y="7"/>
                      <a:pt x="27" y="2"/>
                      <a:pt x="27" y="2"/>
                    </a:cubicBezTo>
                    <a:cubicBezTo>
                      <a:pt x="29" y="2"/>
                      <a:pt x="29" y="5"/>
                      <a:pt x="31" y="6"/>
                    </a:cubicBezTo>
                    <a:cubicBezTo>
                      <a:pt x="31" y="7"/>
                      <a:pt x="34" y="5"/>
                      <a:pt x="34" y="6"/>
                    </a:cubicBezTo>
                    <a:cubicBezTo>
                      <a:pt x="35" y="6"/>
                      <a:pt x="34" y="8"/>
                      <a:pt x="34" y="8"/>
                    </a:cubicBezTo>
                    <a:cubicBezTo>
                      <a:pt x="37" y="9"/>
                      <a:pt x="42" y="6"/>
                      <a:pt x="42" y="10"/>
                    </a:cubicBezTo>
                    <a:cubicBezTo>
                      <a:pt x="43" y="17"/>
                      <a:pt x="33" y="12"/>
                      <a:pt x="29" y="14"/>
                    </a:cubicBezTo>
                    <a:cubicBezTo>
                      <a:pt x="27" y="13"/>
                      <a:pt x="28" y="17"/>
                      <a:pt x="27" y="17"/>
                    </a:cubicBezTo>
                    <a:cubicBezTo>
                      <a:pt x="23" y="19"/>
                      <a:pt x="12" y="18"/>
                      <a:pt x="10" y="17"/>
                    </a:cubicBezTo>
                    <a:cubicBezTo>
                      <a:pt x="8" y="17"/>
                      <a:pt x="9" y="20"/>
                      <a:pt x="8" y="21"/>
                    </a:cubicBezTo>
                    <a:cubicBezTo>
                      <a:pt x="4" y="18"/>
                      <a:pt x="5" y="22"/>
                      <a:pt x="1" y="19"/>
                    </a:cubicBezTo>
                    <a:cubicBezTo>
                      <a:pt x="2" y="18"/>
                      <a:pt x="0" y="14"/>
                      <a:pt x="1" y="14"/>
                    </a:cubicBezTo>
                    <a:cubicBezTo>
                      <a:pt x="1" y="13"/>
                      <a:pt x="4" y="14"/>
                      <a:pt x="5" y="14"/>
                    </a:cubicBezTo>
                    <a:cubicBezTo>
                      <a:pt x="6" y="12"/>
                      <a:pt x="5" y="9"/>
                      <a:pt x="6" y="8"/>
                    </a:cubicBezTo>
                    <a:cubicBezTo>
                      <a:pt x="7" y="7"/>
                      <a:pt x="10" y="9"/>
                      <a:pt x="10" y="8"/>
                    </a:cubicBezTo>
                    <a:cubicBezTo>
                      <a:pt x="12" y="5"/>
                      <a:pt x="15" y="4"/>
                      <a:pt x="1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44" name="iSḻíḋé">
                <a:extLst>
                  <a:ext uri="{FF2B5EF4-FFF2-40B4-BE49-F238E27FC236}">
                    <a16:creationId xmlns:a16="http://schemas.microsoft.com/office/drawing/2014/main" id="{1EFA63FD-A020-4E3D-BA58-B7EF2525D293}"/>
                  </a:ext>
                </a:extLst>
              </p:cNvPr>
              <p:cNvSpPr/>
              <p:nvPr/>
            </p:nvSpPr>
            <p:spPr bwMode="auto">
              <a:xfrm>
                <a:off x="3837759" y="612396"/>
                <a:ext cx="16809" cy="26615"/>
              </a:xfrm>
              <a:custGeom>
                <a:avLst/>
                <a:gdLst>
                  <a:gd name="T0" fmla="*/ 8 w 8"/>
                  <a:gd name="T1" fmla="*/ 7 h 13"/>
                  <a:gd name="T2" fmla="*/ 8 w 8"/>
                  <a:gd name="T3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" h="13">
                    <a:moveTo>
                      <a:pt x="8" y="7"/>
                    </a:moveTo>
                    <a:cubicBezTo>
                      <a:pt x="3" y="13"/>
                      <a:pt x="0" y="0"/>
                      <a:pt x="8" y="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45" name="iṩlide">
                <a:extLst>
                  <a:ext uri="{FF2B5EF4-FFF2-40B4-BE49-F238E27FC236}">
                    <a16:creationId xmlns:a16="http://schemas.microsoft.com/office/drawing/2014/main" id="{38F4CFC4-43AC-48E0-B979-314539F266FC}"/>
                  </a:ext>
                </a:extLst>
              </p:cNvPr>
              <p:cNvSpPr/>
              <p:nvPr/>
            </p:nvSpPr>
            <p:spPr bwMode="auto">
              <a:xfrm>
                <a:off x="3872779" y="617999"/>
                <a:ext cx="50428" cy="29417"/>
              </a:xfrm>
              <a:custGeom>
                <a:avLst/>
                <a:gdLst>
                  <a:gd name="T0" fmla="*/ 22 w 24"/>
                  <a:gd name="T1" fmla="*/ 4 h 14"/>
                  <a:gd name="T2" fmla="*/ 6 w 24"/>
                  <a:gd name="T3" fmla="*/ 13 h 14"/>
                  <a:gd name="T4" fmla="*/ 0 w 24"/>
                  <a:gd name="T5" fmla="*/ 8 h 14"/>
                  <a:gd name="T6" fmla="*/ 11 w 24"/>
                  <a:gd name="T7" fmla="*/ 4 h 14"/>
                  <a:gd name="T8" fmla="*/ 22 w 24"/>
                  <a:gd name="T9" fmla="*/ 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14">
                    <a:moveTo>
                      <a:pt x="22" y="4"/>
                    </a:moveTo>
                    <a:cubicBezTo>
                      <a:pt x="24" y="14"/>
                      <a:pt x="10" y="9"/>
                      <a:pt x="6" y="13"/>
                    </a:cubicBezTo>
                    <a:cubicBezTo>
                      <a:pt x="2" y="13"/>
                      <a:pt x="4" y="7"/>
                      <a:pt x="0" y="8"/>
                    </a:cubicBezTo>
                    <a:cubicBezTo>
                      <a:pt x="1" y="2"/>
                      <a:pt x="11" y="9"/>
                      <a:pt x="11" y="4"/>
                    </a:cubicBezTo>
                    <a:cubicBezTo>
                      <a:pt x="11" y="0"/>
                      <a:pt x="16" y="6"/>
                      <a:pt x="22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46" name="í$1ide">
                <a:extLst>
                  <a:ext uri="{FF2B5EF4-FFF2-40B4-BE49-F238E27FC236}">
                    <a16:creationId xmlns:a16="http://schemas.microsoft.com/office/drawing/2014/main" id="{388181A2-8C04-4D31-8A78-403C4379BC8E}"/>
                  </a:ext>
                </a:extLst>
              </p:cNvPr>
              <p:cNvSpPr/>
              <p:nvPr/>
            </p:nvSpPr>
            <p:spPr bwMode="auto">
              <a:xfrm>
                <a:off x="4148733" y="622202"/>
                <a:ext cx="44825" cy="22413"/>
              </a:xfrm>
              <a:custGeom>
                <a:avLst/>
                <a:gdLst>
                  <a:gd name="T0" fmla="*/ 18 w 21"/>
                  <a:gd name="T1" fmla="*/ 4 h 11"/>
                  <a:gd name="T2" fmla="*/ 18 w 21"/>
                  <a:gd name="T3" fmla="*/ 7 h 11"/>
                  <a:gd name="T4" fmla="*/ 12 w 21"/>
                  <a:gd name="T5" fmla="*/ 9 h 11"/>
                  <a:gd name="T6" fmla="*/ 10 w 21"/>
                  <a:gd name="T7" fmla="*/ 11 h 11"/>
                  <a:gd name="T8" fmla="*/ 5 w 21"/>
                  <a:gd name="T9" fmla="*/ 9 h 11"/>
                  <a:gd name="T10" fmla="*/ 3 w 21"/>
                  <a:gd name="T11" fmla="*/ 11 h 11"/>
                  <a:gd name="T12" fmla="*/ 1 w 21"/>
                  <a:gd name="T13" fmla="*/ 9 h 11"/>
                  <a:gd name="T14" fmla="*/ 18 w 21"/>
                  <a:gd name="T15" fmla="*/ 4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11">
                    <a:moveTo>
                      <a:pt x="18" y="4"/>
                    </a:moveTo>
                    <a:cubicBezTo>
                      <a:pt x="21" y="5"/>
                      <a:pt x="19" y="7"/>
                      <a:pt x="18" y="7"/>
                    </a:cubicBezTo>
                    <a:cubicBezTo>
                      <a:pt x="16" y="9"/>
                      <a:pt x="15" y="9"/>
                      <a:pt x="12" y="9"/>
                    </a:cubicBezTo>
                    <a:cubicBezTo>
                      <a:pt x="11" y="10"/>
                      <a:pt x="10" y="11"/>
                      <a:pt x="10" y="11"/>
                    </a:cubicBezTo>
                    <a:cubicBezTo>
                      <a:pt x="9" y="11"/>
                      <a:pt x="7" y="9"/>
                      <a:pt x="5" y="9"/>
                    </a:cubicBezTo>
                    <a:cubicBezTo>
                      <a:pt x="5" y="9"/>
                      <a:pt x="4" y="11"/>
                      <a:pt x="3" y="11"/>
                    </a:cubicBezTo>
                    <a:cubicBezTo>
                      <a:pt x="1" y="11"/>
                      <a:pt x="1" y="11"/>
                      <a:pt x="1" y="9"/>
                    </a:cubicBezTo>
                    <a:cubicBezTo>
                      <a:pt x="0" y="0"/>
                      <a:pt x="17" y="10"/>
                      <a:pt x="18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47" name="îšļïḋe">
                <a:extLst>
                  <a:ext uri="{FF2B5EF4-FFF2-40B4-BE49-F238E27FC236}">
                    <a16:creationId xmlns:a16="http://schemas.microsoft.com/office/drawing/2014/main" id="{4E078E2E-DD2D-45AE-9954-CBFA046A691B}"/>
                  </a:ext>
                </a:extLst>
              </p:cNvPr>
              <p:cNvSpPr/>
              <p:nvPr/>
            </p:nvSpPr>
            <p:spPr bwMode="auto">
              <a:xfrm>
                <a:off x="3984841" y="634808"/>
                <a:ext cx="25214" cy="9806"/>
              </a:xfrm>
              <a:custGeom>
                <a:avLst/>
                <a:gdLst>
                  <a:gd name="T0" fmla="*/ 0 w 12"/>
                  <a:gd name="T1" fmla="*/ 3 h 5"/>
                  <a:gd name="T2" fmla="*/ 9 w 12"/>
                  <a:gd name="T3" fmla="*/ 5 h 5"/>
                  <a:gd name="T4" fmla="*/ 0 w 12"/>
                  <a:gd name="T5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5">
                    <a:moveTo>
                      <a:pt x="0" y="3"/>
                    </a:moveTo>
                    <a:cubicBezTo>
                      <a:pt x="0" y="0"/>
                      <a:pt x="12" y="0"/>
                      <a:pt x="9" y="5"/>
                    </a:cubicBezTo>
                    <a:cubicBezTo>
                      <a:pt x="5" y="3"/>
                      <a:pt x="6" y="5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48" name="îšḻídê">
                <a:extLst>
                  <a:ext uri="{FF2B5EF4-FFF2-40B4-BE49-F238E27FC236}">
                    <a16:creationId xmlns:a16="http://schemas.microsoft.com/office/drawing/2014/main" id="{A2F94B3A-F414-4929-AE00-2EFF039FBC4A}"/>
                  </a:ext>
                </a:extLst>
              </p:cNvPr>
              <p:cNvSpPr/>
              <p:nvPr/>
            </p:nvSpPr>
            <p:spPr bwMode="auto">
              <a:xfrm>
                <a:off x="4228577" y="636209"/>
                <a:ext cx="12607" cy="12607"/>
              </a:xfrm>
              <a:custGeom>
                <a:avLst/>
                <a:gdLst>
                  <a:gd name="T0" fmla="*/ 0 w 6"/>
                  <a:gd name="T1" fmla="*/ 0 h 6"/>
                  <a:gd name="T2" fmla="*/ 6 w 6"/>
                  <a:gd name="T3" fmla="*/ 6 h 6"/>
                  <a:gd name="T4" fmla="*/ 0 w 6"/>
                  <a:gd name="T5" fmla="*/ 6 h 6"/>
                  <a:gd name="T6" fmla="*/ 0 w 6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6">
                    <a:moveTo>
                      <a:pt x="0" y="0"/>
                    </a:moveTo>
                    <a:cubicBezTo>
                      <a:pt x="4" y="0"/>
                      <a:pt x="6" y="2"/>
                      <a:pt x="6" y="6"/>
                    </a:cubicBezTo>
                    <a:cubicBezTo>
                      <a:pt x="4" y="6"/>
                      <a:pt x="2" y="6"/>
                      <a:pt x="0" y="6"/>
                    </a:cubicBezTo>
                    <a:cubicBezTo>
                      <a:pt x="0" y="4"/>
                      <a:pt x="0" y="2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49" name="iśḻidê">
                <a:extLst>
                  <a:ext uri="{FF2B5EF4-FFF2-40B4-BE49-F238E27FC236}">
                    <a16:creationId xmlns:a16="http://schemas.microsoft.com/office/drawing/2014/main" id="{5D20376A-2B09-4FDC-9414-7BC01082E44F}"/>
                  </a:ext>
                </a:extLst>
              </p:cNvPr>
              <p:cNvSpPr/>
              <p:nvPr/>
            </p:nvSpPr>
            <p:spPr bwMode="auto">
              <a:xfrm>
                <a:off x="4124919" y="657221"/>
                <a:ext cx="274553" cy="84047"/>
              </a:xfrm>
              <a:custGeom>
                <a:avLst/>
                <a:gdLst>
                  <a:gd name="T0" fmla="*/ 132 w 132"/>
                  <a:gd name="T1" fmla="*/ 22 h 40"/>
                  <a:gd name="T2" fmla="*/ 132 w 132"/>
                  <a:gd name="T3" fmla="*/ 31 h 40"/>
                  <a:gd name="T4" fmla="*/ 127 w 132"/>
                  <a:gd name="T5" fmla="*/ 35 h 40"/>
                  <a:gd name="T6" fmla="*/ 104 w 132"/>
                  <a:gd name="T7" fmla="*/ 35 h 40"/>
                  <a:gd name="T8" fmla="*/ 97 w 132"/>
                  <a:gd name="T9" fmla="*/ 39 h 40"/>
                  <a:gd name="T10" fmla="*/ 91 w 132"/>
                  <a:gd name="T11" fmla="*/ 37 h 40"/>
                  <a:gd name="T12" fmla="*/ 90 w 132"/>
                  <a:gd name="T13" fmla="*/ 39 h 40"/>
                  <a:gd name="T14" fmla="*/ 82 w 132"/>
                  <a:gd name="T15" fmla="*/ 39 h 40"/>
                  <a:gd name="T16" fmla="*/ 82 w 132"/>
                  <a:gd name="T17" fmla="*/ 37 h 40"/>
                  <a:gd name="T18" fmla="*/ 78 w 132"/>
                  <a:gd name="T19" fmla="*/ 39 h 40"/>
                  <a:gd name="T20" fmla="*/ 71 w 132"/>
                  <a:gd name="T21" fmla="*/ 35 h 40"/>
                  <a:gd name="T22" fmla="*/ 43 w 132"/>
                  <a:gd name="T23" fmla="*/ 35 h 40"/>
                  <a:gd name="T24" fmla="*/ 45 w 132"/>
                  <a:gd name="T25" fmla="*/ 31 h 40"/>
                  <a:gd name="T26" fmla="*/ 41 w 132"/>
                  <a:gd name="T27" fmla="*/ 30 h 40"/>
                  <a:gd name="T28" fmla="*/ 37 w 132"/>
                  <a:gd name="T29" fmla="*/ 22 h 40"/>
                  <a:gd name="T30" fmla="*/ 41 w 132"/>
                  <a:gd name="T31" fmla="*/ 18 h 40"/>
                  <a:gd name="T32" fmla="*/ 37 w 132"/>
                  <a:gd name="T33" fmla="*/ 11 h 40"/>
                  <a:gd name="T34" fmla="*/ 21 w 132"/>
                  <a:gd name="T35" fmla="*/ 13 h 40"/>
                  <a:gd name="T36" fmla="*/ 17 w 132"/>
                  <a:gd name="T37" fmla="*/ 9 h 40"/>
                  <a:gd name="T38" fmla="*/ 13 w 132"/>
                  <a:gd name="T39" fmla="*/ 7 h 40"/>
                  <a:gd name="T40" fmla="*/ 6 w 132"/>
                  <a:gd name="T41" fmla="*/ 9 h 40"/>
                  <a:gd name="T42" fmla="*/ 2 w 132"/>
                  <a:gd name="T43" fmla="*/ 2 h 40"/>
                  <a:gd name="T44" fmla="*/ 22 w 132"/>
                  <a:gd name="T45" fmla="*/ 0 h 40"/>
                  <a:gd name="T46" fmla="*/ 26 w 132"/>
                  <a:gd name="T47" fmla="*/ 2 h 40"/>
                  <a:gd name="T48" fmla="*/ 26 w 132"/>
                  <a:gd name="T49" fmla="*/ 5 h 40"/>
                  <a:gd name="T50" fmla="*/ 32 w 132"/>
                  <a:gd name="T51" fmla="*/ 9 h 40"/>
                  <a:gd name="T52" fmla="*/ 49 w 132"/>
                  <a:gd name="T53" fmla="*/ 9 h 40"/>
                  <a:gd name="T54" fmla="*/ 49 w 132"/>
                  <a:gd name="T55" fmla="*/ 18 h 40"/>
                  <a:gd name="T56" fmla="*/ 62 w 132"/>
                  <a:gd name="T57" fmla="*/ 20 h 40"/>
                  <a:gd name="T58" fmla="*/ 62 w 132"/>
                  <a:gd name="T59" fmla="*/ 24 h 40"/>
                  <a:gd name="T60" fmla="*/ 65 w 132"/>
                  <a:gd name="T61" fmla="*/ 22 h 40"/>
                  <a:gd name="T62" fmla="*/ 88 w 132"/>
                  <a:gd name="T63" fmla="*/ 22 h 40"/>
                  <a:gd name="T64" fmla="*/ 91 w 132"/>
                  <a:gd name="T65" fmla="*/ 24 h 40"/>
                  <a:gd name="T66" fmla="*/ 97 w 132"/>
                  <a:gd name="T67" fmla="*/ 20 h 40"/>
                  <a:gd name="T68" fmla="*/ 103 w 132"/>
                  <a:gd name="T69" fmla="*/ 20 h 40"/>
                  <a:gd name="T70" fmla="*/ 132 w 132"/>
                  <a:gd name="T71" fmla="*/ 2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32" h="40">
                    <a:moveTo>
                      <a:pt x="132" y="22"/>
                    </a:moveTo>
                    <a:cubicBezTo>
                      <a:pt x="132" y="25"/>
                      <a:pt x="132" y="28"/>
                      <a:pt x="132" y="31"/>
                    </a:cubicBezTo>
                    <a:cubicBezTo>
                      <a:pt x="129" y="31"/>
                      <a:pt x="128" y="33"/>
                      <a:pt x="127" y="35"/>
                    </a:cubicBezTo>
                    <a:cubicBezTo>
                      <a:pt x="118" y="36"/>
                      <a:pt x="111" y="35"/>
                      <a:pt x="104" y="35"/>
                    </a:cubicBezTo>
                    <a:cubicBezTo>
                      <a:pt x="102" y="35"/>
                      <a:pt x="99" y="38"/>
                      <a:pt x="97" y="39"/>
                    </a:cubicBezTo>
                    <a:cubicBezTo>
                      <a:pt x="94" y="40"/>
                      <a:pt x="94" y="37"/>
                      <a:pt x="91" y="37"/>
                    </a:cubicBezTo>
                    <a:cubicBezTo>
                      <a:pt x="92" y="37"/>
                      <a:pt x="90" y="39"/>
                      <a:pt x="90" y="39"/>
                    </a:cubicBezTo>
                    <a:cubicBezTo>
                      <a:pt x="89" y="39"/>
                      <a:pt x="82" y="39"/>
                      <a:pt x="82" y="39"/>
                    </a:cubicBezTo>
                    <a:cubicBezTo>
                      <a:pt x="82" y="39"/>
                      <a:pt x="82" y="37"/>
                      <a:pt x="82" y="37"/>
                    </a:cubicBezTo>
                    <a:cubicBezTo>
                      <a:pt x="80" y="37"/>
                      <a:pt x="78" y="39"/>
                      <a:pt x="78" y="39"/>
                    </a:cubicBezTo>
                    <a:cubicBezTo>
                      <a:pt x="74" y="38"/>
                      <a:pt x="74" y="35"/>
                      <a:pt x="71" y="35"/>
                    </a:cubicBezTo>
                    <a:cubicBezTo>
                      <a:pt x="63" y="35"/>
                      <a:pt x="54" y="40"/>
                      <a:pt x="43" y="35"/>
                    </a:cubicBezTo>
                    <a:cubicBezTo>
                      <a:pt x="43" y="34"/>
                      <a:pt x="45" y="33"/>
                      <a:pt x="45" y="31"/>
                    </a:cubicBezTo>
                    <a:cubicBezTo>
                      <a:pt x="44" y="29"/>
                      <a:pt x="42" y="31"/>
                      <a:pt x="41" y="30"/>
                    </a:cubicBezTo>
                    <a:cubicBezTo>
                      <a:pt x="39" y="27"/>
                      <a:pt x="41" y="23"/>
                      <a:pt x="37" y="22"/>
                    </a:cubicBezTo>
                    <a:cubicBezTo>
                      <a:pt x="38" y="20"/>
                      <a:pt x="41" y="21"/>
                      <a:pt x="41" y="18"/>
                    </a:cubicBezTo>
                    <a:cubicBezTo>
                      <a:pt x="41" y="15"/>
                      <a:pt x="36" y="16"/>
                      <a:pt x="37" y="11"/>
                    </a:cubicBezTo>
                    <a:cubicBezTo>
                      <a:pt x="34" y="14"/>
                      <a:pt x="26" y="12"/>
                      <a:pt x="21" y="13"/>
                    </a:cubicBezTo>
                    <a:cubicBezTo>
                      <a:pt x="17" y="14"/>
                      <a:pt x="18" y="10"/>
                      <a:pt x="17" y="9"/>
                    </a:cubicBezTo>
                    <a:cubicBezTo>
                      <a:pt x="16" y="8"/>
                      <a:pt x="13" y="10"/>
                      <a:pt x="13" y="7"/>
                    </a:cubicBezTo>
                    <a:cubicBezTo>
                      <a:pt x="11" y="9"/>
                      <a:pt x="9" y="9"/>
                      <a:pt x="6" y="9"/>
                    </a:cubicBezTo>
                    <a:cubicBezTo>
                      <a:pt x="12" y="3"/>
                      <a:pt x="0" y="8"/>
                      <a:pt x="2" y="2"/>
                    </a:cubicBezTo>
                    <a:cubicBezTo>
                      <a:pt x="10" y="3"/>
                      <a:pt x="16" y="1"/>
                      <a:pt x="22" y="0"/>
                    </a:cubicBezTo>
                    <a:cubicBezTo>
                      <a:pt x="22" y="2"/>
                      <a:pt x="26" y="1"/>
                      <a:pt x="26" y="2"/>
                    </a:cubicBezTo>
                    <a:cubicBezTo>
                      <a:pt x="27" y="2"/>
                      <a:pt x="26" y="5"/>
                      <a:pt x="26" y="5"/>
                    </a:cubicBezTo>
                    <a:cubicBezTo>
                      <a:pt x="28" y="7"/>
                      <a:pt x="33" y="4"/>
                      <a:pt x="32" y="9"/>
                    </a:cubicBezTo>
                    <a:cubicBezTo>
                      <a:pt x="37" y="4"/>
                      <a:pt x="42" y="10"/>
                      <a:pt x="49" y="9"/>
                    </a:cubicBezTo>
                    <a:cubicBezTo>
                      <a:pt x="47" y="15"/>
                      <a:pt x="52" y="15"/>
                      <a:pt x="49" y="18"/>
                    </a:cubicBezTo>
                    <a:cubicBezTo>
                      <a:pt x="52" y="19"/>
                      <a:pt x="57" y="18"/>
                      <a:pt x="62" y="20"/>
                    </a:cubicBezTo>
                    <a:cubicBezTo>
                      <a:pt x="63" y="21"/>
                      <a:pt x="53" y="25"/>
                      <a:pt x="62" y="24"/>
                    </a:cubicBezTo>
                    <a:cubicBezTo>
                      <a:pt x="63" y="24"/>
                      <a:pt x="63" y="22"/>
                      <a:pt x="65" y="22"/>
                    </a:cubicBezTo>
                    <a:cubicBezTo>
                      <a:pt x="71" y="22"/>
                      <a:pt x="80" y="21"/>
                      <a:pt x="88" y="22"/>
                    </a:cubicBezTo>
                    <a:cubicBezTo>
                      <a:pt x="89" y="22"/>
                      <a:pt x="92" y="24"/>
                      <a:pt x="91" y="24"/>
                    </a:cubicBezTo>
                    <a:cubicBezTo>
                      <a:pt x="96" y="24"/>
                      <a:pt x="88" y="21"/>
                      <a:pt x="97" y="20"/>
                    </a:cubicBezTo>
                    <a:cubicBezTo>
                      <a:pt x="99" y="20"/>
                      <a:pt x="101" y="21"/>
                      <a:pt x="103" y="20"/>
                    </a:cubicBezTo>
                    <a:cubicBezTo>
                      <a:pt x="110" y="19"/>
                      <a:pt x="122" y="19"/>
                      <a:pt x="132" y="2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50" name="işļíḋê">
                <a:extLst>
                  <a:ext uri="{FF2B5EF4-FFF2-40B4-BE49-F238E27FC236}">
                    <a16:creationId xmlns:a16="http://schemas.microsoft.com/office/drawing/2014/main" id="{6AB7A044-083E-46E4-AB41-713025F5F4DE}"/>
                  </a:ext>
                </a:extLst>
              </p:cNvPr>
              <p:cNvSpPr/>
              <p:nvPr/>
            </p:nvSpPr>
            <p:spPr bwMode="auto">
              <a:xfrm>
                <a:off x="6475432" y="655820"/>
                <a:ext cx="278756" cy="198911"/>
              </a:xfrm>
              <a:custGeom>
                <a:avLst/>
                <a:gdLst>
                  <a:gd name="T0" fmla="*/ 110 w 134"/>
                  <a:gd name="T1" fmla="*/ 3 h 96"/>
                  <a:gd name="T2" fmla="*/ 132 w 134"/>
                  <a:gd name="T3" fmla="*/ 1 h 96"/>
                  <a:gd name="T4" fmla="*/ 130 w 134"/>
                  <a:gd name="T5" fmla="*/ 10 h 96"/>
                  <a:gd name="T6" fmla="*/ 106 w 134"/>
                  <a:gd name="T7" fmla="*/ 14 h 96"/>
                  <a:gd name="T8" fmla="*/ 102 w 134"/>
                  <a:gd name="T9" fmla="*/ 18 h 96"/>
                  <a:gd name="T10" fmla="*/ 98 w 134"/>
                  <a:gd name="T11" fmla="*/ 18 h 96"/>
                  <a:gd name="T12" fmla="*/ 95 w 134"/>
                  <a:gd name="T13" fmla="*/ 21 h 96"/>
                  <a:gd name="T14" fmla="*/ 91 w 134"/>
                  <a:gd name="T15" fmla="*/ 19 h 96"/>
                  <a:gd name="T16" fmla="*/ 83 w 134"/>
                  <a:gd name="T17" fmla="*/ 21 h 96"/>
                  <a:gd name="T18" fmla="*/ 76 w 134"/>
                  <a:gd name="T19" fmla="*/ 23 h 96"/>
                  <a:gd name="T20" fmla="*/ 74 w 134"/>
                  <a:gd name="T21" fmla="*/ 27 h 96"/>
                  <a:gd name="T22" fmla="*/ 65 w 134"/>
                  <a:gd name="T23" fmla="*/ 32 h 96"/>
                  <a:gd name="T24" fmla="*/ 59 w 134"/>
                  <a:gd name="T25" fmla="*/ 36 h 96"/>
                  <a:gd name="T26" fmla="*/ 56 w 134"/>
                  <a:gd name="T27" fmla="*/ 40 h 96"/>
                  <a:gd name="T28" fmla="*/ 54 w 134"/>
                  <a:gd name="T29" fmla="*/ 44 h 96"/>
                  <a:gd name="T30" fmla="*/ 44 w 134"/>
                  <a:gd name="T31" fmla="*/ 47 h 96"/>
                  <a:gd name="T32" fmla="*/ 43 w 134"/>
                  <a:gd name="T33" fmla="*/ 49 h 96"/>
                  <a:gd name="T34" fmla="*/ 35 w 134"/>
                  <a:gd name="T35" fmla="*/ 53 h 96"/>
                  <a:gd name="T36" fmla="*/ 31 w 134"/>
                  <a:gd name="T37" fmla="*/ 60 h 96"/>
                  <a:gd name="T38" fmla="*/ 33 w 134"/>
                  <a:gd name="T39" fmla="*/ 72 h 96"/>
                  <a:gd name="T40" fmla="*/ 28 w 134"/>
                  <a:gd name="T41" fmla="*/ 75 h 96"/>
                  <a:gd name="T42" fmla="*/ 31 w 134"/>
                  <a:gd name="T43" fmla="*/ 83 h 96"/>
                  <a:gd name="T44" fmla="*/ 29 w 134"/>
                  <a:gd name="T45" fmla="*/ 85 h 96"/>
                  <a:gd name="T46" fmla="*/ 31 w 134"/>
                  <a:gd name="T47" fmla="*/ 87 h 96"/>
                  <a:gd name="T48" fmla="*/ 33 w 134"/>
                  <a:gd name="T49" fmla="*/ 85 h 96"/>
                  <a:gd name="T50" fmla="*/ 39 w 134"/>
                  <a:gd name="T51" fmla="*/ 88 h 96"/>
                  <a:gd name="T52" fmla="*/ 37 w 134"/>
                  <a:gd name="T53" fmla="*/ 96 h 96"/>
                  <a:gd name="T54" fmla="*/ 20 w 134"/>
                  <a:gd name="T55" fmla="*/ 96 h 96"/>
                  <a:gd name="T56" fmla="*/ 22 w 134"/>
                  <a:gd name="T57" fmla="*/ 92 h 96"/>
                  <a:gd name="T58" fmla="*/ 16 w 134"/>
                  <a:gd name="T59" fmla="*/ 90 h 96"/>
                  <a:gd name="T60" fmla="*/ 13 w 134"/>
                  <a:gd name="T61" fmla="*/ 87 h 96"/>
                  <a:gd name="T62" fmla="*/ 9 w 134"/>
                  <a:gd name="T63" fmla="*/ 87 h 96"/>
                  <a:gd name="T64" fmla="*/ 3 w 134"/>
                  <a:gd name="T65" fmla="*/ 87 h 96"/>
                  <a:gd name="T66" fmla="*/ 2 w 134"/>
                  <a:gd name="T67" fmla="*/ 73 h 96"/>
                  <a:gd name="T68" fmla="*/ 11 w 134"/>
                  <a:gd name="T69" fmla="*/ 70 h 96"/>
                  <a:gd name="T70" fmla="*/ 9 w 134"/>
                  <a:gd name="T71" fmla="*/ 68 h 96"/>
                  <a:gd name="T72" fmla="*/ 11 w 134"/>
                  <a:gd name="T73" fmla="*/ 64 h 96"/>
                  <a:gd name="T74" fmla="*/ 20 w 134"/>
                  <a:gd name="T75" fmla="*/ 60 h 96"/>
                  <a:gd name="T76" fmla="*/ 20 w 134"/>
                  <a:gd name="T77" fmla="*/ 53 h 96"/>
                  <a:gd name="T78" fmla="*/ 26 w 134"/>
                  <a:gd name="T79" fmla="*/ 51 h 96"/>
                  <a:gd name="T80" fmla="*/ 29 w 134"/>
                  <a:gd name="T81" fmla="*/ 46 h 96"/>
                  <a:gd name="T82" fmla="*/ 29 w 134"/>
                  <a:gd name="T83" fmla="*/ 36 h 96"/>
                  <a:gd name="T84" fmla="*/ 44 w 134"/>
                  <a:gd name="T85" fmla="*/ 31 h 96"/>
                  <a:gd name="T86" fmla="*/ 46 w 134"/>
                  <a:gd name="T87" fmla="*/ 27 h 96"/>
                  <a:gd name="T88" fmla="*/ 48 w 134"/>
                  <a:gd name="T89" fmla="*/ 29 h 96"/>
                  <a:gd name="T90" fmla="*/ 52 w 134"/>
                  <a:gd name="T91" fmla="*/ 25 h 96"/>
                  <a:gd name="T92" fmla="*/ 54 w 134"/>
                  <a:gd name="T93" fmla="*/ 21 h 96"/>
                  <a:gd name="T94" fmla="*/ 63 w 134"/>
                  <a:gd name="T95" fmla="*/ 19 h 96"/>
                  <a:gd name="T96" fmla="*/ 74 w 134"/>
                  <a:gd name="T97" fmla="*/ 18 h 96"/>
                  <a:gd name="T98" fmla="*/ 76 w 134"/>
                  <a:gd name="T99" fmla="*/ 16 h 96"/>
                  <a:gd name="T100" fmla="*/ 80 w 134"/>
                  <a:gd name="T101" fmla="*/ 18 h 96"/>
                  <a:gd name="T102" fmla="*/ 82 w 134"/>
                  <a:gd name="T103" fmla="*/ 14 h 96"/>
                  <a:gd name="T104" fmla="*/ 83 w 134"/>
                  <a:gd name="T105" fmla="*/ 14 h 96"/>
                  <a:gd name="T106" fmla="*/ 97 w 134"/>
                  <a:gd name="T107" fmla="*/ 12 h 96"/>
                  <a:gd name="T108" fmla="*/ 100 w 134"/>
                  <a:gd name="T109" fmla="*/ 10 h 96"/>
                  <a:gd name="T110" fmla="*/ 102 w 134"/>
                  <a:gd name="T111" fmla="*/ 8 h 96"/>
                  <a:gd name="T112" fmla="*/ 110 w 134"/>
                  <a:gd name="T113" fmla="*/ 3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34" h="96">
                    <a:moveTo>
                      <a:pt x="110" y="3"/>
                    </a:moveTo>
                    <a:cubicBezTo>
                      <a:pt x="116" y="7"/>
                      <a:pt x="124" y="0"/>
                      <a:pt x="132" y="1"/>
                    </a:cubicBezTo>
                    <a:cubicBezTo>
                      <a:pt x="134" y="6"/>
                      <a:pt x="129" y="6"/>
                      <a:pt x="130" y="10"/>
                    </a:cubicBezTo>
                    <a:cubicBezTo>
                      <a:pt x="124" y="7"/>
                      <a:pt x="114" y="13"/>
                      <a:pt x="106" y="14"/>
                    </a:cubicBezTo>
                    <a:cubicBezTo>
                      <a:pt x="104" y="14"/>
                      <a:pt x="103" y="17"/>
                      <a:pt x="102" y="18"/>
                    </a:cubicBezTo>
                    <a:cubicBezTo>
                      <a:pt x="101" y="18"/>
                      <a:pt x="99" y="17"/>
                      <a:pt x="98" y="18"/>
                    </a:cubicBezTo>
                    <a:cubicBezTo>
                      <a:pt x="98" y="18"/>
                      <a:pt x="95" y="21"/>
                      <a:pt x="95" y="21"/>
                    </a:cubicBezTo>
                    <a:cubicBezTo>
                      <a:pt x="93" y="22"/>
                      <a:pt x="93" y="19"/>
                      <a:pt x="91" y="19"/>
                    </a:cubicBezTo>
                    <a:cubicBezTo>
                      <a:pt x="89" y="20"/>
                      <a:pt x="86" y="21"/>
                      <a:pt x="83" y="21"/>
                    </a:cubicBezTo>
                    <a:cubicBezTo>
                      <a:pt x="82" y="22"/>
                      <a:pt x="78" y="22"/>
                      <a:pt x="76" y="23"/>
                    </a:cubicBezTo>
                    <a:cubicBezTo>
                      <a:pt x="74" y="24"/>
                      <a:pt x="76" y="26"/>
                      <a:pt x="74" y="27"/>
                    </a:cubicBezTo>
                    <a:cubicBezTo>
                      <a:pt x="73" y="28"/>
                      <a:pt x="65" y="27"/>
                      <a:pt x="65" y="32"/>
                    </a:cubicBezTo>
                    <a:cubicBezTo>
                      <a:pt x="65" y="34"/>
                      <a:pt x="61" y="35"/>
                      <a:pt x="59" y="36"/>
                    </a:cubicBezTo>
                    <a:cubicBezTo>
                      <a:pt x="58" y="37"/>
                      <a:pt x="56" y="39"/>
                      <a:pt x="56" y="40"/>
                    </a:cubicBezTo>
                    <a:cubicBezTo>
                      <a:pt x="55" y="41"/>
                      <a:pt x="53" y="42"/>
                      <a:pt x="54" y="44"/>
                    </a:cubicBezTo>
                    <a:cubicBezTo>
                      <a:pt x="48" y="46"/>
                      <a:pt x="48" y="42"/>
                      <a:pt x="44" y="47"/>
                    </a:cubicBezTo>
                    <a:cubicBezTo>
                      <a:pt x="44" y="48"/>
                      <a:pt x="43" y="47"/>
                      <a:pt x="43" y="49"/>
                    </a:cubicBezTo>
                    <a:cubicBezTo>
                      <a:pt x="42" y="52"/>
                      <a:pt x="38" y="51"/>
                      <a:pt x="35" y="53"/>
                    </a:cubicBezTo>
                    <a:cubicBezTo>
                      <a:pt x="35" y="56"/>
                      <a:pt x="37" y="62"/>
                      <a:pt x="31" y="60"/>
                    </a:cubicBezTo>
                    <a:cubicBezTo>
                      <a:pt x="32" y="64"/>
                      <a:pt x="29" y="71"/>
                      <a:pt x="33" y="72"/>
                    </a:cubicBezTo>
                    <a:cubicBezTo>
                      <a:pt x="32" y="73"/>
                      <a:pt x="30" y="74"/>
                      <a:pt x="28" y="75"/>
                    </a:cubicBezTo>
                    <a:cubicBezTo>
                      <a:pt x="25" y="80"/>
                      <a:pt x="32" y="79"/>
                      <a:pt x="31" y="83"/>
                    </a:cubicBezTo>
                    <a:cubicBezTo>
                      <a:pt x="31" y="83"/>
                      <a:pt x="28" y="83"/>
                      <a:pt x="29" y="85"/>
                    </a:cubicBezTo>
                    <a:cubicBezTo>
                      <a:pt x="29" y="84"/>
                      <a:pt x="33" y="87"/>
                      <a:pt x="31" y="87"/>
                    </a:cubicBezTo>
                    <a:cubicBezTo>
                      <a:pt x="33" y="87"/>
                      <a:pt x="34" y="85"/>
                      <a:pt x="33" y="85"/>
                    </a:cubicBezTo>
                    <a:cubicBezTo>
                      <a:pt x="35" y="86"/>
                      <a:pt x="35" y="89"/>
                      <a:pt x="39" y="88"/>
                    </a:cubicBezTo>
                    <a:cubicBezTo>
                      <a:pt x="39" y="92"/>
                      <a:pt x="36" y="92"/>
                      <a:pt x="37" y="96"/>
                    </a:cubicBezTo>
                    <a:cubicBezTo>
                      <a:pt x="31" y="96"/>
                      <a:pt x="26" y="96"/>
                      <a:pt x="20" y="96"/>
                    </a:cubicBezTo>
                    <a:cubicBezTo>
                      <a:pt x="20" y="95"/>
                      <a:pt x="23" y="93"/>
                      <a:pt x="22" y="92"/>
                    </a:cubicBezTo>
                    <a:cubicBezTo>
                      <a:pt x="21" y="90"/>
                      <a:pt x="18" y="91"/>
                      <a:pt x="16" y="90"/>
                    </a:cubicBezTo>
                    <a:cubicBezTo>
                      <a:pt x="15" y="90"/>
                      <a:pt x="14" y="87"/>
                      <a:pt x="13" y="87"/>
                    </a:cubicBezTo>
                    <a:cubicBezTo>
                      <a:pt x="12" y="86"/>
                      <a:pt x="9" y="87"/>
                      <a:pt x="9" y="87"/>
                    </a:cubicBezTo>
                    <a:cubicBezTo>
                      <a:pt x="7" y="84"/>
                      <a:pt x="7" y="87"/>
                      <a:pt x="3" y="87"/>
                    </a:cubicBezTo>
                    <a:cubicBezTo>
                      <a:pt x="3" y="82"/>
                      <a:pt x="0" y="80"/>
                      <a:pt x="2" y="73"/>
                    </a:cubicBezTo>
                    <a:cubicBezTo>
                      <a:pt x="7" y="80"/>
                      <a:pt x="2" y="66"/>
                      <a:pt x="11" y="70"/>
                    </a:cubicBezTo>
                    <a:cubicBezTo>
                      <a:pt x="12" y="68"/>
                      <a:pt x="9" y="68"/>
                      <a:pt x="9" y="68"/>
                    </a:cubicBezTo>
                    <a:cubicBezTo>
                      <a:pt x="9" y="66"/>
                      <a:pt x="15" y="65"/>
                      <a:pt x="11" y="64"/>
                    </a:cubicBezTo>
                    <a:cubicBezTo>
                      <a:pt x="12" y="61"/>
                      <a:pt x="17" y="61"/>
                      <a:pt x="20" y="60"/>
                    </a:cubicBezTo>
                    <a:cubicBezTo>
                      <a:pt x="18" y="57"/>
                      <a:pt x="26" y="54"/>
                      <a:pt x="20" y="53"/>
                    </a:cubicBezTo>
                    <a:cubicBezTo>
                      <a:pt x="20" y="51"/>
                      <a:pt x="24" y="51"/>
                      <a:pt x="26" y="51"/>
                    </a:cubicBezTo>
                    <a:cubicBezTo>
                      <a:pt x="26" y="48"/>
                      <a:pt x="27" y="46"/>
                      <a:pt x="29" y="46"/>
                    </a:cubicBezTo>
                    <a:cubicBezTo>
                      <a:pt x="26" y="42"/>
                      <a:pt x="31" y="42"/>
                      <a:pt x="29" y="36"/>
                    </a:cubicBezTo>
                    <a:cubicBezTo>
                      <a:pt x="37" y="37"/>
                      <a:pt x="39" y="32"/>
                      <a:pt x="44" y="31"/>
                    </a:cubicBezTo>
                    <a:cubicBezTo>
                      <a:pt x="47" y="31"/>
                      <a:pt x="45" y="27"/>
                      <a:pt x="46" y="27"/>
                    </a:cubicBezTo>
                    <a:cubicBezTo>
                      <a:pt x="47" y="26"/>
                      <a:pt x="49" y="28"/>
                      <a:pt x="48" y="29"/>
                    </a:cubicBezTo>
                    <a:cubicBezTo>
                      <a:pt x="49" y="28"/>
                      <a:pt x="51" y="26"/>
                      <a:pt x="52" y="25"/>
                    </a:cubicBezTo>
                    <a:cubicBezTo>
                      <a:pt x="53" y="24"/>
                      <a:pt x="54" y="23"/>
                      <a:pt x="54" y="21"/>
                    </a:cubicBezTo>
                    <a:cubicBezTo>
                      <a:pt x="57" y="22"/>
                      <a:pt x="60" y="21"/>
                      <a:pt x="63" y="19"/>
                    </a:cubicBezTo>
                    <a:cubicBezTo>
                      <a:pt x="66" y="18"/>
                      <a:pt x="68" y="19"/>
                      <a:pt x="74" y="18"/>
                    </a:cubicBezTo>
                    <a:cubicBezTo>
                      <a:pt x="76" y="17"/>
                      <a:pt x="75" y="16"/>
                      <a:pt x="76" y="16"/>
                    </a:cubicBezTo>
                    <a:cubicBezTo>
                      <a:pt x="78" y="15"/>
                      <a:pt x="80" y="18"/>
                      <a:pt x="80" y="18"/>
                    </a:cubicBezTo>
                    <a:cubicBezTo>
                      <a:pt x="83" y="17"/>
                      <a:pt x="78" y="14"/>
                      <a:pt x="82" y="14"/>
                    </a:cubicBezTo>
                    <a:cubicBezTo>
                      <a:pt x="82" y="14"/>
                      <a:pt x="83" y="14"/>
                      <a:pt x="83" y="14"/>
                    </a:cubicBezTo>
                    <a:cubicBezTo>
                      <a:pt x="85" y="13"/>
                      <a:pt x="91" y="13"/>
                      <a:pt x="97" y="12"/>
                    </a:cubicBezTo>
                    <a:cubicBezTo>
                      <a:pt x="100" y="11"/>
                      <a:pt x="99" y="12"/>
                      <a:pt x="100" y="10"/>
                    </a:cubicBezTo>
                    <a:cubicBezTo>
                      <a:pt x="100" y="10"/>
                      <a:pt x="102" y="8"/>
                      <a:pt x="102" y="8"/>
                    </a:cubicBezTo>
                    <a:cubicBezTo>
                      <a:pt x="107" y="6"/>
                      <a:pt x="110" y="12"/>
                      <a:pt x="110" y="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475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51" name="iŝḻïḋè">
                <a:extLst>
                  <a:ext uri="{FF2B5EF4-FFF2-40B4-BE49-F238E27FC236}">
                    <a16:creationId xmlns:a16="http://schemas.microsoft.com/office/drawing/2014/main" id="{B3BF4185-BD32-49F9-84CA-08E3DC9CE053}"/>
                  </a:ext>
                </a:extLst>
              </p:cNvPr>
              <p:cNvSpPr/>
              <p:nvPr/>
            </p:nvSpPr>
            <p:spPr bwMode="auto">
              <a:xfrm>
                <a:off x="4053480" y="668427"/>
                <a:ext cx="29417" cy="12607"/>
              </a:xfrm>
              <a:custGeom>
                <a:avLst/>
                <a:gdLst>
                  <a:gd name="T0" fmla="*/ 10 w 14"/>
                  <a:gd name="T1" fmla="*/ 0 h 6"/>
                  <a:gd name="T2" fmla="*/ 14 w 14"/>
                  <a:gd name="T3" fmla="*/ 0 h 6"/>
                  <a:gd name="T4" fmla="*/ 10 w 14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0" y="0"/>
                    </a:moveTo>
                    <a:cubicBezTo>
                      <a:pt x="11" y="0"/>
                      <a:pt x="12" y="0"/>
                      <a:pt x="14" y="0"/>
                    </a:cubicBezTo>
                    <a:cubicBezTo>
                      <a:pt x="14" y="6"/>
                      <a:pt x="0" y="0"/>
                      <a:pt x="1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52" name="iśḷiḋé">
                <a:extLst>
                  <a:ext uri="{FF2B5EF4-FFF2-40B4-BE49-F238E27FC236}">
                    <a16:creationId xmlns:a16="http://schemas.microsoft.com/office/drawing/2014/main" id="{455660CB-495C-485F-AF95-85E7FB13B64A}"/>
                  </a:ext>
                </a:extLst>
              </p:cNvPr>
              <p:cNvSpPr/>
              <p:nvPr/>
            </p:nvSpPr>
            <p:spPr bwMode="auto">
              <a:xfrm>
                <a:off x="7827187" y="682435"/>
                <a:ext cx="85448" cy="67238"/>
              </a:xfrm>
              <a:custGeom>
                <a:avLst/>
                <a:gdLst>
                  <a:gd name="T0" fmla="*/ 11 w 41"/>
                  <a:gd name="T1" fmla="*/ 1 h 32"/>
                  <a:gd name="T2" fmla="*/ 13 w 41"/>
                  <a:gd name="T3" fmla="*/ 3 h 32"/>
                  <a:gd name="T4" fmla="*/ 24 w 41"/>
                  <a:gd name="T5" fmla="*/ 8 h 32"/>
                  <a:gd name="T6" fmla="*/ 30 w 41"/>
                  <a:gd name="T7" fmla="*/ 5 h 32"/>
                  <a:gd name="T8" fmla="*/ 41 w 41"/>
                  <a:gd name="T9" fmla="*/ 6 h 32"/>
                  <a:gd name="T10" fmla="*/ 37 w 41"/>
                  <a:gd name="T11" fmla="*/ 16 h 32"/>
                  <a:gd name="T12" fmla="*/ 23 w 41"/>
                  <a:gd name="T13" fmla="*/ 19 h 32"/>
                  <a:gd name="T14" fmla="*/ 23 w 41"/>
                  <a:gd name="T15" fmla="*/ 21 h 32"/>
                  <a:gd name="T16" fmla="*/ 19 w 41"/>
                  <a:gd name="T17" fmla="*/ 25 h 32"/>
                  <a:gd name="T18" fmla="*/ 13 w 41"/>
                  <a:gd name="T19" fmla="*/ 27 h 32"/>
                  <a:gd name="T20" fmla="*/ 6 w 41"/>
                  <a:gd name="T21" fmla="*/ 23 h 32"/>
                  <a:gd name="T22" fmla="*/ 0 w 41"/>
                  <a:gd name="T23" fmla="*/ 8 h 32"/>
                  <a:gd name="T24" fmla="*/ 11 w 41"/>
                  <a:gd name="T25" fmla="*/ 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1" h="32">
                    <a:moveTo>
                      <a:pt x="11" y="1"/>
                    </a:moveTo>
                    <a:cubicBezTo>
                      <a:pt x="13" y="0"/>
                      <a:pt x="13" y="2"/>
                      <a:pt x="13" y="3"/>
                    </a:cubicBezTo>
                    <a:cubicBezTo>
                      <a:pt x="15" y="7"/>
                      <a:pt x="21" y="6"/>
                      <a:pt x="24" y="8"/>
                    </a:cubicBezTo>
                    <a:cubicBezTo>
                      <a:pt x="28" y="10"/>
                      <a:pt x="29" y="5"/>
                      <a:pt x="30" y="5"/>
                    </a:cubicBezTo>
                    <a:cubicBezTo>
                      <a:pt x="32" y="4"/>
                      <a:pt x="35" y="8"/>
                      <a:pt x="41" y="6"/>
                    </a:cubicBezTo>
                    <a:cubicBezTo>
                      <a:pt x="40" y="8"/>
                      <a:pt x="31" y="12"/>
                      <a:pt x="37" y="16"/>
                    </a:cubicBezTo>
                    <a:cubicBezTo>
                      <a:pt x="36" y="20"/>
                      <a:pt x="29" y="20"/>
                      <a:pt x="23" y="19"/>
                    </a:cubicBezTo>
                    <a:cubicBezTo>
                      <a:pt x="20" y="20"/>
                      <a:pt x="21" y="21"/>
                      <a:pt x="23" y="21"/>
                    </a:cubicBezTo>
                    <a:cubicBezTo>
                      <a:pt x="24" y="25"/>
                      <a:pt x="12" y="22"/>
                      <a:pt x="19" y="25"/>
                    </a:cubicBezTo>
                    <a:cubicBezTo>
                      <a:pt x="19" y="32"/>
                      <a:pt x="13" y="21"/>
                      <a:pt x="13" y="27"/>
                    </a:cubicBezTo>
                    <a:cubicBezTo>
                      <a:pt x="10" y="26"/>
                      <a:pt x="12" y="21"/>
                      <a:pt x="6" y="23"/>
                    </a:cubicBezTo>
                    <a:cubicBezTo>
                      <a:pt x="4" y="18"/>
                      <a:pt x="5" y="10"/>
                      <a:pt x="0" y="8"/>
                    </a:cubicBezTo>
                    <a:cubicBezTo>
                      <a:pt x="2" y="4"/>
                      <a:pt x="13" y="8"/>
                      <a:pt x="11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53" name="ï$ḷîḓè">
                <a:extLst>
                  <a:ext uri="{FF2B5EF4-FFF2-40B4-BE49-F238E27FC236}">
                    <a16:creationId xmlns:a16="http://schemas.microsoft.com/office/drawing/2014/main" id="{FDE7B5CF-7733-489C-B656-24E5E6A2C340}"/>
                  </a:ext>
                </a:extLst>
              </p:cNvPr>
              <p:cNvSpPr/>
              <p:nvPr/>
            </p:nvSpPr>
            <p:spPr bwMode="auto">
              <a:xfrm>
                <a:off x="3770522" y="692241"/>
                <a:ext cx="23814" cy="15409"/>
              </a:xfrm>
              <a:custGeom>
                <a:avLst/>
                <a:gdLst>
                  <a:gd name="T0" fmla="*/ 6 w 11"/>
                  <a:gd name="T1" fmla="*/ 0 h 7"/>
                  <a:gd name="T2" fmla="*/ 8 w 11"/>
                  <a:gd name="T3" fmla="*/ 7 h 7"/>
                  <a:gd name="T4" fmla="*/ 0 w 11"/>
                  <a:gd name="T5" fmla="*/ 5 h 7"/>
                  <a:gd name="T6" fmla="*/ 6 w 11"/>
                  <a:gd name="T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7">
                    <a:moveTo>
                      <a:pt x="6" y="0"/>
                    </a:moveTo>
                    <a:cubicBezTo>
                      <a:pt x="11" y="1"/>
                      <a:pt x="8" y="2"/>
                      <a:pt x="8" y="7"/>
                    </a:cubicBezTo>
                    <a:cubicBezTo>
                      <a:pt x="6" y="6"/>
                      <a:pt x="4" y="5"/>
                      <a:pt x="0" y="5"/>
                    </a:cubicBezTo>
                    <a:cubicBezTo>
                      <a:pt x="1" y="2"/>
                      <a:pt x="7" y="4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54" name="îŝľidê">
                <a:extLst>
                  <a:ext uri="{FF2B5EF4-FFF2-40B4-BE49-F238E27FC236}">
                    <a16:creationId xmlns:a16="http://schemas.microsoft.com/office/drawing/2014/main" id="{01949F00-B02B-49F0-BC82-09C8FC8AE45F}"/>
                  </a:ext>
                </a:extLst>
              </p:cNvPr>
              <p:cNvSpPr/>
              <p:nvPr/>
            </p:nvSpPr>
            <p:spPr bwMode="auto">
              <a:xfrm>
                <a:off x="7921039" y="692241"/>
                <a:ext cx="39222" cy="36420"/>
              </a:xfrm>
              <a:custGeom>
                <a:avLst/>
                <a:gdLst>
                  <a:gd name="T0" fmla="*/ 0 w 19"/>
                  <a:gd name="T1" fmla="*/ 5 h 17"/>
                  <a:gd name="T2" fmla="*/ 19 w 19"/>
                  <a:gd name="T3" fmla="*/ 9 h 17"/>
                  <a:gd name="T4" fmla="*/ 11 w 19"/>
                  <a:gd name="T5" fmla="*/ 16 h 17"/>
                  <a:gd name="T6" fmla="*/ 7 w 19"/>
                  <a:gd name="T7" fmla="*/ 13 h 17"/>
                  <a:gd name="T8" fmla="*/ 4 w 19"/>
                  <a:gd name="T9" fmla="*/ 13 h 17"/>
                  <a:gd name="T10" fmla="*/ 0 w 19"/>
                  <a:gd name="T11" fmla="*/ 5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17">
                    <a:moveTo>
                      <a:pt x="0" y="5"/>
                    </a:moveTo>
                    <a:cubicBezTo>
                      <a:pt x="6" y="0"/>
                      <a:pt x="16" y="5"/>
                      <a:pt x="19" y="9"/>
                    </a:cubicBezTo>
                    <a:cubicBezTo>
                      <a:pt x="18" y="13"/>
                      <a:pt x="10" y="10"/>
                      <a:pt x="11" y="16"/>
                    </a:cubicBezTo>
                    <a:cubicBezTo>
                      <a:pt x="9" y="17"/>
                      <a:pt x="8" y="13"/>
                      <a:pt x="7" y="13"/>
                    </a:cubicBezTo>
                    <a:cubicBezTo>
                      <a:pt x="7" y="12"/>
                      <a:pt x="4" y="13"/>
                      <a:pt x="4" y="13"/>
                    </a:cubicBezTo>
                    <a:cubicBezTo>
                      <a:pt x="2" y="10"/>
                      <a:pt x="4" y="6"/>
                      <a:pt x="0" y="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55" name="iṡ1íḓe">
                <a:extLst>
                  <a:ext uri="{FF2B5EF4-FFF2-40B4-BE49-F238E27FC236}">
                    <a16:creationId xmlns:a16="http://schemas.microsoft.com/office/drawing/2014/main" id="{CB433470-293B-42E9-84B5-DFB1A846C1CF}"/>
                  </a:ext>
                </a:extLst>
              </p:cNvPr>
              <p:cNvSpPr/>
              <p:nvPr/>
            </p:nvSpPr>
            <p:spPr bwMode="auto">
              <a:xfrm>
                <a:off x="7971467" y="703447"/>
                <a:ext cx="60234" cy="30817"/>
              </a:xfrm>
              <a:custGeom>
                <a:avLst/>
                <a:gdLst>
                  <a:gd name="T0" fmla="*/ 2 w 29"/>
                  <a:gd name="T1" fmla="*/ 2 h 15"/>
                  <a:gd name="T2" fmla="*/ 6 w 29"/>
                  <a:gd name="T3" fmla="*/ 2 h 15"/>
                  <a:gd name="T4" fmla="*/ 15 w 29"/>
                  <a:gd name="T5" fmla="*/ 6 h 15"/>
                  <a:gd name="T6" fmla="*/ 24 w 29"/>
                  <a:gd name="T7" fmla="*/ 9 h 15"/>
                  <a:gd name="T8" fmla="*/ 28 w 29"/>
                  <a:gd name="T9" fmla="*/ 13 h 15"/>
                  <a:gd name="T10" fmla="*/ 6 w 29"/>
                  <a:gd name="T11" fmla="*/ 9 h 15"/>
                  <a:gd name="T12" fmla="*/ 2 w 29"/>
                  <a:gd name="T13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" h="15">
                    <a:moveTo>
                      <a:pt x="2" y="2"/>
                    </a:moveTo>
                    <a:cubicBezTo>
                      <a:pt x="3" y="2"/>
                      <a:pt x="4" y="2"/>
                      <a:pt x="6" y="2"/>
                    </a:cubicBezTo>
                    <a:cubicBezTo>
                      <a:pt x="11" y="0"/>
                      <a:pt x="11" y="5"/>
                      <a:pt x="15" y="6"/>
                    </a:cubicBezTo>
                    <a:cubicBezTo>
                      <a:pt x="19" y="7"/>
                      <a:pt x="21" y="8"/>
                      <a:pt x="24" y="9"/>
                    </a:cubicBezTo>
                    <a:cubicBezTo>
                      <a:pt x="26" y="11"/>
                      <a:pt x="29" y="9"/>
                      <a:pt x="28" y="13"/>
                    </a:cubicBezTo>
                    <a:cubicBezTo>
                      <a:pt x="17" y="15"/>
                      <a:pt x="14" y="10"/>
                      <a:pt x="6" y="9"/>
                    </a:cubicBezTo>
                    <a:cubicBezTo>
                      <a:pt x="8" y="3"/>
                      <a:pt x="0" y="8"/>
                      <a:pt x="2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56" name="íSļîḓé">
                <a:extLst>
                  <a:ext uri="{FF2B5EF4-FFF2-40B4-BE49-F238E27FC236}">
                    <a16:creationId xmlns:a16="http://schemas.microsoft.com/office/drawing/2014/main" id="{5B9D6DCD-C490-4F65-ADA8-6EF14F14D36B}"/>
                  </a:ext>
                </a:extLst>
              </p:cNvPr>
              <p:cNvSpPr/>
              <p:nvPr/>
            </p:nvSpPr>
            <p:spPr bwMode="auto">
              <a:xfrm>
                <a:off x="4035269" y="752474"/>
                <a:ext cx="98055" cy="81245"/>
              </a:xfrm>
              <a:custGeom>
                <a:avLst/>
                <a:gdLst>
                  <a:gd name="T0" fmla="*/ 15 w 47"/>
                  <a:gd name="T1" fmla="*/ 8 h 39"/>
                  <a:gd name="T2" fmla="*/ 15 w 47"/>
                  <a:gd name="T3" fmla="*/ 6 h 39"/>
                  <a:gd name="T4" fmla="*/ 36 w 47"/>
                  <a:gd name="T5" fmla="*/ 0 h 39"/>
                  <a:gd name="T6" fmla="*/ 39 w 47"/>
                  <a:gd name="T7" fmla="*/ 8 h 39"/>
                  <a:gd name="T8" fmla="*/ 36 w 47"/>
                  <a:gd name="T9" fmla="*/ 13 h 39"/>
                  <a:gd name="T10" fmla="*/ 45 w 47"/>
                  <a:gd name="T11" fmla="*/ 15 h 39"/>
                  <a:gd name="T12" fmla="*/ 47 w 47"/>
                  <a:gd name="T13" fmla="*/ 30 h 39"/>
                  <a:gd name="T14" fmla="*/ 41 w 47"/>
                  <a:gd name="T15" fmla="*/ 30 h 39"/>
                  <a:gd name="T16" fmla="*/ 41 w 47"/>
                  <a:gd name="T17" fmla="*/ 34 h 39"/>
                  <a:gd name="T18" fmla="*/ 36 w 47"/>
                  <a:gd name="T19" fmla="*/ 34 h 39"/>
                  <a:gd name="T20" fmla="*/ 30 w 47"/>
                  <a:gd name="T21" fmla="*/ 38 h 39"/>
                  <a:gd name="T22" fmla="*/ 24 w 47"/>
                  <a:gd name="T23" fmla="*/ 32 h 39"/>
                  <a:gd name="T24" fmla="*/ 19 w 47"/>
                  <a:gd name="T25" fmla="*/ 26 h 39"/>
                  <a:gd name="T26" fmla="*/ 15 w 47"/>
                  <a:gd name="T27" fmla="*/ 23 h 39"/>
                  <a:gd name="T28" fmla="*/ 6 w 47"/>
                  <a:gd name="T29" fmla="*/ 21 h 39"/>
                  <a:gd name="T30" fmla="*/ 0 w 47"/>
                  <a:gd name="T31" fmla="*/ 17 h 39"/>
                  <a:gd name="T32" fmla="*/ 19 w 47"/>
                  <a:gd name="T33" fmla="*/ 19 h 39"/>
                  <a:gd name="T34" fmla="*/ 21 w 47"/>
                  <a:gd name="T35" fmla="*/ 12 h 39"/>
                  <a:gd name="T36" fmla="*/ 13 w 47"/>
                  <a:gd name="T37" fmla="*/ 6 h 39"/>
                  <a:gd name="T38" fmla="*/ 15 w 47"/>
                  <a:gd name="T39" fmla="*/ 8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39">
                    <a:moveTo>
                      <a:pt x="15" y="8"/>
                    </a:moveTo>
                    <a:cubicBezTo>
                      <a:pt x="17" y="7"/>
                      <a:pt x="16" y="6"/>
                      <a:pt x="15" y="6"/>
                    </a:cubicBezTo>
                    <a:cubicBezTo>
                      <a:pt x="19" y="2"/>
                      <a:pt x="33" y="6"/>
                      <a:pt x="36" y="0"/>
                    </a:cubicBezTo>
                    <a:cubicBezTo>
                      <a:pt x="38" y="2"/>
                      <a:pt x="39" y="4"/>
                      <a:pt x="39" y="8"/>
                    </a:cubicBezTo>
                    <a:cubicBezTo>
                      <a:pt x="40" y="12"/>
                      <a:pt x="36" y="11"/>
                      <a:pt x="36" y="13"/>
                    </a:cubicBezTo>
                    <a:cubicBezTo>
                      <a:pt x="37" y="19"/>
                      <a:pt x="41" y="16"/>
                      <a:pt x="45" y="15"/>
                    </a:cubicBezTo>
                    <a:cubicBezTo>
                      <a:pt x="47" y="23"/>
                      <a:pt x="45" y="22"/>
                      <a:pt x="47" y="30"/>
                    </a:cubicBezTo>
                    <a:cubicBezTo>
                      <a:pt x="46" y="31"/>
                      <a:pt x="42" y="29"/>
                      <a:pt x="41" y="30"/>
                    </a:cubicBezTo>
                    <a:cubicBezTo>
                      <a:pt x="41" y="31"/>
                      <a:pt x="42" y="34"/>
                      <a:pt x="41" y="34"/>
                    </a:cubicBezTo>
                    <a:cubicBezTo>
                      <a:pt x="40" y="35"/>
                      <a:pt x="37" y="34"/>
                      <a:pt x="36" y="34"/>
                    </a:cubicBezTo>
                    <a:cubicBezTo>
                      <a:pt x="33" y="34"/>
                      <a:pt x="33" y="37"/>
                      <a:pt x="30" y="38"/>
                    </a:cubicBezTo>
                    <a:cubicBezTo>
                      <a:pt x="26" y="39"/>
                      <a:pt x="26" y="34"/>
                      <a:pt x="24" y="32"/>
                    </a:cubicBezTo>
                    <a:cubicBezTo>
                      <a:pt x="23" y="31"/>
                      <a:pt x="17" y="31"/>
                      <a:pt x="19" y="26"/>
                    </a:cubicBezTo>
                    <a:cubicBezTo>
                      <a:pt x="16" y="27"/>
                      <a:pt x="15" y="25"/>
                      <a:pt x="15" y="23"/>
                    </a:cubicBezTo>
                    <a:cubicBezTo>
                      <a:pt x="12" y="24"/>
                      <a:pt x="9" y="22"/>
                      <a:pt x="6" y="21"/>
                    </a:cubicBezTo>
                    <a:cubicBezTo>
                      <a:pt x="3" y="20"/>
                      <a:pt x="0" y="22"/>
                      <a:pt x="0" y="17"/>
                    </a:cubicBezTo>
                    <a:cubicBezTo>
                      <a:pt x="8" y="16"/>
                      <a:pt x="11" y="20"/>
                      <a:pt x="19" y="19"/>
                    </a:cubicBezTo>
                    <a:cubicBezTo>
                      <a:pt x="21" y="18"/>
                      <a:pt x="20" y="14"/>
                      <a:pt x="21" y="12"/>
                    </a:cubicBezTo>
                    <a:cubicBezTo>
                      <a:pt x="21" y="7"/>
                      <a:pt x="10" y="13"/>
                      <a:pt x="13" y="6"/>
                    </a:cubicBezTo>
                    <a:cubicBezTo>
                      <a:pt x="15" y="6"/>
                      <a:pt x="15" y="7"/>
                      <a:pt x="15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57" name="íŝḷídê">
                <a:extLst>
                  <a:ext uri="{FF2B5EF4-FFF2-40B4-BE49-F238E27FC236}">
                    <a16:creationId xmlns:a16="http://schemas.microsoft.com/office/drawing/2014/main" id="{FF28EE82-86DA-4336-B6B2-D33728B7829E}"/>
                  </a:ext>
                </a:extLst>
              </p:cNvPr>
              <p:cNvSpPr/>
              <p:nvPr/>
            </p:nvSpPr>
            <p:spPr bwMode="auto">
              <a:xfrm>
                <a:off x="4384064" y="760879"/>
                <a:ext cx="58833" cy="28016"/>
              </a:xfrm>
              <a:custGeom>
                <a:avLst/>
                <a:gdLst>
                  <a:gd name="T0" fmla="*/ 0 w 28"/>
                  <a:gd name="T1" fmla="*/ 2 h 13"/>
                  <a:gd name="T2" fmla="*/ 7 w 28"/>
                  <a:gd name="T3" fmla="*/ 0 h 13"/>
                  <a:gd name="T4" fmla="*/ 28 w 28"/>
                  <a:gd name="T5" fmla="*/ 6 h 13"/>
                  <a:gd name="T6" fmla="*/ 26 w 28"/>
                  <a:gd name="T7" fmla="*/ 13 h 13"/>
                  <a:gd name="T8" fmla="*/ 6 w 28"/>
                  <a:gd name="T9" fmla="*/ 6 h 13"/>
                  <a:gd name="T10" fmla="*/ 0 w 28"/>
                  <a:gd name="T11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13">
                    <a:moveTo>
                      <a:pt x="0" y="2"/>
                    </a:moveTo>
                    <a:cubicBezTo>
                      <a:pt x="0" y="0"/>
                      <a:pt x="5" y="0"/>
                      <a:pt x="7" y="0"/>
                    </a:cubicBezTo>
                    <a:cubicBezTo>
                      <a:pt x="14" y="1"/>
                      <a:pt x="22" y="5"/>
                      <a:pt x="28" y="6"/>
                    </a:cubicBezTo>
                    <a:cubicBezTo>
                      <a:pt x="28" y="9"/>
                      <a:pt x="26" y="10"/>
                      <a:pt x="26" y="13"/>
                    </a:cubicBezTo>
                    <a:cubicBezTo>
                      <a:pt x="16" y="13"/>
                      <a:pt x="12" y="11"/>
                      <a:pt x="6" y="6"/>
                    </a:cubicBezTo>
                    <a:cubicBezTo>
                      <a:pt x="4" y="4"/>
                      <a:pt x="4" y="1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58" name="iş1iḋê">
                <a:extLst>
                  <a:ext uri="{FF2B5EF4-FFF2-40B4-BE49-F238E27FC236}">
                    <a16:creationId xmlns:a16="http://schemas.microsoft.com/office/drawing/2014/main" id="{39A6AF36-878F-4EDB-971E-C17D75D81D5E}"/>
                  </a:ext>
                </a:extLst>
              </p:cNvPr>
              <p:cNvSpPr/>
              <p:nvPr/>
            </p:nvSpPr>
            <p:spPr bwMode="auto">
              <a:xfrm>
                <a:off x="7881817" y="760879"/>
                <a:ext cx="39222" cy="15409"/>
              </a:xfrm>
              <a:custGeom>
                <a:avLst/>
                <a:gdLst>
                  <a:gd name="T0" fmla="*/ 19 w 19"/>
                  <a:gd name="T1" fmla="*/ 6 h 7"/>
                  <a:gd name="T2" fmla="*/ 0 w 19"/>
                  <a:gd name="T3" fmla="*/ 4 h 7"/>
                  <a:gd name="T4" fmla="*/ 6 w 19"/>
                  <a:gd name="T5" fmla="*/ 0 h 7"/>
                  <a:gd name="T6" fmla="*/ 19 w 19"/>
                  <a:gd name="T7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7">
                    <a:moveTo>
                      <a:pt x="19" y="6"/>
                    </a:moveTo>
                    <a:cubicBezTo>
                      <a:pt x="16" y="7"/>
                      <a:pt x="5" y="6"/>
                      <a:pt x="0" y="4"/>
                    </a:cubicBezTo>
                    <a:cubicBezTo>
                      <a:pt x="1" y="1"/>
                      <a:pt x="6" y="3"/>
                      <a:pt x="6" y="0"/>
                    </a:cubicBezTo>
                    <a:cubicBezTo>
                      <a:pt x="10" y="2"/>
                      <a:pt x="19" y="0"/>
                      <a:pt x="19" y="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59" name="iṥlíḓé">
                <a:extLst>
                  <a:ext uri="{FF2B5EF4-FFF2-40B4-BE49-F238E27FC236}">
                    <a16:creationId xmlns:a16="http://schemas.microsoft.com/office/drawing/2014/main" id="{C121BD27-2C1F-411F-ACB9-FDE63624DACC}"/>
                  </a:ext>
                </a:extLst>
              </p:cNvPr>
              <p:cNvSpPr/>
              <p:nvPr/>
            </p:nvSpPr>
            <p:spPr bwMode="auto">
              <a:xfrm>
                <a:off x="4811303" y="846327"/>
                <a:ext cx="30817" cy="21012"/>
              </a:xfrm>
              <a:custGeom>
                <a:avLst/>
                <a:gdLst>
                  <a:gd name="T0" fmla="*/ 15 w 15"/>
                  <a:gd name="T1" fmla="*/ 8 h 10"/>
                  <a:gd name="T2" fmla="*/ 0 w 15"/>
                  <a:gd name="T3" fmla="*/ 4 h 10"/>
                  <a:gd name="T4" fmla="*/ 15 w 15"/>
                  <a:gd name="T5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0">
                    <a:moveTo>
                      <a:pt x="15" y="8"/>
                    </a:moveTo>
                    <a:cubicBezTo>
                      <a:pt x="6" y="10"/>
                      <a:pt x="8" y="2"/>
                      <a:pt x="0" y="4"/>
                    </a:cubicBezTo>
                    <a:cubicBezTo>
                      <a:pt x="3" y="0"/>
                      <a:pt x="15" y="2"/>
                      <a:pt x="15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60" name="íšļiḓê">
                <a:extLst>
                  <a:ext uri="{FF2B5EF4-FFF2-40B4-BE49-F238E27FC236}">
                    <a16:creationId xmlns:a16="http://schemas.microsoft.com/office/drawing/2014/main" id="{EADC441B-172C-4C2C-B3B8-95BAC3242FCB}"/>
                  </a:ext>
                </a:extLst>
              </p:cNvPr>
              <p:cNvSpPr/>
              <p:nvPr/>
            </p:nvSpPr>
            <p:spPr bwMode="auto">
              <a:xfrm>
                <a:off x="4790291" y="867338"/>
                <a:ext cx="43425" cy="25214"/>
              </a:xfrm>
              <a:custGeom>
                <a:avLst/>
                <a:gdLst>
                  <a:gd name="T0" fmla="*/ 21 w 21"/>
                  <a:gd name="T1" fmla="*/ 7 h 12"/>
                  <a:gd name="T2" fmla="*/ 3 w 21"/>
                  <a:gd name="T3" fmla="*/ 7 h 12"/>
                  <a:gd name="T4" fmla="*/ 8 w 21"/>
                  <a:gd name="T5" fmla="*/ 1 h 12"/>
                  <a:gd name="T6" fmla="*/ 21 w 21"/>
                  <a:gd name="T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" h="12">
                    <a:moveTo>
                      <a:pt x="21" y="7"/>
                    </a:moveTo>
                    <a:cubicBezTo>
                      <a:pt x="19" y="12"/>
                      <a:pt x="5" y="12"/>
                      <a:pt x="3" y="7"/>
                    </a:cubicBezTo>
                    <a:cubicBezTo>
                      <a:pt x="0" y="0"/>
                      <a:pt x="9" y="6"/>
                      <a:pt x="8" y="1"/>
                    </a:cubicBezTo>
                    <a:cubicBezTo>
                      <a:pt x="12" y="4"/>
                      <a:pt x="16" y="6"/>
                      <a:pt x="21" y="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61" name="íšļîḑe">
                <a:extLst>
                  <a:ext uri="{FF2B5EF4-FFF2-40B4-BE49-F238E27FC236}">
                    <a16:creationId xmlns:a16="http://schemas.microsoft.com/office/drawing/2014/main" id="{17A461A5-EE93-40BB-B9CB-78CEDC8D3725}"/>
                  </a:ext>
                </a:extLst>
              </p:cNvPr>
              <p:cNvSpPr/>
              <p:nvPr/>
            </p:nvSpPr>
            <p:spPr bwMode="auto">
              <a:xfrm>
                <a:off x="6419400" y="885549"/>
                <a:ext cx="29417" cy="23814"/>
              </a:xfrm>
              <a:custGeom>
                <a:avLst/>
                <a:gdLst>
                  <a:gd name="T0" fmla="*/ 6 w 14"/>
                  <a:gd name="T1" fmla="*/ 0 h 11"/>
                  <a:gd name="T2" fmla="*/ 14 w 14"/>
                  <a:gd name="T3" fmla="*/ 7 h 11"/>
                  <a:gd name="T4" fmla="*/ 4 w 14"/>
                  <a:gd name="T5" fmla="*/ 11 h 11"/>
                  <a:gd name="T6" fmla="*/ 2 w 14"/>
                  <a:gd name="T7" fmla="*/ 2 h 11"/>
                  <a:gd name="T8" fmla="*/ 6 w 14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1">
                    <a:moveTo>
                      <a:pt x="6" y="0"/>
                    </a:moveTo>
                    <a:cubicBezTo>
                      <a:pt x="11" y="0"/>
                      <a:pt x="13" y="2"/>
                      <a:pt x="14" y="7"/>
                    </a:cubicBezTo>
                    <a:cubicBezTo>
                      <a:pt x="9" y="7"/>
                      <a:pt x="5" y="7"/>
                      <a:pt x="4" y="11"/>
                    </a:cubicBezTo>
                    <a:cubicBezTo>
                      <a:pt x="0" y="11"/>
                      <a:pt x="3" y="4"/>
                      <a:pt x="2" y="2"/>
                    </a:cubicBezTo>
                    <a:cubicBezTo>
                      <a:pt x="5" y="2"/>
                      <a:pt x="6" y="1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62" name="ïsľiḍe">
                <a:extLst>
                  <a:ext uri="{FF2B5EF4-FFF2-40B4-BE49-F238E27FC236}">
                    <a16:creationId xmlns:a16="http://schemas.microsoft.com/office/drawing/2014/main" id="{E0688CB7-E927-495F-870D-4F203394EA9C}"/>
                  </a:ext>
                </a:extLst>
              </p:cNvPr>
              <p:cNvSpPr/>
              <p:nvPr/>
            </p:nvSpPr>
            <p:spPr bwMode="auto">
              <a:xfrm>
                <a:off x="3945619" y="900957"/>
                <a:ext cx="29417" cy="21012"/>
              </a:xfrm>
              <a:custGeom>
                <a:avLst/>
                <a:gdLst>
                  <a:gd name="T0" fmla="*/ 13 w 14"/>
                  <a:gd name="T1" fmla="*/ 8 h 10"/>
                  <a:gd name="T2" fmla="*/ 0 w 14"/>
                  <a:gd name="T3" fmla="*/ 10 h 10"/>
                  <a:gd name="T4" fmla="*/ 13 w 14"/>
                  <a:gd name="T5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0">
                    <a:moveTo>
                      <a:pt x="13" y="8"/>
                    </a:moveTo>
                    <a:cubicBezTo>
                      <a:pt x="7" y="7"/>
                      <a:pt x="5" y="9"/>
                      <a:pt x="0" y="10"/>
                    </a:cubicBezTo>
                    <a:cubicBezTo>
                      <a:pt x="1" y="6"/>
                      <a:pt x="14" y="0"/>
                      <a:pt x="13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63" name="îśļîde">
                <a:extLst>
                  <a:ext uri="{FF2B5EF4-FFF2-40B4-BE49-F238E27FC236}">
                    <a16:creationId xmlns:a16="http://schemas.microsoft.com/office/drawing/2014/main" id="{B579D7AC-44AA-473E-9B63-EA6E4F470732}"/>
                  </a:ext>
                </a:extLst>
              </p:cNvPr>
              <p:cNvSpPr/>
              <p:nvPr/>
            </p:nvSpPr>
            <p:spPr bwMode="auto">
              <a:xfrm>
                <a:off x="4434493" y="917766"/>
                <a:ext cx="47627" cy="29417"/>
              </a:xfrm>
              <a:custGeom>
                <a:avLst/>
                <a:gdLst>
                  <a:gd name="T0" fmla="*/ 19 w 23"/>
                  <a:gd name="T1" fmla="*/ 2 h 14"/>
                  <a:gd name="T2" fmla="*/ 21 w 23"/>
                  <a:gd name="T3" fmla="*/ 13 h 14"/>
                  <a:gd name="T4" fmla="*/ 2 w 23"/>
                  <a:gd name="T5" fmla="*/ 9 h 14"/>
                  <a:gd name="T6" fmla="*/ 6 w 23"/>
                  <a:gd name="T7" fmla="*/ 2 h 14"/>
                  <a:gd name="T8" fmla="*/ 19 w 23"/>
                  <a:gd name="T9" fmla="*/ 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14">
                    <a:moveTo>
                      <a:pt x="19" y="2"/>
                    </a:moveTo>
                    <a:cubicBezTo>
                      <a:pt x="21" y="4"/>
                      <a:pt x="23" y="11"/>
                      <a:pt x="21" y="13"/>
                    </a:cubicBezTo>
                    <a:cubicBezTo>
                      <a:pt x="13" y="12"/>
                      <a:pt x="4" y="14"/>
                      <a:pt x="2" y="9"/>
                    </a:cubicBezTo>
                    <a:cubicBezTo>
                      <a:pt x="0" y="3"/>
                      <a:pt x="8" y="8"/>
                      <a:pt x="6" y="2"/>
                    </a:cubicBezTo>
                    <a:cubicBezTo>
                      <a:pt x="11" y="0"/>
                      <a:pt x="19" y="5"/>
                      <a:pt x="19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64" name="ïş1íḋe">
                <a:extLst>
                  <a:ext uri="{FF2B5EF4-FFF2-40B4-BE49-F238E27FC236}">
                    <a16:creationId xmlns:a16="http://schemas.microsoft.com/office/drawing/2014/main" id="{45BCF4DC-4EB5-4655-B01C-1A5CF6E2A1E8}"/>
                  </a:ext>
                </a:extLst>
              </p:cNvPr>
              <p:cNvSpPr/>
              <p:nvPr/>
            </p:nvSpPr>
            <p:spPr bwMode="auto">
              <a:xfrm>
                <a:off x="4416282" y="999012"/>
                <a:ext cx="57433" cy="26615"/>
              </a:xfrm>
              <a:custGeom>
                <a:avLst/>
                <a:gdLst>
                  <a:gd name="T0" fmla="*/ 26 w 28"/>
                  <a:gd name="T1" fmla="*/ 5 h 13"/>
                  <a:gd name="T2" fmla="*/ 19 w 28"/>
                  <a:gd name="T3" fmla="*/ 9 h 13"/>
                  <a:gd name="T4" fmla="*/ 11 w 28"/>
                  <a:gd name="T5" fmla="*/ 11 h 13"/>
                  <a:gd name="T6" fmla="*/ 4 w 28"/>
                  <a:gd name="T7" fmla="*/ 9 h 13"/>
                  <a:gd name="T8" fmla="*/ 5 w 28"/>
                  <a:gd name="T9" fmla="*/ 4 h 13"/>
                  <a:gd name="T10" fmla="*/ 11 w 28"/>
                  <a:gd name="T11" fmla="*/ 0 h 13"/>
                  <a:gd name="T12" fmla="*/ 26 w 28"/>
                  <a:gd name="T13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" h="13">
                    <a:moveTo>
                      <a:pt x="26" y="5"/>
                    </a:moveTo>
                    <a:cubicBezTo>
                      <a:pt x="28" y="11"/>
                      <a:pt x="21" y="9"/>
                      <a:pt x="19" y="9"/>
                    </a:cubicBezTo>
                    <a:cubicBezTo>
                      <a:pt x="18" y="9"/>
                      <a:pt x="13" y="13"/>
                      <a:pt x="11" y="11"/>
                    </a:cubicBezTo>
                    <a:cubicBezTo>
                      <a:pt x="10" y="9"/>
                      <a:pt x="6" y="10"/>
                      <a:pt x="4" y="9"/>
                    </a:cubicBezTo>
                    <a:cubicBezTo>
                      <a:pt x="0" y="4"/>
                      <a:pt x="12" y="6"/>
                      <a:pt x="5" y="4"/>
                    </a:cubicBezTo>
                    <a:cubicBezTo>
                      <a:pt x="6" y="1"/>
                      <a:pt x="11" y="3"/>
                      <a:pt x="11" y="0"/>
                    </a:cubicBezTo>
                    <a:cubicBezTo>
                      <a:pt x="16" y="1"/>
                      <a:pt x="22" y="2"/>
                      <a:pt x="26" y="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65" name="ï$liḋê">
                <a:extLst>
                  <a:ext uri="{FF2B5EF4-FFF2-40B4-BE49-F238E27FC236}">
                    <a16:creationId xmlns:a16="http://schemas.microsoft.com/office/drawing/2014/main" id="{8BEC2FE0-F61A-4756-8CD4-8D6C9567E10B}"/>
                  </a:ext>
                </a:extLst>
              </p:cNvPr>
              <p:cNvSpPr/>
              <p:nvPr/>
            </p:nvSpPr>
            <p:spPr bwMode="auto">
              <a:xfrm>
                <a:off x="4417683" y="1039635"/>
                <a:ext cx="26615" cy="12607"/>
              </a:xfrm>
              <a:custGeom>
                <a:avLst/>
                <a:gdLst>
                  <a:gd name="T0" fmla="*/ 10 w 13"/>
                  <a:gd name="T1" fmla="*/ 6 h 6"/>
                  <a:gd name="T2" fmla="*/ 3 w 13"/>
                  <a:gd name="T3" fmla="*/ 6 h 6"/>
                  <a:gd name="T4" fmla="*/ 10 w 13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6">
                    <a:moveTo>
                      <a:pt x="10" y="6"/>
                    </a:moveTo>
                    <a:cubicBezTo>
                      <a:pt x="6" y="3"/>
                      <a:pt x="8" y="6"/>
                      <a:pt x="3" y="6"/>
                    </a:cubicBezTo>
                    <a:cubicBezTo>
                      <a:pt x="0" y="0"/>
                      <a:pt x="13" y="0"/>
                      <a:pt x="10" y="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66" name="i$ḻïdè">
                <a:extLst>
                  <a:ext uri="{FF2B5EF4-FFF2-40B4-BE49-F238E27FC236}">
                    <a16:creationId xmlns:a16="http://schemas.microsoft.com/office/drawing/2014/main" id="{3B15F45E-1D68-49F9-B6F6-8EF5B64A7125}"/>
                  </a:ext>
                </a:extLst>
              </p:cNvPr>
              <p:cNvSpPr/>
              <p:nvPr/>
            </p:nvSpPr>
            <p:spPr bwMode="auto">
              <a:xfrm>
                <a:off x="4330835" y="1059246"/>
                <a:ext cx="30817" cy="18211"/>
              </a:xfrm>
              <a:custGeom>
                <a:avLst/>
                <a:gdLst>
                  <a:gd name="T0" fmla="*/ 13 w 15"/>
                  <a:gd name="T1" fmla="*/ 1 h 9"/>
                  <a:gd name="T2" fmla="*/ 15 w 15"/>
                  <a:gd name="T3" fmla="*/ 4 h 9"/>
                  <a:gd name="T4" fmla="*/ 7 w 15"/>
                  <a:gd name="T5" fmla="*/ 6 h 9"/>
                  <a:gd name="T6" fmla="*/ 0 w 15"/>
                  <a:gd name="T7" fmla="*/ 6 h 9"/>
                  <a:gd name="T8" fmla="*/ 13 w 15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9">
                    <a:moveTo>
                      <a:pt x="13" y="1"/>
                    </a:moveTo>
                    <a:cubicBezTo>
                      <a:pt x="13" y="3"/>
                      <a:pt x="13" y="4"/>
                      <a:pt x="15" y="4"/>
                    </a:cubicBezTo>
                    <a:cubicBezTo>
                      <a:pt x="15" y="8"/>
                      <a:pt x="9" y="5"/>
                      <a:pt x="7" y="6"/>
                    </a:cubicBezTo>
                    <a:cubicBezTo>
                      <a:pt x="5" y="9"/>
                      <a:pt x="7" y="6"/>
                      <a:pt x="0" y="6"/>
                    </a:cubicBezTo>
                    <a:cubicBezTo>
                      <a:pt x="3" y="3"/>
                      <a:pt x="6" y="0"/>
                      <a:pt x="1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67" name="iṥľïḋe">
                <a:extLst>
                  <a:ext uri="{FF2B5EF4-FFF2-40B4-BE49-F238E27FC236}">
                    <a16:creationId xmlns:a16="http://schemas.microsoft.com/office/drawing/2014/main" id="{803EC36E-DD14-4DA7-BA92-FDA72FE7722E}"/>
                  </a:ext>
                </a:extLst>
              </p:cNvPr>
              <p:cNvSpPr/>
              <p:nvPr/>
            </p:nvSpPr>
            <p:spPr bwMode="auto">
              <a:xfrm>
                <a:off x="4388266" y="1076055"/>
                <a:ext cx="12607" cy="18211"/>
              </a:xfrm>
              <a:custGeom>
                <a:avLst/>
                <a:gdLst>
                  <a:gd name="T0" fmla="*/ 2 w 6"/>
                  <a:gd name="T1" fmla="*/ 0 h 9"/>
                  <a:gd name="T2" fmla="*/ 5 w 6"/>
                  <a:gd name="T3" fmla="*/ 8 h 9"/>
                  <a:gd name="T4" fmla="*/ 2 w 6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9">
                    <a:moveTo>
                      <a:pt x="2" y="0"/>
                    </a:moveTo>
                    <a:cubicBezTo>
                      <a:pt x="5" y="1"/>
                      <a:pt x="6" y="3"/>
                      <a:pt x="5" y="8"/>
                    </a:cubicBezTo>
                    <a:cubicBezTo>
                      <a:pt x="0" y="9"/>
                      <a:pt x="2" y="3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68" name="íş1iḑè">
                <a:extLst>
                  <a:ext uri="{FF2B5EF4-FFF2-40B4-BE49-F238E27FC236}">
                    <a16:creationId xmlns:a16="http://schemas.microsoft.com/office/drawing/2014/main" id="{BC8F661D-1B34-49C1-9663-26B1FA05E7AB}"/>
                  </a:ext>
                </a:extLst>
              </p:cNvPr>
              <p:cNvSpPr/>
              <p:nvPr/>
            </p:nvSpPr>
            <p:spPr bwMode="auto">
              <a:xfrm>
                <a:off x="5499087" y="1237145"/>
                <a:ext cx="68639" cy="84047"/>
              </a:xfrm>
              <a:custGeom>
                <a:avLst/>
                <a:gdLst>
                  <a:gd name="T0" fmla="*/ 12 w 33"/>
                  <a:gd name="T1" fmla="*/ 0 h 40"/>
                  <a:gd name="T2" fmla="*/ 14 w 33"/>
                  <a:gd name="T3" fmla="*/ 2 h 40"/>
                  <a:gd name="T4" fmla="*/ 27 w 33"/>
                  <a:gd name="T5" fmla="*/ 2 h 40"/>
                  <a:gd name="T6" fmla="*/ 32 w 33"/>
                  <a:gd name="T7" fmla="*/ 6 h 40"/>
                  <a:gd name="T8" fmla="*/ 31 w 33"/>
                  <a:gd name="T9" fmla="*/ 10 h 40"/>
                  <a:gd name="T10" fmla="*/ 27 w 33"/>
                  <a:gd name="T11" fmla="*/ 12 h 40"/>
                  <a:gd name="T12" fmla="*/ 31 w 33"/>
                  <a:gd name="T13" fmla="*/ 21 h 40"/>
                  <a:gd name="T14" fmla="*/ 29 w 33"/>
                  <a:gd name="T15" fmla="*/ 30 h 40"/>
                  <a:gd name="T16" fmla="*/ 19 w 33"/>
                  <a:gd name="T17" fmla="*/ 30 h 40"/>
                  <a:gd name="T18" fmla="*/ 18 w 33"/>
                  <a:gd name="T19" fmla="*/ 36 h 40"/>
                  <a:gd name="T20" fmla="*/ 14 w 33"/>
                  <a:gd name="T21" fmla="*/ 40 h 40"/>
                  <a:gd name="T22" fmla="*/ 3 w 33"/>
                  <a:gd name="T23" fmla="*/ 40 h 40"/>
                  <a:gd name="T24" fmla="*/ 6 w 33"/>
                  <a:gd name="T25" fmla="*/ 28 h 40"/>
                  <a:gd name="T26" fmla="*/ 6 w 33"/>
                  <a:gd name="T27" fmla="*/ 21 h 40"/>
                  <a:gd name="T28" fmla="*/ 3 w 33"/>
                  <a:gd name="T29" fmla="*/ 12 h 40"/>
                  <a:gd name="T30" fmla="*/ 10 w 33"/>
                  <a:gd name="T31" fmla="*/ 13 h 40"/>
                  <a:gd name="T32" fmla="*/ 12 w 33"/>
                  <a:gd name="T3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3" h="40">
                    <a:moveTo>
                      <a:pt x="12" y="0"/>
                    </a:moveTo>
                    <a:cubicBezTo>
                      <a:pt x="14" y="0"/>
                      <a:pt x="14" y="1"/>
                      <a:pt x="14" y="2"/>
                    </a:cubicBezTo>
                    <a:cubicBezTo>
                      <a:pt x="14" y="5"/>
                      <a:pt x="22" y="0"/>
                      <a:pt x="27" y="2"/>
                    </a:cubicBezTo>
                    <a:cubicBezTo>
                      <a:pt x="28" y="5"/>
                      <a:pt x="29" y="6"/>
                      <a:pt x="32" y="6"/>
                    </a:cubicBezTo>
                    <a:cubicBezTo>
                      <a:pt x="33" y="8"/>
                      <a:pt x="32" y="9"/>
                      <a:pt x="31" y="10"/>
                    </a:cubicBezTo>
                    <a:cubicBezTo>
                      <a:pt x="31" y="11"/>
                      <a:pt x="28" y="11"/>
                      <a:pt x="27" y="12"/>
                    </a:cubicBezTo>
                    <a:cubicBezTo>
                      <a:pt x="27" y="16"/>
                      <a:pt x="30" y="17"/>
                      <a:pt x="31" y="21"/>
                    </a:cubicBezTo>
                    <a:cubicBezTo>
                      <a:pt x="31" y="24"/>
                      <a:pt x="28" y="26"/>
                      <a:pt x="29" y="30"/>
                    </a:cubicBezTo>
                    <a:cubicBezTo>
                      <a:pt x="26" y="30"/>
                      <a:pt x="23" y="30"/>
                      <a:pt x="19" y="30"/>
                    </a:cubicBezTo>
                    <a:cubicBezTo>
                      <a:pt x="17" y="30"/>
                      <a:pt x="19" y="34"/>
                      <a:pt x="18" y="36"/>
                    </a:cubicBezTo>
                    <a:cubicBezTo>
                      <a:pt x="17" y="37"/>
                      <a:pt x="12" y="36"/>
                      <a:pt x="14" y="40"/>
                    </a:cubicBezTo>
                    <a:cubicBezTo>
                      <a:pt x="10" y="40"/>
                      <a:pt x="6" y="40"/>
                      <a:pt x="3" y="40"/>
                    </a:cubicBezTo>
                    <a:cubicBezTo>
                      <a:pt x="4" y="36"/>
                      <a:pt x="0" y="27"/>
                      <a:pt x="6" y="28"/>
                    </a:cubicBezTo>
                    <a:cubicBezTo>
                      <a:pt x="7" y="23"/>
                      <a:pt x="3" y="25"/>
                      <a:pt x="6" y="21"/>
                    </a:cubicBezTo>
                    <a:cubicBezTo>
                      <a:pt x="8" y="15"/>
                      <a:pt x="1" y="17"/>
                      <a:pt x="3" y="12"/>
                    </a:cubicBezTo>
                    <a:cubicBezTo>
                      <a:pt x="7" y="11"/>
                      <a:pt x="8" y="13"/>
                      <a:pt x="10" y="13"/>
                    </a:cubicBezTo>
                    <a:cubicBezTo>
                      <a:pt x="14" y="13"/>
                      <a:pt x="11" y="4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69" name="išḻíḋé">
                <a:extLst>
                  <a:ext uri="{FF2B5EF4-FFF2-40B4-BE49-F238E27FC236}">
                    <a16:creationId xmlns:a16="http://schemas.microsoft.com/office/drawing/2014/main" id="{9340B71E-52C9-4110-84FD-4038A3C8D909}"/>
                  </a:ext>
                </a:extLst>
              </p:cNvPr>
              <p:cNvSpPr/>
              <p:nvPr/>
            </p:nvSpPr>
            <p:spPr bwMode="auto">
              <a:xfrm>
                <a:off x="3054722" y="1241347"/>
                <a:ext cx="21012" cy="19611"/>
              </a:xfrm>
              <a:custGeom>
                <a:avLst/>
                <a:gdLst>
                  <a:gd name="T0" fmla="*/ 9 w 10"/>
                  <a:gd name="T1" fmla="*/ 0 h 9"/>
                  <a:gd name="T2" fmla="*/ 7 w 10"/>
                  <a:gd name="T3" fmla="*/ 4 h 9"/>
                  <a:gd name="T4" fmla="*/ 0 w 10"/>
                  <a:gd name="T5" fmla="*/ 6 h 9"/>
                  <a:gd name="T6" fmla="*/ 9 w 10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9">
                    <a:moveTo>
                      <a:pt x="9" y="0"/>
                    </a:moveTo>
                    <a:cubicBezTo>
                      <a:pt x="10" y="3"/>
                      <a:pt x="8" y="3"/>
                      <a:pt x="7" y="4"/>
                    </a:cubicBezTo>
                    <a:cubicBezTo>
                      <a:pt x="5" y="7"/>
                      <a:pt x="4" y="9"/>
                      <a:pt x="0" y="6"/>
                    </a:cubicBezTo>
                    <a:cubicBezTo>
                      <a:pt x="1" y="2"/>
                      <a:pt x="5" y="1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70" name="ïSļíḓè">
                <a:extLst>
                  <a:ext uri="{FF2B5EF4-FFF2-40B4-BE49-F238E27FC236}">
                    <a16:creationId xmlns:a16="http://schemas.microsoft.com/office/drawing/2014/main" id="{02352B24-F22E-4AF3-966D-5B294883BCEB}"/>
                  </a:ext>
                </a:extLst>
              </p:cNvPr>
              <p:cNvSpPr/>
              <p:nvPr/>
            </p:nvSpPr>
            <p:spPr bwMode="auto">
              <a:xfrm>
                <a:off x="3560405" y="1258157"/>
                <a:ext cx="25214" cy="37822"/>
              </a:xfrm>
              <a:custGeom>
                <a:avLst/>
                <a:gdLst>
                  <a:gd name="T0" fmla="*/ 3 w 12"/>
                  <a:gd name="T1" fmla="*/ 0 h 18"/>
                  <a:gd name="T2" fmla="*/ 12 w 12"/>
                  <a:gd name="T3" fmla="*/ 13 h 18"/>
                  <a:gd name="T4" fmla="*/ 5 w 12"/>
                  <a:gd name="T5" fmla="*/ 9 h 18"/>
                  <a:gd name="T6" fmla="*/ 3 w 12"/>
                  <a:gd name="T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8">
                    <a:moveTo>
                      <a:pt x="3" y="0"/>
                    </a:moveTo>
                    <a:cubicBezTo>
                      <a:pt x="6" y="4"/>
                      <a:pt x="7" y="11"/>
                      <a:pt x="12" y="13"/>
                    </a:cubicBezTo>
                    <a:cubicBezTo>
                      <a:pt x="10" y="18"/>
                      <a:pt x="5" y="12"/>
                      <a:pt x="5" y="9"/>
                    </a:cubicBezTo>
                    <a:cubicBezTo>
                      <a:pt x="0" y="9"/>
                      <a:pt x="0" y="2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71" name="ïšḻíde">
                <a:extLst>
                  <a:ext uri="{FF2B5EF4-FFF2-40B4-BE49-F238E27FC236}">
                    <a16:creationId xmlns:a16="http://schemas.microsoft.com/office/drawing/2014/main" id="{E02406AE-5064-451C-985D-4CA2715BDA3B}"/>
                  </a:ext>
                </a:extLst>
              </p:cNvPr>
              <p:cNvSpPr/>
              <p:nvPr/>
            </p:nvSpPr>
            <p:spPr bwMode="auto">
              <a:xfrm>
                <a:off x="7900028" y="1241347"/>
                <a:ext cx="40623" cy="180701"/>
              </a:xfrm>
              <a:custGeom>
                <a:avLst/>
                <a:gdLst>
                  <a:gd name="T0" fmla="*/ 6 w 19"/>
                  <a:gd name="T1" fmla="*/ 10 h 87"/>
                  <a:gd name="T2" fmla="*/ 10 w 19"/>
                  <a:gd name="T3" fmla="*/ 23 h 87"/>
                  <a:gd name="T4" fmla="*/ 12 w 19"/>
                  <a:gd name="T5" fmla="*/ 30 h 87"/>
                  <a:gd name="T6" fmla="*/ 12 w 19"/>
                  <a:gd name="T7" fmla="*/ 36 h 87"/>
                  <a:gd name="T8" fmla="*/ 14 w 19"/>
                  <a:gd name="T9" fmla="*/ 51 h 87"/>
                  <a:gd name="T10" fmla="*/ 19 w 19"/>
                  <a:gd name="T11" fmla="*/ 58 h 87"/>
                  <a:gd name="T12" fmla="*/ 12 w 19"/>
                  <a:gd name="T13" fmla="*/ 60 h 87"/>
                  <a:gd name="T14" fmla="*/ 12 w 19"/>
                  <a:gd name="T15" fmla="*/ 73 h 87"/>
                  <a:gd name="T16" fmla="*/ 8 w 19"/>
                  <a:gd name="T17" fmla="*/ 73 h 87"/>
                  <a:gd name="T18" fmla="*/ 12 w 19"/>
                  <a:gd name="T19" fmla="*/ 86 h 87"/>
                  <a:gd name="T20" fmla="*/ 2 w 19"/>
                  <a:gd name="T21" fmla="*/ 84 h 87"/>
                  <a:gd name="T22" fmla="*/ 4 w 19"/>
                  <a:gd name="T23" fmla="*/ 73 h 87"/>
                  <a:gd name="T24" fmla="*/ 1 w 19"/>
                  <a:gd name="T25" fmla="*/ 67 h 87"/>
                  <a:gd name="T26" fmla="*/ 4 w 19"/>
                  <a:gd name="T27" fmla="*/ 45 h 87"/>
                  <a:gd name="T28" fmla="*/ 1 w 19"/>
                  <a:gd name="T29" fmla="*/ 36 h 87"/>
                  <a:gd name="T30" fmla="*/ 1 w 19"/>
                  <a:gd name="T31" fmla="*/ 23 h 87"/>
                  <a:gd name="T32" fmla="*/ 6 w 19"/>
                  <a:gd name="T33" fmla="*/ 17 h 87"/>
                  <a:gd name="T34" fmla="*/ 8 w 19"/>
                  <a:gd name="T35" fmla="*/ 11 h 87"/>
                  <a:gd name="T36" fmla="*/ 6 w 19"/>
                  <a:gd name="T37" fmla="*/ 1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9" h="87">
                    <a:moveTo>
                      <a:pt x="6" y="10"/>
                    </a:moveTo>
                    <a:cubicBezTo>
                      <a:pt x="14" y="0"/>
                      <a:pt x="7" y="20"/>
                      <a:pt x="10" y="23"/>
                    </a:cubicBezTo>
                    <a:cubicBezTo>
                      <a:pt x="13" y="25"/>
                      <a:pt x="8" y="26"/>
                      <a:pt x="12" y="30"/>
                    </a:cubicBezTo>
                    <a:cubicBezTo>
                      <a:pt x="14" y="33"/>
                      <a:pt x="12" y="33"/>
                      <a:pt x="12" y="36"/>
                    </a:cubicBezTo>
                    <a:cubicBezTo>
                      <a:pt x="12" y="38"/>
                      <a:pt x="15" y="43"/>
                      <a:pt x="14" y="51"/>
                    </a:cubicBezTo>
                    <a:cubicBezTo>
                      <a:pt x="13" y="55"/>
                      <a:pt x="16" y="56"/>
                      <a:pt x="19" y="58"/>
                    </a:cubicBezTo>
                    <a:cubicBezTo>
                      <a:pt x="19" y="62"/>
                      <a:pt x="14" y="62"/>
                      <a:pt x="12" y="60"/>
                    </a:cubicBezTo>
                    <a:cubicBezTo>
                      <a:pt x="11" y="65"/>
                      <a:pt x="11" y="73"/>
                      <a:pt x="12" y="73"/>
                    </a:cubicBezTo>
                    <a:cubicBezTo>
                      <a:pt x="12" y="73"/>
                      <a:pt x="8" y="73"/>
                      <a:pt x="8" y="73"/>
                    </a:cubicBezTo>
                    <a:cubicBezTo>
                      <a:pt x="8" y="77"/>
                      <a:pt x="13" y="78"/>
                      <a:pt x="12" y="86"/>
                    </a:cubicBezTo>
                    <a:cubicBezTo>
                      <a:pt x="6" y="84"/>
                      <a:pt x="7" y="87"/>
                      <a:pt x="2" y="84"/>
                    </a:cubicBezTo>
                    <a:cubicBezTo>
                      <a:pt x="6" y="79"/>
                      <a:pt x="2" y="78"/>
                      <a:pt x="4" y="73"/>
                    </a:cubicBezTo>
                    <a:cubicBezTo>
                      <a:pt x="4" y="70"/>
                      <a:pt x="3" y="68"/>
                      <a:pt x="1" y="67"/>
                    </a:cubicBezTo>
                    <a:cubicBezTo>
                      <a:pt x="2" y="63"/>
                      <a:pt x="6" y="55"/>
                      <a:pt x="4" y="45"/>
                    </a:cubicBezTo>
                    <a:cubicBezTo>
                      <a:pt x="4" y="41"/>
                      <a:pt x="1" y="39"/>
                      <a:pt x="1" y="36"/>
                    </a:cubicBezTo>
                    <a:cubicBezTo>
                      <a:pt x="0" y="30"/>
                      <a:pt x="5" y="26"/>
                      <a:pt x="1" y="23"/>
                    </a:cubicBezTo>
                    <a:cubicBezTo>
                      <a:pt x="2" y="20"/>
                      <a:pt x="3" y="18"/>
                      <a:pt x="6" y="17"/>
                    </a:cubicBezTo>
                    <a:cubicBezTo>
                      <a:pt x="6" y="14"/>
                      <a:pt x="6" y="12"/>
                      <a:pt x="8" y="11"/>
                    </a:cubicBezTo>
                    <a:cubicBezTo>
                      <a:pt x="8" y="10"/>
                      <a:pt x="7" y="10"/>
                      <a:pt x="6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40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72" name="iṧlíḍè">
                <a:extLst>
                  <a:ext uri="{FF2B5EF4-FFF2-40B4-BE49-F238E27FC236}">
                    <a16:creationId xmlns:a16="http://schemas.microsoft.com/office/drawing/2014/main" id="{A2AD04AC-1ED4-4E4E-8A4E-37DE88BDBC67}"/>
                  </a:ext>
                </a:extLst>
              </p:cNvPr>
              <p:cNvSpPr/>
              <p:nvPr/>
            </p:nvSpPr>
            <p:spPr bwMode="auto">
              <a:xfrm>
                <a:off x="3023905" y="1260958"/>
                <a:ext cx="9806" cy="18211"/>
              </a:xfrm>
              <a:custGeom>
                <a:avLst/>
                <a:gdLst>
                  <a:gd name="T0" fmla="*/ 2 w 5"/>
                  <a:gd name="T1" fmla="*/ 1 h 9"/>
                  <a:gd name="T2" fmla="*/ 0 w 5"/>
                  <a:gd name="T3" fmla="*/ 6 h 9"/>
                  <a:gd name="T4" fmla="*/ 0 w 5"/>
                  <a:gd name="T5" fmla="*/ 2 h 9"/>
                  <a:gd name="T6" fmla="*/ 2 w 5"/>
                  <a:gd name="T7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9">
                    <a:moveTo>
                      <a:pt x="2" y="1"/>
                    </a:moveTo>
                    <a:cubicBezTo>
                      <a:pt x="5" y="0"/>
                      <a:pt x="4" y="9"/>
                      <a:pt x="0" y="6"/>
                    </a:cubicBezTo>
                    <a:cubicBezTo>
                      <a:pt x="0" y="5"/>
                      <a:pt x="0" y="4"/>
                      <a:pt x="0" y="2"/>
                    </a:cubicBezTo>
                    <a:cubicBezTo>
                      <a:pt x="1" y="3"/>
                      <a:pt x="1" y="2"/>
                      <a:pt x="2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73" name="ïSḷïḓè">
                <a:extLst>
                  <a:ext uri="{FF2B5EF4-FFF2-40B4-BE49-F238E27FC236}">
                    <a16:creationId xmlns:a16="http://schemas.microsoft.com/office/drawing/2014/main" id="{1698687F-EF4F-43CD-8AEC-325C6B1A3A5F}"/>
                  </a:ext>
                </a:extLst>
              </p:cNvPr>
              <p:cNvSpPr/>
              <p:nvPr/>
            </p:nvSpPr>
            <p:spPr bwMode="auto">
              <a:xfrm>
                <a:off x="4717451" y="1322593"/>
                <a:ext cx="116265" cy="98055"/>
              </a:xfrm>
              <a:custGeom>
                <a:avLst/>
                <a:gdLst>
                  <a:gd name="T0" fmla="*/ 25 w 56"/>
                  <a:gd name="T1" fmla="*/ 0 h 47"/>
                  <a:gd name="T2" fmla="*/ 30 w 56"/>
                  <a:gd name="T3" fmla="*/ 4 h 47"/>
                  <a:gd name="T4" fmla="*/ 28 w 56"/>
                  <a:gd name="T5" fmla="*/ 12 h 47"/>
                  <a:gd name="T6" fmla="*/ 36 w 56"/>
                  <a:gd name="T7" fmla="*/ 15 h 47"/>
                  <a:gd name="T8" fmla="*/ 47 w 56"/>
                  <a:gd name="T9" fmla="*/ 19 h 47"/>
                  <a:gd name="T10" fmla="*/ 45 w 56"/>
                  <a:gd name="T11" fmla="*/ 26 h 47"/>
                  <a:gd name="T12" fmla="*/ 51 w 56"/>
                  <a:gd name="T13" fmla="*/ 28 h 47"/>
                  <a:gd name="T14" fmla="*/ 54 w 56"/>
                  <a:gd name="T15" fmla="*/ 34 h 47"/>
                  <a:gd name="T16" fmla="*/ 51 w 56"/>
                  <a:gd name="T17" fmla="*/ 43 h 47"/>
                  <a:gd name="T18" fmla="*/ 49 w 56"/>
                  <a:gd name="T19" fmla="*/ 40 h 47"/>
                  <a:gd name="T20" fmla="*/ 38 w 56"/>
                  <a:gd name="T21" fmla="*/ 40 h 47"/>
                  <a:gd name="T22" fmla="*/ 30 w 56"/>
                  <a:gd name="T23" fmla="*/ 47 h 47"/>
                  <a:gd name="T24" fmla="*/ 26 w 56"/>
                  <a:gd name="T25" fmla="*/ 41 h 47"/>
                  <a:gd name="T26" fmla="*/ 21 w 56"/>
                  <a:gd name="T27" fmla="*/ 40 h 47"/>
                  <a:gd name="T28" fmla="*/ 13 w 56"/>
                  <a:gd name="T29" fmla="*/ 34 h 47"/>
                  <a:gd name="T30" fmla="*/ 0 w 56"/>
                  <a:gd name="T31" fmla="*/ 36 h 47"/>
                  <a:gd name="T32" fmla="*/ 2 w 56"/>
                  <a:gd name="T33" fmla="*/ 28 h 47"/>
                  <a:gd name="T34" fmla="*/ 10 w 56"/>
                  <a:gd name="T35" fmla="*/ 25 h 47"/>
                  <a:gd name="T36" fmla="*/ 13 w 56"/>
                  <a:gd name="T37" fmla="*/ 17 h 47"/>
                  <a:gd name="T38" fmla="*/ 15 w 56"/>
                  <a:gd name="T39" fmla="*/ 8 h 47"/>
                  <a:gd name="T40" fmla="*/ 19 w 56"/>
                  <a:gd name="T41" fmla="*/ 8 h 47"/>
                  <a:gd name="T42" fmla="*/ 19 w 56"/>
                  <a:gd name="T43" fmla="*/ 4 h 47"/>
                  <a:gd name="T44" fmla="*/ 25 w 56"/>
                  <a:gd name="T45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6" h="47">
                    <a:moveTo>
                      <a:pt x="25" y="0"/>
                    </a:moveTo>
                    <a:cubicBezTo>
                      <a:pt x="27" y="1"/>
                      <a:pt x="27" y="4"/>
                      <a:pt x="30" y="4"/>
                    </a:cubicBezTo>
                    <a:cubicBezTo>
                      <a:pt x="29" y="8"/>
                      <a:pt x="24" y="8"/>
                      <a:pt x="28" y="12"/>
                    </a:cubicBezTo>
                    <a:cubicBezTo>
                      <a:pt x="27" y="16"/>
                      <a:pt x="33" y="14"/>
                      <a:pt x="36" y="15"/>
                    </a:cubicBezTo>
                    <a:cubicBezTo>
                      <a:pt x="37" y="16"/>
                      <a:pt x="40" y="22"/>
                      <a:pt x="47" y="19"/>
                    </a:cubicBezTo>
                    <a:cubicBezTo>
                      <a:pt x="47" y="24"/>
                      <a:pt x="50" y="25"/>
                      <a:pt x="45" y="26"/>
                    </a:cubicBezTo>
                    <a:cubicBezTo>
                      <a:pt x="45" y="29"/>
                      <a:pt x="49" y="27"/>
                      <a:pt x="51" y="28"/>
                    </a:cubicBezTo>
                    <a:cubicBezTo>
                      <a:pt x="52" y="30"/>
                      <a:pt x="49" y="36"/>
                      <a:pt x="54" y="34"/>
                    </a:cubicBezTo>
                    <a:cubicBezTo>
                      <a:pt x="56" y="40"/>
                      <a:pt x="49" y="38"/>
                      <a:pt x="51" y="43"/>
                    </a:cubicBezTo>
                    <a:cubicBezTo>
                      <a:pt x="49" y="43"/>
                      <a:pt x="49" y="41"/>
                      <a:pt x="49" y="40"/>
                    </a:cubicBezTo>
                    <a:cubicBezTo>
                      <a:pt x="42" y="40"/>
                      <a:pt x="43" y="42"/>
                      <a:pt x="38" y="40"/>
                    </a:cubicBezTo>
                    <a:cubicBezTo>
                      <a:pt x="35" y="42"/>
                      <a:pt x="30" y="42"/>
                      <a:pt x="30" y="47"/>
                    </a:cubicBezTo>
                    <a:cubicBezTo>
                      <a:pt x="27" y="47"/>
                      <a:pt x="28" y="43"/>
                      <a:pt x="26" y="41"/>
                    </a:cubicBezTo>
                    <a:cubicBezTo>
                      <a:pt x="25" y="40"/>
                      <a:pt x="22" y="41"/>
                      <a:pt x="21" y="40"/>
                    </a:cubicBezTo>
                    <a:cubicBezTo>
                      <a:pt x="19" y="38"/>
                      <a:pt x="18" y="35"/>
                      <a:pt x="13" y="34"/>
                    </a:cubicBezTo>
                    <a:cubicBezTo>
                      <a:pt x="7" y="33"/>
                      <a:pt x="7" y="37"/>
                      <a:pt x="0" y="36"/>
                    </a:cubicBezTo>
                    <a:cubicBezTo>
                      <a:pt x="2" y="34"/>
                      <a:pt x="2" y="32"/>
                      <a:pt x="2" y="28"/>
                    </a:cubicBezTo>
                    <a:cubicBezTo>
                      <a:pt x="8" y="31"/>
                      <a:pt x="4" y="22"/>
                      <a:pt x="10" y="25"/>
                    </a:cubicBezTo>
                    <a:cubicBezTo>
                      <a:pt x="7" y="20"/>
                      <a:pt x="12" y="19"/>
                      <a:pt x="13" y="17"/>
                    </a:cubicBezTo>
                    <a:cubicBezTo>
                      <a:pt x="14" y="15"/>
                      <a:pt x="13" y="11"/>
                      <a:pt x="15" y="8"/>
                    </a:cubicBezTo>
                    <a:cubicBezTo>
                      <a:pt x="16" y="7"/>
                      <a:pt x="18" y="8"/>
                      <a:pt x="19" y="8"/>
                    </a:cubicBezTo>
                    <a:cubicBezTo>
                      <a:pt x="20" y="7"/>
                      <a:pt x="18" y="5"/>
                      <a:pt x="19" y="4"/>
                    </a:cubicBezTo>
                    <a:cubicBezTo>
                      <a:pt x="21" y="3"/>
                      <a:pt x="25" y="4"/>
                      <a:pt x="2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74" name="iṣļïdè">
                <a:extLst>
                  <a:ext uri="{FF2B5EF4-FFF2-40B4-BE49-F238E27FC236}">
                    <a16:creationId xmlns:a16="http://schemas.microsoft.com/office/drawing/2014/main" id="{C258428A-44CD-4339-A11E-27E361FF68AA}"/>
                  </a:ext>
                </a:extLst>
              </p:cNvPr>
              <p:cNvSpPr/>
              <p:nvPr/>
            </p:nvSpPr>
            <p:spPr bwMode="auto">
              <a:xfrm>
                <a:off x="4654415" y="1353410"/>
                <a:ext cx="29417" cy="25214"/>
              </a:xfrm>
              <a:custGeom>
                <a:avLst/>
                <a:gdLst>
                  <a:gd name="T0" fmla="*/ 0 w 14"/>
                  <a:gd name="T1" fmla="*/ 0 h 12"/>
                  <a:gd name="T2" fmla="*/ 14 w 14"/>
                  <a:gd name="T3" fmla="*/ 6 h 12"/>
                  <a:gd name="T4" fmla="*/ 0 w 14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2">
                    <a:moveTo>
                      <a:pt x="0" y="0"/>
                    </a:moveTo>
                    <a:cubicBezTo>
                      <a:pt x="7" y="0"/>
                      <a:pt x="7" y="6"/>
                      <a:pt x="14" y="6"/>
                    </a:cubicBezTo>
                    <a:cubicBezTo>
                      <a:pt x="12" y="12"/>
                      <a:pt x="1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75" name="iṥ1íde">
                <a:extLst>
                  <a:ext uri="{FF2B5EF4-FFF2-40B4-BE49-F238E27FC236}">
                    <a16:creationId xmlns:a16="http://schemas.microsoft.com/office/drawing/2014/main" id="{BFB883DC-A114-408E-827A-941857B4310B}"/>
                  </a:ext>
                </a:extLst>
              </p:cNvPr>
              <p:cNvSpPr/>
              <p:nvPr/>
            </p:nvSpPr>
            <p:spPr bwMode="auto">
              <a:xfrm>
                <a:off x="7886020" y="1451465"/>
                <a:ext cx="81245" cy="58833"/>
              </a:xfrm>
              <a:custGeom>
                <a:avLst/>
                <a:gdLst>
                  <a:gd name="T0" fmla="*/ 11 w 39"/>
                  <a:gd name="T1" fmla="*/ 0 h 28"/>
                  <a:gd name="T2" fmla="*/ 13 w 39"/>
                  <a:gd name="T3" fmla="*/ 2 h 28"/>
                  <a:gd name="T4" fmla="*/ 21 w 39"/>
                  <a:gd name="T5" fmla="*/ 9 h 28"/>
                  <a:gd name="T6" fmla="*/ 39 w 39"/>
                  <a:gd name="T7" fmla="*/ 7 h 28"/>
                  <a:gd name="T8" fmla="*/ 32 w 39"/>
                  <a:gd name="T9" fmla="*/ 19 h 28"/>
                  <a:gd name="T10" fmla="*/ 26 w 39"/>
                  <a:gd name="T11" fmla="*/ 17 h 28"/>
                  <a:gd name="T12" fmla="*/ 19 w 39"/>
                  <a:gd name="T13" fmla="*/ 20 h 28"/>
                  <a:gd name="T14" fmla="*/ 17 w 39"/>
                  <a:gd name="T15" fmla="*/ 26 h 28"/>
                  <a:gd name="T16" fmla="*/ 8 w 39"/>
                  <a:gd name="T17" fmla="*/ 22 h 28"/>
                  <a:gd name="T18" fmla="*/ 11 w 39"/>
                  <a:gd name="T1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9" h="28">
                    <a:moveTo>
                      <a:pt x="11" y="0"/>
                    </a:moveTo>
                    <a:cubicBezTo>
                      <a:pt x="13" y="0"/>
                      <a:pt x="13" y="1"/>
                      <a:pt x="13" y="2"/>
                    </a:cubicBezTo>
                    <a:cubicBezTo>
                      <a:pt x="13" y="7"/>
                      <a:pt x="20" y="4"/>
                      <a:pt x="21" y="9"/>
                    </a:cubicBezTo>
                    <a:cubicBezTo>
                      <a:pt x="27" y="7"/>
                      <a:pt x="32" y="10"/>
                      <a:pt x="39" y="7"/>
                    </a:cubicBezTo>
                    <a:cubicBezTo>
                      <a:pt x="39" y="13"/>
                      <a:pt x="32" y="13"/>
                      <a:pt x="32" y="19"/>
                    </a:cubicBezTo>
                    <a:cubicBezTo>
                      <a:pt x="29" y="19"/>
                      <a:pt x="29" y="17"/>
                      <a:pt x="26" y="17"/>
                    </a:cubicBezTo>
                    <a:cubicBezTo>
                      <a:pt x="22" y="16"/>
                      <a:pt x="20" y="25"/>
                      <a:pt x="19" y="20"/>
                    </a:cubicBezTo>
                    <a:cubicBezTo>
                      <a:pt x="17" y="21"/>
                      <a:pt x="17" y="24"/>
                      <a:pt x="17" y="26"/>
                    </a:cubicBezTo>
                    <a:cubicBezTo>
                      <a:pt x="12" y="28"/>
                      <a:pt x="12" y="15"/>
                      <a:pt x="8" y="22"/>
                    </a:cubicBezTo>
                    <a:cubicBezTo>
                      <a:pt x="0" y="17"/>
                      <a:pt x="6" y="3"/>
                      <a:pt x="1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76" name="ïşḷiďè">
                <a:extLst>
                  <a:ext uri="{FF2B5EF4-FFF2-40B4-BE49-F238E27FC236}">
                    <a16:creationId xmlns:a16="http://schemas.microsoft.com/office/drawing/2014/main" id="{DEED8BCA-D06E-4FF7-8D5D-719DE6BAB5DE}"/>
                  </a:ext>
                </a:extLst>
              </p:cNvPr>
              <p:cNvSpPr/>
              <p:nvPr/>
            </p:nvSpPr>
            <p:spPr bwMode="auto">
              <a:xfrm>
                <a:off x="7743140" y="1520103"/>
                <a:ext cx="156888" cy="137277"/>
              </a:xfrm>
              <a:custGeom>
                <a:avLst/>
                <a:gdLst>
                  <a:gd name="T0" fmla="*/ 67 w 76"/>
                  <a:gd name="T1" fmla="*/ 0 h 66"/>
                  <a:gd name="T2" fmla="*/ 73 w 76"/>
                  <a:gd name="T3" fmla="*/ 2 h 66"/>
                  <a:gd name="T4" fmla="*/ 73 w 76"/>
                  <a:gd name="T5" fmla="*/ 30 h 66"/>
                  <a:gd name="T6" fmla="*/ 71 w 76"/>
                  <a:gd name="T7" fmla="*/ 27 h 66"/>
                  <a:gd name="T8" fmla="*/ 71 w 76"/>
                  <a:gd name="T9" fmla="*/ 38 h 66"/>
                  <a:gd name="T10" fmla="*/ 67 w 76"/>
                  <a:gd name="T11" fmla="*/ 36 h 66"/>
                  <a:gd name="T12" fmla="*/ 67 w 76"/>
                  <a:gd name="T13" fmla="*/ 55 h 66"/>
                  <a:gd name="T14" fmla="*/ 64 w 76"/>
                  <a:gd name="T15" fmla="*/ 53 h 66"/>
                  <a:gd name="T16" fmla="*/ 58 w 76"/>
                  <a:gd name="T17" fmla="*/ 56 h 66"/>
                  <a:gd name="T18" fmla="*/ 54 w 76"/>
                  <a:gd name="T19" fmla="*/ 55 h 66"/>
                  <a:gd name="T20" fmla="*/ 47 w 76"/>
                  <a:gd name="T21" fmla="*/ 56 h 66"/>
                  <a:gd name="T22" fmla="*/ 37 w 76"/>
                  <a:gd name="T23" fmla="*/ 58 h 66"/>
                  <a:gd name="T24" fmla="*/ 34 w 76"/>
                  <a:gd name="T25" fmla="*/ 66 h 66"/>
                  <a:gd name="T26" fmla="*/ 26 w 76"/>
                  <a:gd name="T27" fmla="*/ 56 h 66"/>
                  <a:gd name="T28" fmla="*/ 23 w 76"/>
                  <a:gd name="T29" fmla="*/ 60 h 66"/>
                  <a:gd name="T30" fmla="*/ 19 w 76"/>
                  <a:gd name="T31" fmla="*/ 58 h 66"/>
                  <a:gd name="T32" fmla="*/ 0 w 76"/>
                  <a:gd name="T33" fmla="*/ 62 h 66"/>
                  <a:gd name="T34" fmla="*/ 2 w 76"/>
                  <a:gd name="T35" fmla="*/ 55 h 66"/>
                  <a:gd name="T36" fmla="*/ 6 w 76"/>
                  <a:gd name="T37" fmla="*/ 56 h 66"/>
                  <a:gd name="T38" fmla="*/ 8 w 76"/>
                  <a:gd name="T39" fmla="*/ 53 h 66"/>
                  <a:gd name="T40" fmla="*/ 34 w 76"/>
                  <a:gd name="T41" fmla="*/ 51 h 66"/>
                  <a:gd name="T42" fmla="*/ 37 w 76"/>
                  <a:gd name="T43" fmla="*/ 38 h 66"/>
                  <a:gd name="T44" fmla="*/ 41 w 76"/>
                  <a:gd name="T45" fmla="*/ 34 h 66"/>
                  <a:gd name="T46" fmla="*/ 52 w 76"/>
                  <a:gd name="T47" fmla="*/ 36 h 66"/>
                  <a:gd name="T48" fmla="*/ 52 w 76"/>
                  <a:gd name="T49" fmla="*/ 28 h 66"/>
                  <a:gd name="T50" fmla="*/ 54 w 76"/>
                  <a:gd name="T51" fmla="*/ 32 h 66"/>
                  <a:gd name="T52" fmla="*/ 56 w 76"/>
                  <a:gd name="T53" fmla="*/ 23 h 66"/>
                  <a:gd name="T54" fmla="*/ 62 w 76"/>
                  <a:gd name="T55" fmla="*/ 8 h 66"/>
                  <a:gd name="T56" fmla="*/ 67 w 76"/>
                  <a:gd name="T5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6" h="66">
                    <a:moveTo>
                      <a:pt x="67" y="0"/>
                    </a:moveTo>
                    <a:cubicBezTo>
                      <a:pt x="70" y="0"/>
                      <a:pt x="70" y="2"/>
                      <a:pt x="73" y="2"/>
                    </a:cubicBezTo>
                    <a:cubicBezTo>
                      <a:pt x="73" y="16"/>
                      <a:pt x="76" y="22"/>
                      <a:pt x="73" y="30"/>
                    </a:cubicBezTo>
                    <a:cubicBezTo>
                      <a:pt x="71" y="30"/>
                      <a:pt x="71" y="28"/>
                      <a:pt x="71" y="27"/>
                    </a:cubicBezTo>
                    <a:cubicBezTo>
                      <a:pt x="66" y="28"/>
                      <a:pt x="71" y="34"/>
                      <a:pt x="71" y="38"/>
                    </a:cubicBezTo>
                    <a:cubicBezTo>
                      <a:pt x="69" y="37"/>
                      <a:pt x="69" y="36"/>
                      <a:pt x="67" y="36"/>
                    </a:cubicBezTo>
                    <a:cubicBezTo>
                      <a:pt x="67" y="42"/>
                      <a:pt x="67" y="48"/>
                      <a:pt x="67" y="55"/>
                    </a:cubicBezTo>
                    <a:cubicBezTo>
                      <a:pt x="66" y="54"/>
                      <a:pt x="65" y="53"/>
                      <a:pt x="64" y="53"/>
                    </a:cubicBezTo>
                    <a:cubicBezTo>
                      <a:pt x="60" y="51"/>
                      <a:pt x="59" y="56"/>
                      <a:pt x="58" y="56"/>
                    </a:cubicBezTo>
                    <a:cubicBezTo>
                      <a:pt x="57" y="57"/>
                      <a:pt x="56" y="55"/>
                      <a:pt x="54" y="55"/>
                    </a:cubicBezTo>
                    <a:cubicBezTo>
                      <a:pt x="54" y="54"/>
                      <a:pt x="49" y="56"/>
                      <a:pt x="47" y="56"/>
                    </a:cubicBezTo>
                    <a:cubicBezTo>
                      <a:pt x="46" y="57"/>
                      <a:pt x="42" y="59"/>
                      <a:pt x="37" y="58"/>
                    </a:cubicBezTo>
                    <a:cubicBezTo>
                      <a:pt x="34" y="58"/>
                      <a:pt x="36" y="65"/>
                      <a:pt x="34" y="66"/>
                    </a:cubicBezTo>
                    <a:cubicBezTo>
                      <a:pt x="30" y="64"/>
                      <a:pt x="26" y="62"/>
                      <a:pt x="26" y="56"/>
                    </a:cubicBezTo>
                    <a:cubicBezTo>
                      <a:pt x="23" y="54"/>
                      <a:pt x="23" y="60"/>
                      <a:pt x="23" y="60"/>
                    </a:cubicBezTo>
                    <a:cubicBezTo>
                      <a:pt x="20" y="61"/>
                      <a:pt x="19" y="58"/>
                      <a:pt x="19" y="58"/>
                    </a:cubicBezTo>
                    <a:cubicBezTo>
                      <a:pt x="12" y="59"/>
                      <a:pt x="5" y="65"/>
                      <a:pt x="0" y="62"/>
                    </a:cubicBezTo>
                    <a:cubicBezTo>
                      <a:pt x="2" y="60"/>
                      <a:pt x="2" y="58"/>
                      <a:pt x="2" y="55"/>
                    </a:cubicBezTo>
                    <a:cubicBezTo>
                      <a:pt x="4" y="53"/>
                      <a:pt x="6" y="56"/>
                      <a:pt x="6" y="56"/>
                    </a:cubicBezTo>
                    <a:cubicBezTo>
                      <a:pt x="8" y="56"/>
                      <a:pt x="7" y="53"/>
                      <a:pt x="8" y="53"/>
                    </a:cubicBezTo>
                    <a:cubicBezTo>
                      <a:pt x="14" y="52"/>
                      <a:pt x="26" y="54"/>
                      <a:pt x="34" y="51"/>
                    </a:cubicBezTo>
                    <a:cubicBezTo>
                      <a:pt x="31" y="42"/>
                      <a:pt x="39" y="45"/>
                      <a:pt x="37" y="38"/>
                    </a:cubicBezTo>
                    <a:cubicBezTo>
                      <a:pt x="41" y="40"/>
                      <a:pt x="42" y="39"/>
                      <a:pt x="41" y="34"/>
                    </a:cubicBezTo>
                    <a:cubicBezTo>
                      <a:pt x="45" y="38"/>
                      <a:pt x="49" y="31"/>
                      <a:pt x="52" y="36"/>
                    </a:cubicBezTo>
                    <a:cubicBezTo>
                      <a:pt x="53" y="35"/>
                      <a:pt x="51" y="29"/>
                      <a:pt x="52" y="28"/>
                    </a:cubicBezTo>
                    <a:cubicBezTo>
                      <a:pt x="54" y="27"/>
                      <a:pt x="54" y="32"/>
                      <a:pt x="54" y="32"/>
                    </a:cubicBezTo>
                    <a:cubicBezTo>
                      <a:pt x="56" y="33"/>
                      <a:pt x="60" y="31"/>
                      <a:pt x="56" y="23"/>
                    </a:cubicBezTo>
                    <a:cubicBezTo>
                      <a:pt x="63" y="21"/>
                      <a:pt x="59" y="13"/>
                      <a:pt x="62" y="8"/>
                    </a:cubicBezTo>
                    <a:cubicBezTo>
                      <a:pt x="63" y="5"/>
                      <a:pt x="70" y="5"/>
                      <a:pt x="6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77" name="iSḻidê">
                <a:extLst>
                  <a:ext uri="{FF2B5EF4-FFF2-40B4-BE49-F238E27FC236}">
                    <a16:creationId xmlns:a16="http://schemas.microsoft.com/office/drawing/2014/main" id="{47F302DF-D1E8-472F-85CD-0F66524616F9}"/>
                  </a:ext>
                </a:extLst>
              </p:cNvPr>
              <p:cNvSpPr/>
              <p:nvPr/>
            </p:nvSpPr>
            <p:spPr bwMode="auto">
              <a:xfrm>
                <a:off x="5794652" y="1528507"/>
                <a:ext cx="28016" cy="30817"/>
              </a:xfrm>
              <a:custGeom>
                <a:avLst/>
                <a:gdLst>
                  <a:gd name="T0" fmla="*/ 4 w 13"/>
                  <a:gd name="T1" fmla="*/ 0 h 15"/>
                  <a:gd name="T2" fmla="*/ 0 w 13"/>
                  <a:gd name="T3" fmla="*/ 13 h 15"/>
                  <a:gd name="T4" fmla="*/ 4 w 13"/>
                  <a:gd name="T5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5">
                    <a:moveTo>
                      <a:pt x="4" y="0"/>
                    </a:moveTo>
                    <a:cubicBezTo>
                      <a:pt x="13" y="0"/>
                      <a:pt x="10" y="15"/>
                      <a:pt x="0" y="13"/>
                    </a:cubicBezTo>
                    <a:cubicBezTo>
                      <a:pt x="4" y="12"/>
                      <a:pt x="0" y="1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78" name="íṧľíḓe">
                <a:extLst>
                  <a:ext uri="{FF2B5EF4-FFF2-40B4-BE49-F238E27FC236}">
                    <a16:creationId xmlns:a16="http://schemas.microsoft.com/office/drawing/2014/main" id="{1EBCAEA4-9DB3-4EF5-8646-D51F9C137C27}"/>
                  </a:ext>
                </a:extLst>
              </p:cNvPr>
              <p:cNvSpPr/>
              <p:nvPr/>
            </p:nvSpPr>
            <p:spPr bwMode="auto">
              <a:xfrm>
                <a:off x="5861889" y="1571932"/>
                <a:ext cx="39222" cy="29417"/>
              </a:xfrm>
              <a:custGeom>
                <a:avLst/>
                <a:gdLst>
                  <a:gd name="T0" fmla="*/ 15 w 19"/>
                  <a:gd name="T1" fmla="*/ 3 h 14"/>
                  <a:gd name="T2" fmla="*/ 19 w 19"/>
                  <a:gd name="T3" fmla="*/ 13 h 14"/>
                  <a:gd name="T4" fmla="*/ 9 w 19"/>
                  <a:gd name="T5" fmla="*/ 13 h 14"/>
                  <a:gd name="T6" fmla="*/ 9 w 19"/>
                  <a:gd name="T7" fmla="*/ 11 h 14"/>
                  <a:gd name="T8" fmla="*/ 2 w 19"/>
                  <a:gd name="T9" fmla="*/ 9 h 14"/>
                  <a:gd name="T10" fmla="*/ 15 w 19"/>
                  <a:gd name="T11" fmla="*/ 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14">
                    <a:moveTo>
                      <a:pt x="15" y="3"/>
                    </a:moveTo>
                    <a:cubicBezTo>
                      <a:pt x="18" y="5"/>
                      <a:pt x="19" y="8"/>
                      <a:pt x="19" y="13"/>
                    </a:cubicBezTo>
                    <a:cubicBezTo>
                      <a:pt x="17" y="12"/>
                      <a:pt x="11" y="14"/>
                      <a:pt x="9" y="13"/>
                    </a:cubicBezTo>
                    <a:cubicBezTo>
                      <a:pt x="9" y="13"/>
                      <a:pt x="10" y="11"/>
                      <a:pt x="9" y="11"/>
                    </a:cubicBezTo>
                    <a:cubicBezTo>
                      <a:pt x="7" y="10"/>
                      <a:pt x="2" y="12"/>
                      <a:pt x="2" y="9"/>
                    </a:cubicBezTo>
                    <a:cubicBezTo>
                      <a:pt x="0" y="0"/>
                      <a:pt x="15" y="9"/>
                      <a:pt x="15" y="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79" name="ïšliḋe">
                <a:extLst>
                  <a:ext uri="{FF2B5EF4-FFF2-40B4-BE49-F238E27FC236}">
                    <a16:creationId xmlns:a16="http://schemas.microsoft.com/office/drawing/2014/main" id="{74B7000B-275D-4F01-8810-C7A97C90E37C}"/>
                  </a:ext>
                </a:extLst>
              </p:cNvPr>
              <p:cNvSpPr/>
              <p:nvPr/>
            </p:nvSpPr>
            <p:spPr bwMode="auto">
              <a:xfrm>
                <a:off x="6175664" y="1627963"/>
                <a:ext cx="29417" cy="15409"/>
              </a:xfrm>
              <a:custGeom>
                <a:avLst/>
                <a:gdLst>
                  <a:gd name="T0" fmla="*/ 0 w 14"/>
                  <a:gd name="T1" fmla="*/ 6 h 7"/>
                  <a:gd name="T2" fmla="*/ 8 w 14"/>
                  <a:gd name="T3" fmla="*/ 1 h 7"/>
                  <a:gd name="T4" fmla="*/ 6 w 14"/>
                  <a:gd name="T5" fmla="*/ 3 h 7"/>
                  <a:gd name="T6" fmla="*/ 0 w 14"/>
                  <a:gd name="T7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7">
                    <a:moveTo>
                      <a:pt x="0" y="6"/>
                    </a:moveTo>
                    <a:cubicBezTo>
                      <a:pt x="0" y="1"/>
                      <a:pt x="3" y="0"/>
                      <a:pt x="8" y="1"/>
                    </a:cubicBezTo>
                    <a:cubicBezTo>
                      <a:pt x="14" y="0"/>
                      <a:pt x="10" y="4"/>
                      <a:pt x="6" y="3"/>
                    </a:cubicBezTo>
                    <a:cubicBezTo>
                      <a:pt x="4" y="4"/>
                      <a:pt x="4" y="7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80" name="ïSḻîḍé">
                <a:extLst>
                  <a:ext uri="{FF2B5EF4-FFF2-40B4-BE49-F238E27FC236}">
                    <a16:creationId xmlns:a16="http://schemas.microsoft.com/office/drawing/2014/main" id="{4C6969D5-89B1-4DBD-AAE8-AA88E0794C41}"/>
                  </a:ext>
                </a:extLst>
              </p:cNvPr>
              <p:cNvSpPr/>
              <p:nvPr/>
            </p:nvSpPr>
            <p:spPr bwMode="auto">
              <a:xfrm>
                <a:off x="7757148" y="1651776"/>
                <a:ext cx="29417" cy="18211"/>
              </a:xfrm>
              <a:custGeom>
                <a:avLst/>
                <a:gdLst>
                  <a:gd name="T0" fmla="*/ 12 w 14"/>
                  <a:gd name="T1" fmla="*/ 1 h 9"/>
                  <a:gd name="T2" fmla="*/ 8 w 14"/>
                  <a:gd name="T3" fmla="*/ 8 h 9"/>
                  <a:gd name="T4" fmla="*/ 1 w 14"/>
                  <a:gd name="T5" fmla="*/ 3 h 9"/>
                  <a:gd name="T6" fmla="*/ 12 w 14"/>
                  <a:gd name="T7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9">
                    <a:moveTo>
                      <a:pt x="12" y="1"/>
                    </a:moveTo>
                    <a:cubicBezTo>
                      <a:pt x="14" y="7"/>
                      <a:pt x="6" y="2"/>
                      <a:pt x="8" y="8"/>
                    </a:cubicBezTo>
                    <a:cubicBezTo>
                      <a:pt x="3" y="9"/>
                      <a:pt x="0" y="8"/>
                      <a:pt x="1" y="3"/>
                    </a:cubicBezTo>
                    <a:cubicBezTo>
                      <a:pt x="5" y="8"/>
                      <a:pt x="6" y="0"/>
                      <a:pt x="12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81" name="iṧḷiḑè">
                <a:extLst>
                  <a:ext uri="{FF2B5EF4-FFF2-40B4-BE49-F238E27FC236}">
                    <a16:creationId xmlns:a16="http://schemas.microsoft.com/office/drawing/2014/main" id="{E29BC0DD-8DF5-47CB-B26E-3ADBA7E78E5B}"/>
                  </a:ext>
                </a:extLst>
              </p:cNvPr>
              <p:cNvSpPr/>
              <p:nvPr/>
            </p:nvSpPr>
            <p:spPr bwMode="auto">
              <a:xfrm>
                <a:off x="7706720" y="1653177"/>
                <a:ext cx="42023" cy="43425"/>
              </a:xfrm>
              <a:custGeom>
                <a:avLst/>
                <a:gdLst>
                  <a:gd name="T0" fmla="*/ 17 w 20"/>
                  <a:gd name="T1" fmla="*/ 4 h 21"/>
                  <a:gd name="T2" fmla="*/ 17 w 20"/>
                  <a:gd name="T3" fmla="*/ 17 h 21"/>
                  <a:gd name="T4" fmla="*/ 6 w 20"/>
                  <a:gd name="T5" fmla="*/ 18 h 21"/>
                  <a:gd name="T6" fmla="*/ 0 w 20"/>
                  <a:gd name="T7" fmla="*/ 11 h 21"/>
                  <a:gd name="T8" fmla="*/ 17 w 20"/>
                  <a:gd name="T9" fmla="*/ 4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21">
                    <a:moveTo>
                      <a:pt x="17" y="4"/>
                    </a:moveTo>
                    <a:cubicBezTo>
                      <a:pt x="20" y="9"/>
                      <a:pt x="12" y="14"/>
                      <a:pt x="17" y="17"/>
                    </a:cubicBezTo>
                    <a:cubicBezTo>
                      <a:pt x="17" y="21"/>
                      <a:pt x="9" y="17"/>
                      <a:pt x="6" y="18"/>
                    </a:cubicBezTo>
                    <a:cubicBezTo>
                      <a:pt x="6" y="11"/>
                      <a:pt x="7" y="8"/>
                      <a:pt x="0" y="11"/>
                    </a:cubicBezTo>
                    <a:cubicBezTo>
                      <a:pt x="0" y="2"/>
                      <a:pt x="10" y="0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82" name="îŝ1íḓê">
                <a:extLst>
                  <a:ext uri="{FF2B5EF4-FFF2-40B4-BE49-F238E27FC236}">
                    <a16:creationId xmlns:a16="http://schemas.microsoft.com/office/drawing/2014/main" id="{FA28B9AE-B403-447D-B9FD-BC27C3FBA8FF}"/>
                  </a:ext>
                </a:extLst>
              </p:cNvPr>
              <p:cNvSpPr/>
              <p:nvPr/>
            </p:nvSpPr>
            <p:spPr bwMode="auto">
              <a:xfrm>
                <a:off x="7561038" y="1807263"/>
                <a:ext cx="25214" cy="39222"/>
              </a:xfrm>
              <a:custGeom>
                <a:avLst/>
                <a:gdLst>
                  <a:gd name="T0" fmla="*/ 11 w 12"/>
                  <a:gd name="T1" fmla="*/ 8 h 19"/>
                  <a:gd name="T2" fmla="*/ 7 w 12"/>
                  <a:gd name="T3" fmla="*/ 19 h 19"/>
                  <a:gd name="T4" fmla="*/ 0 w 12"/>
                  <a:gd name="T5" fmla="*/ 19 h 19"/>
                  <a:gd name="T6" fmla="*/ 1 w 12"/>
                  <a:gd name="T7" fmla="*/ 6 h 19"/>
                  <a:gd name="T8" fmla="*/ 11 w 12"/>
                  <a:gd name="T9" fmla="*/ 8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9">
                    <a:moveTo>
                      <a:pt x="11" y="8"/>
                    </a:moveTo>
                    <a:cubicBezTo>
                      <a:pt x="11" y="13"/>
                      <a:pt x="4" y="11"/>
                      <a:pt x="7" y="19"/>
                    </a:cubicBezTo>
                    <a:cubicBezTo>
                      <a:pt x="5" y="19"/>
                      <a:pt x="2" y="19"/>
                      <a:pt x="0" y="19"/>
                    </a:cubicBezTo>
                    <a:cubicBezTo>
                      <a:pt x="0" y="16"/>
                      <a:pt x="6" y="9"/>
                      <a:pt x="1" y="6"/>
                    </a:cubicBezTo>
                    <a:cubicBezTo>
                      <a:pt x="3" y="2"/>
                      <a:pt x="12" y="0"/>
                      <a:pt x="11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83" name="îSľîḑè">
                <a:extLst>
                  <a:ext uri="{FF2B5EF4-FFF2-40B4-BE49-F238E27FC236}">
                    <a16:creationId xmlns:a16="http://schemas.microsoft.com/office/drawing/2014/main" id="{0EA10B24-DAE8-42CB-B363-56356A984EF6}"/>
                  </a:ext>
                </a:extLst>
              </p:cNvPr>
              <p:cNvSpPr/>
              <p:nvPr/>
            </p:nvSpPr>
            <p:spPr bwMode="auto">
              <a:xfrm>
                <a:off x="3912000" y="1825473"/>
                <a:ext cx="16809" cy="12607"/>
              </a:xfrm>
              <a:custGeom>
                <a:avLst/>
                <a:gdLst>
                  <a:gd name="T0" fmla="*/ 0 w 8"/>
                  <a:gd name="T1" fmla="*/ 3 h 6"/>
                  <a:gd name="T2" fmla="*/ 7 w 8"/>
                  <a:gd name="T3" fmla="*/ 1 h 6"/>
                  <a:gd name="T4" fmla="*/ 5 w 8"/>
                  <a:gd name="T5" fmla="*/ 6 h 6"/>
                  <a:gd name="T6" fmla="*/ 1 w 8"/>
                  <a:gd name="T7" fmla="*/ 6 h 6"/>
                  <a:gd name="T8" fmla="*/ 0 w 8"/>
                  <a:gd name="T9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6">
                    <a:moveTo>
                      <a:pt x="0" y="3"/>
                    </a:moveTo>
                    <a:cubicBezTo>
                      <a:pt x="0" y="0"/>
                      <a:pt x="4" y="1"/>
                      <a:pt x="7" y="1"/>
                    </a:cubicBezTo>
                    <a:cubicBezTo>
                      <a:pt x="8" y="4"/>
                      <a:pt x="5" y="4"/>
                      <a:pt x="5" y="6"/>
                    </a:cubicBezTo>
                    <a:cubicBezTo>
                      <a:pt x="4" y="6"/>
                      <a:pt x="3" y="6"/>
                      <a:pt x="1" y="6"/>
                    </a:cubicBezTo>
                    <a:cubicBezTo>
                      <a:pt x="2" y="4"/>
                      <a:pt x="1" y="3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84" name="ïŝḻïḋe">
                <a:extLst>
                  <a:ext uri="{FF2B5EF4-FFF2-40B4-BE49-F238E27FC236}">
                    <a16:creationId xmlns:a16="http://schemas.microsoft.com/office/drawing/2014/main" id="{594BEB4A-BAAD-4D17-86F9-A8CB8881B2CC}"/>
                  </a:ext>
                </a:extLst>
              </p:cNvPr>
              <p:cNvSpPr/>
              <p:nvPr/>
            </p:nvSpPr>
            <p:spPr bwMode="auto">
              <a:xfrm>
                <a:off x="4322430" y="1838081"/>
                <a:ext cx="158289" cy="63036"/>
              </a:xfrm>
              <a:custGeom>
                <a:avLst/>
                <a:gdLst>
                  <a:gd name="T0" fmla="*/ 75 w 76"/>
                  <a:gd name="T1" fmla="*/ 21 h 30"/>
                  <a:gd name="T2" fmla="*/ 58 w 76"/>
                  <a:gd name="T3" fmla="*/ 26 h 30"/>
                  <a:gd name="T4" fmla="*/ 54 w 76"/>
                  <a:gd name="T5" fmla="*/ 17 h 30"/>
                  <a:gd name="T6" fmla="*/ 34 w 76"/>
                  <a:gd name="T7" fmla="*/ 13 h 30"/>
                  <a:gd name="T8" fmla="*/ 32 w 76"/>
                  <a:gd name="T9" fmla="*/ 8 h 30"/>
                  <a:gd name="T10" fmla="*/ 13 w 76"/>
                  <a:gd name="T11" fmla="*/ 8 h 30"/>
                  <a:gd name="T12" fmla="*/ 0 w 76"/>
                  <a:gd name="T13" fmla="*/ 11 h 30"/>
                  <a:gd name="T14" fmla="*/ 8 w 76"/>
                  <a:gd name="T15" fmla="*/ 2 h 30"/>
                  <a:gd name="T16" fmla="*/ 24 w 76"/>
                  <a:gd name="T17" fmla="*/ 0 h 30"/>
                  <a:gd name="T18" fmla="*/ 30 w 76"/>
                  <a:gd name="T19" fmla="*/ 4 h 30"/>
                  <a:gd name="T20" fmla="*/ 36 w 76"/>
                  <a:gd name="T21" fmla="*/ 6 h 30"/>
                  <a:gd name="T22" fmla="*/ 50 w 76"/>
                  <a:gd name="T23" fmla="*/ 8 h 30"/>
                  <a:gd name="T24" fmla="*/ 56 w 76"/>
                  <a:gd name="T25" fmla="*/ 17 h 30"/>
                  <a:gd name="T26" fmla="*/ 62 w 76"/>
                  <a:gd name="T27" fmla="*/ 19 h 30"/>
                  <a:gd name="T28" fmla="*/ 75 w 76"/>
                  <a:gd name="T29" fmla="*/ 21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6" h="30">
                    <a:moveTo>
                      <a:pt x="75" y="21"/>
                    </a:moveTo>
                    <a:cubicBezTo>
                      <a:pt x="76" y="30"/>
                      <a:pt x="59" y="20"/>
                      <a:pt x="58" y="26"/>
                    </a:cubicBezTo>
                    <a:cubicBezTo>
                      <a:pt x="54" y="26"/>
                      <a:pt x="57" y="18"/>
                      <a:pt x="54" y="17"/>
                    </a:cubicBezTo>
                    <a:cubicBezTo>
                      <a:pt x="48" y="15"/>
                      <a:pt x="41" y="15"/>
                      <a:pt x="34" y="13"/>
                    </a:cubicBezTo>
                    <a:cubicBezTo>
                      <a:pt x="33" y="12"/>
                      <a:pt x="32" y="10"/>
                      <a:pt x="32" y="8"/>
                    </a:cubicBezTo>
                    <a:cubicBezTo>
                      <a:pt x="24" y="8"/>
                      <a:pt x="19" y="7"/>
                      <a:pt x="13" y="8"/>
                    </a:cubicBezTo>
                    <a:cubicBezTo>
                      <a:pt x="9" y="8"/>
                      <a:pt x="5" y="13"/>
                      <a:pt x="0" y="11"/>
                    </a:cubicBezTo>
                    <a:cubicBezTo>
                      <a:pt x="0" y="6"/>
                      <a:pt x="8" y="8"/>
                      <a:pt x="8" y="2"/>
                    </a:cubicBezTo>
                    <a:cubicBezTo>
                      <a:pt x="13" y="1"/>
                      <a:pt x="22" y="4"/>
                      <a:pt x="24" y="0"/>
                    </a:cubicBezTo>
                    <a:cubicBezTo>
                      <a:pt x="33" y="2"/>
                      <a:pt x="22" y="2"/>
                      <a:pt x="30" y="4"/>
                    </a:cubicBezTo>
                    <a:cubicBezTo>
                      <a:pt x="30" y="4"/>
                      <a:pt x="35" y="6"/>
                      <a:pt x="36" y="6"/>
                    </a:cubicBezTo>
                    <a:cubicBezTo>
                      <a:pt x="37" y="8"/>
                      <a:pt x="43" y="8"/>
                      <a:pt x="50" y="8"/>
                    </a:cubicBezTo>
                    <a:cubicBezTo>
                      <a:pt x="49" y="14"/>
                      <a:pt x="60" y="9"/>
                      <a:pt x="56" y="17"/>
                    </a:cubicBezTo>
                    <a:cubicBezTo>
                      <a:pt x="59" y="15"/>
                      <a:pt x="61" y="15"/>
                      <a:pt x="62" y="19"/>
                    </a:cubicBezTo>
                    <a:cubicBezTo>
                      <a:pt x="66" y="20"/>
                      <a:pt x="74" y="17"/>
                      <a:pt x="75" y="2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85" name="ïṣḷîḋê">
                <a:extLst>
                  <a:ext uri="{FF2B5EF4-FFF2-40B4-BE49-F238E27FC236}">
                    <a16:creationId xmlns:a16="http://schemas.microsoft.com/office/drawing/2014/main" id="{46052A56-12DA-49BF-9758-88B23A31EC42}"/>
                  </a:ext>
                </a:extLst>
              </p:cNvPr>
              <p:cNvSpPr/>
              <p:nvPr/>
            </p:nvSpPr>
            <p:spPr bwMode="auto">
              <a:xfrm>
                <a:off x="4508734" y="1892711"/>
                <a:ext cx="64436" cy="35020"/>
              </a:xfrm>
              <a:custGeom>
                <a:avLst/>
                <a:gdLst>
                  <a:gd name="T0" fmla="*/ 1 w 31"/>
                  <a:gd name="T1" fmla="*/ 0 h 17"/>
                  <a:gd name="T2" fmla="*/ 16 w 31"/>
                  <a:gd name="T3" fmla="*/ 2 h 17"/>
                  <a:gd name="T4" fmla="*/ 24 w 31"/>
                  <a:gd name="T5" fmla="*/ 4 h 17"/>
                  <a:gd name="T6" fmla="*/ 31 w 31"/>
                  <a:gd name="T7" fmla="*/ 8 h 17"/>
                  <a:gd name="T8" fmla="*/ 5 w 31"/>
                  <a:gd name="T9" fmla="*/ 12 h 17"/>
                  <a:gd name="T10" fmla="*/ 9 w 31"/>
                  <a:gd name="T11" fmla="*/ 10 h 17"/>
                  <a:gd name="T12" fmla="*/ 1 w 31"/>
                  <a:gd name="T13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17">
                    <a:moveTo>
                      <a:pt x="1" y="0"/>
                    </a:moveTo>
                    <a:cubicBezTo>
                      <a:pt x="5" y="3"/>
                      <a:pt x="12" y="1"/>
                      <a:pt x="16" y="2"/>
                    </a:cubicBezTo>
                    <a:cubicBezTo>
                      <a:pt x="17" y="2"/>
                      <a:pt x="22" y="9"/>
                      <a:pt x="24" y="4"/>
                    </a:cubicBezTo>
                    <a:cubicBezTo>
                      <a:pt x="27" y="5"/>
                      <a:pt x="25" y="10"/>
                      <a:pt x="31" y="8"/>
                    </a:cubicBezTo>
                    <a:cubicBezTo>
                      <a:pt x="31" y="17"/>
                      <a:pt x="11" y="13"/>
                      <a:pt x="5" y="12"/>
                    </a:cubicBezTo>
                    <a:cubicBezTo>
                      <a:pt x="4" y="10"/>
                      <a:pt x="9" y="10"/>
                      <a:pt x="9" y="10"/>
                    </a:cubicBezTo>
                    <a:cubicBezTo>
                      <a:pt x="9" y="7"/>
                      <a:pt x="0" y="7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86" name="íṣḷíďè">
                <a:extLst>
                  <a:ext uri="{FF2B5EF4-FFF2-40B4-BE49-F238E27FC236}">
                    <a16:creationId xmlns:a16="http://schemas.microsoft.com/office/drawing/2014/main" id="{1B23B4E4-A176-4121-8020-4AE2EECCED1D}"/>
                  </a:ext>
                </a:extLst>
              </p:cNvPr>
              <p:cNvSpPr/>
              <p:nvPr/>
            </p:nvSpPr>
            <p:spPr bwMode="auto">
              <a:xfrm>
                <a:off x="7378937" y="1896914"/>
                <a:ext cx="30817" cy="22413"/>
              </a:xfrm>
              <a:custGeom>
                <a:avLst/>
                <a:gdLst>
                  <a:gd name="T0" fmla="*/ 13 w 15"/>
                  <a:gd name="T1" fmla="*/ 0 h 11"/>
                  <a:gd name="T2" fmla="*/ 9 w 15"/>
                  <a:gd name="T3" fmla="*/ 11 h 11"/>
                  <a:gd name="T4" fmla="*/ 0 w 15"/>
                  <a:gd name="T5" fmla="*/ 4 h 11"/>
                  <a:gd name="T6" fmla="*/ 4 w 15"/>
                  <a:gd name="T7" fmla="*/ 0 h 11"/>
                  <a:gd name="T8" fmla="*/ 13 w 15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1">
                    <a:moveTo>
                      <a:pt x="13" y="0"/>
                    </a:moveTo>
                    <a:cubicBezTo>
                      <a:pt x="15" y="7"/>
                      <a:pt x="8" y="6"/>
                      <a:pt x="9" y="11"/>
                    </a:cubicBezTo>
                    <a:cubicBezTo>
                      <a:pt x="5" y="10"/>
                      <a:pt x="0" y="10"/>
                      <a:pt x="0" y="4"/>
                    </a:cubicBezTo>
                    <a:cubicBezTo>
                      <a:pt x="3" y="5"/>
                      <a:pt x="3" y="2"/>
                      <a:pt x="4" y="0"/>
                    </a:cubicBezTo>
                    <a:cubicBezTo>
                      <a:pt x="7" y="0"/>
                      <a:pt x="10" y="0"/>
                      <a:pt x="1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87" name="i$liḑê">
                <a:extLst>
                  <a:ext uri="{FF2B5EF4-FFF2-40B4-BE49-F238E27FC236}">
                    <a16:creationId xmlns:a16="http://schemas.microsoft.com/office/drawing/2014/main" id="{B8F22772-CF07-4808-AB26-A78C9E0579EE}"/>
                  </a:ext>
                </a:extLst>
              </p:cNvPr>
              <p:cNvSpPr/>
              <p:nvPr/>
            </p:nvSpPr>
            <p:spPr bwMode="auto">
              <a:xfrm>
                <a:off x="4484921" y="1905318"/>
                <a:ext cx="23814" cy="18211"/>
              </a:xfrm>
              <a:custGeom>
                <a:avLst/>
                <a:gdLst>
                  <a:gd name="T0" fmla="*/ 10 w 12"/>
                  <a:gd name="T1" fmla="*/ 9 h 9"/>
                  <a:gd name="T2" fmla="*/ 0 w 12"/>
                  <a:gd name="T3" fmla="*/ 7 h 9"/>
                  <a:gd name="T4" fmla="*/ 10 w 12"/>
                  <a:gd name="T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9">
                    <a:moveTo>
                      <a:pt x="10" y="9"/>
                    </a:moveTo>
                    <a:cubicBezTo>
                      <a:pt x="8" y="8"/>
                      <a:pt x="5" y="7"/>
                      <a:pt x="0" y="7"/>
                    </a:cubicBezTo>
                    <a:cubicBezTo>
                      <a:pt x="1" y="4"/>
                      <a:pt x="12" y="0"/>
                      <a:pt x="1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88" name="iṣ1íḑe">
                <a:extLst>
                  <a:ext uri="{FF2B5EF4-FFF2-40B4-BE49-F238E27FC236}">
                    <a16:creationId xmlns:a16="http://schemas.microsoft.com/office/drawing/2014/main" id="{29E069DF-F9E4-46AE-ABBB-678E4C5B0A6E}"/>
                  </a:ext>
                </a:extLst>
              </p:cNvPr>
              <p:cNvSpPr/>
              <p:nvPr/>
            </p:nvSpPr>
            <p:spPr bwMode="auto">
              <a:xfrm>
                <a:off x="4420485" y="1910921"/>
                <a:ext cx="30817" cy="19611"/>
              </a:xfrm>
              <a:custGeom>
                <a:avLst/>
                <a:gdLst>
                  <a:gd name="T0" fmla="*/ 2 w 15"/>
                  <a:gd name="T1" fmla="*/ 3 h 9"/>
                  <a:gd name="T2" fmla="*/ 13 w 15"/>
                  <a:gd name="T3" fmla="*/ 6 h 9"/>
                  <a:gd name="T4" fmla="*/ 2 w 15"/>
                  <a:gd name="T5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9">
                    <a:moveTo>
                      <a:pt x="2" y="3"/>
                    </a:moveTo>
                    <a:cubicBezTo>
                      <a:pt x="5" y="4"/>
                      <a:pt x="15" y="0"/>
                      <a:pt x="13" y="6"/>
                    </a:cubicBezTo>
                    <a:cubicBezTo>
                      <a:pt x="9" y="5"/>
                      <a:pt x="0" y="9"/>
                      <a:pt x="2" y="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89" name="îSľîḓé">
                <a:extLst>
                  <a:ext uri="{FF2B5EF4-FFF2-40B4-BE49-F238E27FC236}">
                    <a16:creationId xmlns:a16="http://schemas.microsoft.com/office/drawing/2014/main" id="{02E9594A-3B5F-4137-991D-E94F6D93BA3B}"/>
                  </a:ext>
                </a:extLst>
              </p:cNvPr>
              <p:cNvSpPr/>
              <p:nvPr/>
            </p:nvSpPr>
            <p:spPr bwMode="auto">
              <a:xfrm>
                <a:off x="7551232" y="1919326"/>
                <a:ext cx="43425" cy="77043"/>
              </a:xfrm>
              <a:custGeom>
                <a:avLst/>
                <a:gdLst>
                  <a:gd name="T0" fmla="*/ 10 w 21"/>
                  <a:gd name="T1" fmla="*/ 0 h 37"/>
                  <a:gd name="T2" fmla="*/ 18 w 21"/>
                  <a:gd name="T3" fmla="*/ 0 h 37"/>
                  <a:gd name="T4" fmla="*/ 21 w 21"/>
                  <a:gd name="T5" fmla="*/ 13 h 37"/>
                  <a:gd name="T6" fmla="*/ 16 w 21"/>
                  <a:gd name="T7" fmla="*/ 19 h 37"/>
                  <a:gd name="T8" fmla="*/ 14 w 21"/>
                  <a:gd name="T9" fmla="*/ 25 h 37"/>
                  <a:gd name="T10" fmla="*/ 12 w 21"/>
                  <a:gd name="T11" fmla="*/ 34 h 37"/>
                  <a:gd name="T12" fmla="*/ 6 w 21"/>
                  <a:gd name="T13" fmla="*/ 28 h 37"/>
                  <a:gd name="T14" fmla="*/ 1 w 21"/>
                  <a:gd name="T15" fmla="*/ 21 h 37"/>
                  <a:gd name="T16" fmla="*/ 5 w 21"/>
                  <a:gd name="T17" fmla="*/ 10 h 37"/>
                  <a:gd name="T18" fmla="*/ 10 w 21"/>
                  <a:gd name="T19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7">
                    <a:moveTo>
                      <a:pt x="10" y="0"/>
                    </a:moveTo>
                    <a:cubicBezTo>
                      <a:pt x="13" y="0"/>
                      <a:pt x="15" y="0"/>
                      <a:pt x="18" y="0"/>
                    </a:cubicBezTo>
                    <a:cubicBezTo>
                      <a:pt x="20" y="4"/>
                      <a:pt x="20" y="9"/>
                      <a:pt x="21" y="13"/>
                    </a:cubicBezTo>
                    <a:cubicBezTo>
                      <a:pt x="18" y="14"/>
                      <a:pt x="20" y="20"/>
                      <a:pt x="16" y="19"/>
                    </a:cubicBezTo>
                    <a:cubicBezTo>
                      <a:pt x="16" y="22"/>
                      <a:pt x="16" y="24"/>
                      <a:pt x="14" y="25"/>
                    </a:cubicBezTo>
                    <a:cubicBezTo>
                      <a:pt x="13" y="27"/>
                      <a:pt x="16" y="34"/>
                      <a:pt x="12" y="34"/>
                    </a:cubicBezTo>
                    <a:cubicBezTo>
                      <a:pt x="6" y="37"/>
                      <a:pt x="11" y="29"/>
                      <a:pt x="6" y="28"/>
                    </a:cubicBezTo>
                    <a:cubicBezTo>
                      <a:pt x="4" y="28"/>
                      <a:pt x="3" y="23"/>
                      <a:pt x="1" y="21"/>
                    </a:cubicBezTo>
                    <a:cubicBezTo>
                      <a:pt x="0" y="16"/>
                      <a:pt x="7" y="17"/>
                      <a:pt x="5" y="10"/>
                    </a:cubicBezTo>
                    <a:cubicBezTo>
                      <a:pt x="9" y="14"/>
                      <a:pt x="9" y="5"/>
                      <a:pt x="1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90" name="îsļídê">
                <a:extLst>
                  <a:ext uri="{FF2B5EF4-FFF2-40B4-BE49-F238E27FC236}">
                    <a16:creationId xmlns:a16="http://schemas.microsoft.com/office/drawing/2014/main" id="{87405299-B40D-4337-8894-B10DA81D2249}"/>
                  </a:ext>
                </a:extLst>
              </p:cNvPr>
              <p:cNvSpPr/>
              <p:nvPr/>
            </p:nvSpPr>
            <p:spPr bwMode="auto">
              <a:xfrm>
                <a:off x="7594657" y="1983762"/>
                <a:ext cx="58833" cy="60234"/>
              </a:xfrm>
              <a:custGeom>
                <a:avLst/>
                <a:gdLst>
                  <a:gd name="T0" fmla="*/ 15 w 28"/>
                  <a:gd name="T1" fmla="*/ 3 h 29"/>
                  <a:gd name="T2" fmla="*/ 21 w 28"/>
                  <a:gd name="T3" fmla="*/ 9 h 29"/>
                  <a:gd name="T4" fmla="*/ 19 w 28"/>
                  <a:gd name="T5" fmla="*/ 10 h 29"/>
                  <a:gd name="T6" fmla="*/ 21 w 28"/>
                  <a:gd name="T7" fmla="*/ 14 h 29"/>
                  <a:gd name="T8" fmla="*/ 28 w 28"/>
                  <a:gd name="T9" fmla="*/ 23 h 29"/>
                  <a:gd name="T10" fmla="*/ 25 w 28"/>
                  <a:gd name="T11" fmla="*/ 29 h 29"/>
                  <a:gd name="T12" fmla="*/ 19 w 28"/>
                  <a:gd name="T13" fmla="*/ 29 h 29"/>
                  <a:gd name="T14" fmla="*/ 10 w 28"/>
                  <a:gd name="T15" fmla="*/ 20 h 29"/>
                  <a:gd name="T16" fmla="*/ 13 w 28"/>
                  <a:gd name="T17" fmla="*/ 16 h 29"/>
                  <a:gd name="T18" fmla="*/ 0 w 28"/>
                  <a:gd name="T19" fmla="*/ 5 h 29"/>
                  <a:gd name="T20" fmla="*/ 15 w 28"/>
                  <a:gd name="T21" fmla="*/ 3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" h="29">
                    <a:moveTo>
                      <a:pt x="15" y="3"/>
                    </a:moveTo>
                    <a:cubicBezTo>
                      <a:pt x="10" y="9"/>
                      <a:pt x="20" y="7"/>
                      <a:pt x="21" y="9"/>
                    </a:cubicBezTo>
                    <a:cubicBezTo>
                      <a:pt x="22" y="10"/>
                      <a:pt x="19" y="10"/>
                      <a:pt x="19" y="10"/>
                    </a:cubicBezTo>
                    <a:cubicBezTo>
                      <a:pt x="19" y="11"/>
                      <a:pt x="21" y="14"/>
                      <a:pt x="21" y="14"/>
                    </a:cubicBezTo>
                    <a:cubicBezTo>
                      <a:pt x="23" y="18"/>
                      <a:pt x="28" y="18"/>
                      <a:pt x="28" y="23"/>
                    </a:cubicBezTo>
                    <a:cubicBezTo>
                      <a:pt x="24" y="23"/>
                      <a:pt x="25" y="26"/>
                      <a:pt x="25" y="29"/>
                    </a:cubicBezTo>
                    <a:cubicBezTo>
                      <a:pt x="23" y="28"/>
                      <a:pt x="19" y="26"/>
                      <a:pt x="19" y="29"/>
                    </a:cubicBezTo>
                    <a:cubicBezTo>
                      <a:pt x="14" y="28"/>
                      <a:pt x="15" y="21"/>
                      <a:pt x="10" y="20"/>
                    </a:cubicBezTo>
                    <a:cubicBezTo>
                      <a:pt x="10" y="18"/>
                      <a:pt x="13" y="18"/>
                      <a:pt x="13" y="16"/>
                    </a:cubicBezTo>
                    <a:cubicBezTo>
                      <a:pt x="9" y="13"/>
                      <a:pt x="6" y="7"/>
                      <a:pt x="0" y="5"/>
                    </a:cubicBezTo>
                    <a:cubicBezTo>
                      <a:pt x="5" y="0"/>
                      <a:pt x="9" y="2"/>
                      <a:pt x="15" y="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91" name="ï$ľiďe">
                <a:extLst>
                  <a:ext uri="{FF2B5EF4-FFF2-40B4-BE49-F238E27FC236}">
                    <a16:creationId xmlns:a16="http://schemas.microsoft.com/office/drawing/2014/main" id="{4C014454-416C-48B3-8038-1C4FB788FB2D}"/>
                  </a:ext>
                </a:extLst>
              </p:cNvPr>
              <p:cNvSpPr/>
              <p:nvPr/>
            </p:nvSpPr>
            <p:spPr bwMode="auto">
              <a:xfrm>
                <a:off x="7572245" y="2008976"/>
                <a:ext cx="12607" cy="8405"/>
              </a:xfrm>
              <a:custGeom>
                <a:avLst/>
                <a:gdLst>
                  <a:gd name="T0" fmla="*/ 0 w 6"/>
                  <a:gd name="T1" fmla="*/ 0 h 4"/>
                  <a:gd name="T2" fmla="*/ 6 w 6"/>
                  <a:gd name="T3" fmla="*/ 0 h 4"/>
                  <a:gd name="T4" fmla="*/ 6 w 6"/>
                  <a:gd name="T5" fmla="*/ 4 h 4"/>
                  <a:gd name="T6" fmla="*/ 0 w 6"/>
                  <a:gd name="T7" fmla="*/ 4 h 4"/>
                  <a:gd name="T8" fmla="*/ 0 w 6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4">
                    <a:moveTo>
                      <a:pt x="0" y="0"/>
                    </a:moveTo>
                    <a:cubicBezTo>
                      <a:pt x="2" y="0"/>
                      <a:pt x="4" y="0"/>
                      <a:pt x="6" y="0"/>
                    </a:cubicBezTo>
                    <a:cubicBezTo>
                      <a:pt x="6" y="2"/>
                      <a:pt x="6" y="3"/>
                      <a:pt x="6" y="4"/>
                    </a:cubicBezTo>
                    <a:cubicBezTo>
                      <a:pt x="4" y="4"/>
                      <a:pt x="2" y="4"/>
                      <a:pt x="0" y="4"/>
                    </a:cubicBezTo>
                    <a:cubicBezTo>
                      <a:pt x="0" y="3"/>
                      <a:pt x="0" y="2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92" name="i$1iḑè">
                <a:extLst>
                  <a:ext uri="{FF2B5EF4-FFF2-40B4-BE49-F238E27FC236}">
                    <a16:creationId xmlns:a16="http://schemas.microsoft.com/office/drawing/2014/main" id="{2C436F9C-FBBA-49CC-9C53-7EECCA8E0461}"/>
                  </a:ext>
                </a:extLst>
              </p:cNvPr>
              <p:cNvSpPr/>
              <p:nvPr/>
            </p:nvSpPr>
            <p:spPr bwMode="auto">
              <a:xfrm>
                <a:off x="7590454" y="2018781"/>
                <a:ext cx="33619" cy="50428"/>
              </a:xfrm>
              <a:custGeom>
                <a:avLst/>
                <a:gdLst>
                  <a:gd name="T0" fmla="*/ 15 w 16"/>
                  <a:gd name="T1" fmla="*/ 20 h 24"/>
                  <a:gd name="T2" fmla="*/ 6 w 16"/>
                  <a:gd name="T3" fmla="*/ 21 h 24"/>
                  <a:gd name="T4" fmla="*/ 0 w 16"/>
                  <a:gd name="T5" fmla="*/ 12 h 24"/>
                  <a:gd name="T6" fmla="*/ 15 w 16"/>
                  <a:gd name="T7" fmla="*/ 2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24">
                    <a:moveTo>
                      <a:pt x="15" y="20"/>
                    </a:moveTo>
                    <a:cubicBezTo>
                      <a:pt x="16" y="24"/>
                      <a:pt x="9" y="20"/>
                      <a:pt x="6" y="21"/>
                    </a:cubicBezTo>
                    <a:cubicBezTo>
                      <a:pt x="6" y="16"/>
                      <a:pt x="8" y="10"/>
                      <a:pt x="0" y="12"/>
                    </a:cubicBezTo>
                    <a:cubicBezTo>
                      <a:pt x="7" y="0"/>
                      <a:pt x="7" y="21"/>
                      <a:pt x="15" y="2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93" name="iṧ1ïďé">
                <a:extLst>
                  <a:ext uri="{FF2B5EF4-FFF2-40B4-BE49-F238E27FC236}">
                    <a16:creationId xmlns:a16="http://schemas.microsoft.com/office/drawing/2014/main" id="{C78FA36D-E4A9-4538-9686-1A498BF71BCE}"/>
                  </a:ext>
                </a:extLst>
              </p:cNvPr>
              <p:cNvSpPr/>
              <p:nvPr/>
            </p:nvSpPr>
            <p:spPr bwMode="auto">
              <a:xfrm>
                <a:off x="6922282" y="2060805"/>
                <a:ext cx="33619" cy="56031"/>
              </a:xfrm>
              <a:custGeom>
                <a:avLst/>
                <a:gdLst>
                  <a:gd name="T0" fmla="*/ 3 w 16"/>
                  <a:gd name="T1" fmla="*/ 1 h 27"/>
                  <a:gd name="T2" fmla="*/ 8 w 16"/>
                  <a:gd name="T3" fmla="*/ 7 h 27"/>
                  <a:gd name="T4" fmla="*/ 10 w 16"/>
                  <a:gd name="T5" fmla="*/ 9 h 27"/>
                  <a:gd name="T6" fmla="*/ 14 w 16"/>
                  <a:gd name="T7" fmla="*/ 13 h 27"/>
                  <a:gd name="T8" fmla="*/ 12 w 16"/>
                  <a:gd name="T9" fmla="*/ 14 h 27"/>
                  <a:gd name="T10" fmla="*/ 14 w 16"/>
                  <a:gd name="T11" fmla="*/ 24 h 27"/>
                  <a:gd name="T12" fmla="*/ 10 w 16"/>
                  <a:gd name="T13" fmla="*/ 27 h 27"/>
                  <a:gd name="T14" fmla="*/ 3 w 16"/>
                  <a:gd name="T15" fmla="*/ 1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7">
                    <a:moveTo>
                      <a:pt x="3" y="1"/>
                    </a:moveTo>
                    <a:cubicBezTo>
                      <a:pt x="6" y="0"/>
                      <a:pt x="7" y="5"/>
                      <a:pt x="8" y="7"/>
                    </a:cubicBezTo>
                    <a:cubicBezTo>
                      <a:pt x="9" y="8"/>
                      <a:pt x="10" y="7"/>
                      <a:pt x="10" y="9"/>
                    </a:cubicBezTo>
                    <a:cubicBezTo>
                      <a:pt x="10" y="11"/>
                      <a:pt x="13" y="11"/>
                      <a:pt x="14" y="13"/>
                    </a:cubicBezTo>
                    <a:cubicBezTo>
                      <a:pt x="15" y="15"/>
                      <a:pt x="12" y="14"/>
                      <a:pt x="12" y="14"/>
                    </a:cubicBezTo>
                    <a:cubicBezTo>
                      <a:pt x="12" y="16"/>
                      <a:pt x="16" y="18"/>
                      <a:pt x="14" y="24"/>
                    </a:cubicBezTo>
                    <a:cubicBezTo>
                      <a:pt x="11" y="23"/>
                      <a:pt x="10" y="25"/>
                      <a:pt x="10" y="27"/>
                    </a:cubicBezTo>
                    <a:cubicBezTo>
                      <a:pt x="0" y="24"/>
                      <a:pt x="1" y="13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94" name="iṥḻîḓe">
                <a:extLst>
                  <a:ext uri="{FF2B5EF4-FFF2-40B4-BE49-F238E27FC236}">
                    <a16:creationId xmlns:a16="http://schemas.microsoft.com/office/drawing/2014/main" id="{50885942-FB10-4018-8F91-C1B33E9B9189}"/>
                  </a:ext>
                </a:extLst>
              </p:cNvPr>
              <p:cNvSpPr/>
              <p:nvPr/>
            </p:nvSpPr>
            <p:spPr bwMode="auto">
              <a:xfrm>
                <a:off x="7619871" y="2063606"/>
                <a:ext cx="42023" cy="64436"/>
              </a:xfrm>
              <a:custGeom>
                <a:avLst/>
                <a:gdLst>
                  <a:gd name="T0" fmla="*/ 16 w 20"/>
                  <a:gd name="T1" fmla="*/ 0 h 31"/>
                  <a:gd name="T2" fmla="*/ 20 w 20"/>
                  <a:gd name="T3" fmla="*/ 15 h 31"/>
                  <a:gd name="T4" fmla="*/ 14 w 20"/>
                  <a:gd name="T5" fmla="*/ 17 h 31"/>
                  <a:gd name="T6" fmla="*/ 14 w 20"/>
                  <a:gd name="T7" fmla="*/ 30 h 31"/>
                  <a:gd name="T8" fmla="*/ 5 w 20"/>
                  <a:gd name="T9" fmla="*/ 25 h 31"/>
                  <a:gd name="T10" fmla="*/ 7 w 20"/>
                  <a:gd name="T11" fmla="*/ 17 h 31"/>
                  <a:gd name="T12" fmla="*/ 7 w 20"/>
                  <a:gd name="T13" fmla="*/ 13 h 31"/>
                  <a:gd name="T14" fmla="*/ 5 w 20"/>
                  <a:gd name="T15" fmla="*/ 13 h 31"/>
                  <a:gd name="T16" fmla="*/ 9 w 20"/>
                  <a:gd name="T17" fmla="*/ 8 h 31"/>
                  <a:gd name="T18" fmla="*/ 13 w 20"/>
                  <a:gd name="T19" fmla="*/ 2 h 31"/>
                  <a:gd name="T20" fmla="*/ 16 w 20"/>
                  <a:gd name="T2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" h="31">
                    <a:moveTo>
                      <a:pt x="16" y="0"/>
                    </a:moveTo>
                    <a:cubicBezTo>
                      <a:pt x="16" y="7"/>
                      <a:pt x="16" y="13"/>
                      <a:pt x="20" y="15"/>
                    </a:cubicBezTo>
                    <a:cubicBezTo>
                      <a:pt x="20" y="17"/>
                      <a:pt x="17" y="17"/>
                      <a:pt x="14" y="17"/>
                    </a:cubicBezTo>
                    <a:cubicBezTo>
                      <a:pt x="18" y="20"/>
                      <a:pt x="13" y="23"/>
                      <a:pt x="14" y="30"/>
                    </a:cubicBezTo>
                    <a:cubicBezTo>
                      <a:pt x="9" y="31"/>
                      <a:pt x="10" y="25"/>
                      <a:pt x="5" y="25"/>
                    </a:cubicBezTo>
                    <a:cubicBezTo>
                      <a:pt x="4" y="21"/>
                      <a:pt x="7" y="20"/>
                      <a:pt x="7" y="17"/>
                    </a:cubicBezTo>
                    <a:cubicBezTo>
                      <a:pt x="7" y="16"/>
                      <a:pt x="4" y="14"/>
                      <a:pt x="7" y="13"/>
                    </a:cubicBezTo>
                    <a:cubicBezTo>
                      <a:pt x="7" y="11"/>
                      <a:pt x="5" y="12"/>
                      <a:pt x="5" y="13"/>
                    </a:cubicBezTo>
                    <a:cubicBezTo>
                      <a:pt x="0" y="13"/>
                      <a:pt x="5" y="6"/>
                      <a:pt x="9" y="8"/>
                    </a:cubicBezTo>
                    <a:cubicBezTo>
                      <a:pt x="9" y="5"/>
                      <a:pt x="11" y="3"/>
                      <a:pt x="13" y="2"/>
                    </a:cubicBezTo>
                    <a:cubicBezTo>
                      <a:pt x="13" y="2"/>
                      <a:pt x="14" y="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95" name="íšḻiḑê">
                <a:extLst>
                  <a:ext uri="{FF2B5EF4-FFF2-40B4-BE49-F238E27FC236}">
                    <a16:creationId xmlns:a16="http://schemas.microsoft.com/office/drawing/2014/main" id="{38BF0A35-F5E3-46C5-89A4-D319B7916929}"/>
                  </a:ext>
                </a:extLst>
              </p:cNvPr>
              <p:cNvSpPr/>
              <p:nvPr/>
            </p:nvSpPr>
            <p:spPr bwMode="auto">
              <a:xfrm>
                <a:off x="7589054" y="2074812"/>
                <a:ext cx="30817" cy="28016"/>
              </a:xfrm>
              <a:custGeom>
                <a:avLst/>
                <a:gdLst>
                  <a:gd name="T0" fmla="*/ 9 w 15"/>
                  <a:gd name="T1" fmla="*/ 0 h 13"/>
                  <a:gd name="T2" fmla="*/ 15 w 15"/>
                  <a:gd name="T3" fmla="*/ 6 h 13"/>
                  <a:gd name="T4" fmla="*/ 13 w 15"/>
                  <a:gd name="T5" fmla="*/ 7 h 13"/>
                  <a:gd name="T6" fmla="*/ 1 w 15"/>
                  <a:gd name="T7" fmla="*/ 13 h 13"/>
                  <a:gd name="T8" fmla="*/ 9 w 15"/>
                  <a:gd name="T9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3">
                    <a:moveTo>
                      <a:pt x="9" y="0"/>
                    </a:moveTo>
                    <a:cubicBezTo>
                      <a:pt x="13" y="0"/>
                      <a:pt x="15" y="2"/>
                      <a:pt x="15" y="6"/>
                    </a:cubicBezTo>
                    <a:cubicBezTo>
                      <a:pt x="11" y="5"/>
                      <a:pt x="11" y="7"/>
                      <a:pt x="13" y="7"/>
                    </a:cubicBezTo>
                    <a:cubicBezTo>
                      <a:pt x="11" y="9"/>
                      <a:pt x="6" y="12"/>
                      <a:pt x="1" y="13"/>
                    </a:cubicBezTo>
                    <a:cubicBezTo>
                      <a:pt x="0" y="5"/>
                      <a:pt x="9" y="7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96" name="ïṣ1íḋè">
                <a:extLst>
                  <a:ext uri="{FF2B5EF4-FFF2-40B4-BE49-F238E27FC236}">
                    <a16:creationId xmlns:a16="http://schemas.microsoft.com/office/drawing/2014/main" id="{2A659918-F3CA-40C1-AE24-5135519861C7}"/>
                  </a:ext>
                </a:extLst>
              </p:cNvPr>
              <p:cNvSpPr/>
              <p:nvPr/>
            </p:nvSpPr>
            <p:spPr bwMode="auto">
              <a:xfrm>
                <a:off x="7675902" y="2175669"/>
                <a:ext cx="21012" cy="39222"/>
              </a:xfrm>
              <a:custGeom>
                <a:avLst/>
                <a:gdLst>
                  <a:gd name="T0" fmla="*/ 2 w 10"/>
                  <a:gd name="T1" fmla="*/ 0 h 19"/>
                  <a:gd name="T2" fmla="*/ 10 w 10"/>
                  <a:gd name="T3" fmla="*/ 6 h 19"/>
                  <a:gd name="T4" fmla="*/ 0 w 10"/>
                  <a:gd name="T5" fmla="*/ 17 h 19"/>
                  <a:gd name="T6" fmla="*/ 4 w 10"/>
                  <a:gd name="T7" fmla="*/ 15 h 19"/>
                  <a:gd name="T8" fmla="*/ 2 w 10"/>
                  <a:gd name="T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9">
                    <a:moveTo>
                      <a:pt x="2" y="0"/>
                    </a:moveTo>
                    <a:cubicBezTo>
                      <a:pt x="7" y="0"/>
                      <a:pt x="4" y="8"/>
                      <a:pt x="10" y="6"/>
                    </a:cubicBezTo>
                    <a:cubicBezTo>
                      <a:pt x="8" y="11"/>
                      <a:pt x="9" y="19"/>
                      <a:pt x="0" y="17"/>
                    </a:cubicBezTo>
                    <a:cubicBezTo>
                      <a:pt x="0" y="15"/>
                      <a:pt x="3" y="16"/>
                      <a:pt x="4" y="15"/>
                    </a:cubicBezTo>
                    <a:cubicBezTo>
                      <a:pt x="1" y="8"/>
                      <a:pt x="1" y="10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97" name="îšḷiḍè">
                <a:extLst>
                  <a:ext uri="{FF2B5EF4-FFF2-40B4-BE49-F238E27FC236}">
                    <a16:creationId xmlns:a16="http://schemas.microsoft.com/office/drawing/2014/main" id="{952B2DAA-EFD3-44AF-A5FF-C2203F110E82}"/>
                  </a:ext>
                </a:extLst>
              </p:cNvPr>
              <p:cNvSpPr/>
              <p:nvPr/>
            </p:nvSpPr>
            <p:spPr bwMode="auto">
              <a:xfrm>
                <a:off x="7556835" y="2185475"/>
                <a:ext cx="79845" cy="25214"/>
              </a:xfrm>
              <a:custGeom>
                <a:avLst/>
                <a:gdLst>
                  <a:gd name="T0" fmla="*/ 37 w 38"/>
                  <a:gd name="T1" fmla="*/ 5 h 12"/>
                  <a:gd name="T2" fmla="*/ 26 w 38"/>
                  <a:gd name="T3" fmla="*/ 10 h 12"/>
                  <a:gd name="T4" fmla="*/ 0 w 38"/>
                  <a:gd name="T5" fmla="*/ 12 h 12"/>
                  <a:gd name="T6" fmla="*/ 31 w 38"/>
                  <a:gd name="T7" fmla="*/ 3 h 12"/>
                  <a:gd name="T8" fmla="*/ 37 w 38"/>
                  <a:gd name="T9" fmla="*/ 5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12">
                    <a:moveTo>
                      <a:pt x="37" y="5"/>
                    </a:moveTo>
                    <a:cubicBezTo>
                      <a:pt x="38" y="10"/>
                      <a:pt x="30" y="10"/>
                      <a:pt x="26" y="10"/>
                    </a:cubicBezTo>
                    <a:cubicBezTo>
                      <a:pt x="18" y="11"/>
                      <a:pt x="7" y="9"/>
                      <a:pt x="0" y="12"/>
                    </a:cubicBezTo>
                    <a:cubicBezTo>
                      <a:pt x="1" y="0"/>
                      <a:pt x="27" y="12"/>
                      <a:pt x="31" y="3"/>
                    </a:cubicBezTo>
                    <a:cubicBezTo>
                      <a:pt x="33" y="4"/>
                      <a:pt x="34" y="5"/>
                      <a:pt x="37" y="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98" name="iŝľiḑê">
                <a:extLst>
                  <a:ext uri="{FF2B5EF4-FFF2-40B4-BE49-F238E27FC236}">
                    <a16:creationId xmlns:a16="http://schemas.microsoft.com/office/drawing/2014/main" id="{93FBE83C-7117-4AFE-A6AE-F287E1A250E2}"/>
                  </a:ext>
                </a:extLst>
              </p:cNvPr>
              <p:cNvSpPr/>
              <p:nvPr/>
            </p:nvSpPr>
            <p:spPr bwMode="auto">
              <a:xfrm>
                <a:off x="7727731" y="2216292"/>
                <a:ext cx="50428" cy="32218"/>
              </a:xfrm>
              <a:custGeom>
                <a:avLst/>
                <a:gdLst>
                  <a:gd name="T0" fmla="*/ 24 w 24"/>
                  <a:gd name="T1" fmla="*/ 10 h 15"/>
                  <a:gd name="T2" fmla="*/ 20 w 24"/>
                  <a:gd name="T3" fmla="*/ 14 h 15"/>
                  <a:gd name="T4" fmla="*/ 9 w 24"/>
                  <a:gd name="T5" fmla="*/ 14 h 15"/>
                  <a:gd name="T6" fmla="*/ 7 w 24"/>
                  <a:gd name="T7" fmla="*/ 12 h 15"/>
                  <a:gd name="T8" fmla="*/ 0 w 24"/>
                  <a:gd name="T9" fmla="*/ 7 h 15"/>
                  <a:gd name="T10" fmla="*/ 9 w 24"/>
                  <a:gd name="T11" fmla="*/ 3 h 15"/>
                  <a:gd name="T12" fmla="*/ 15 w 24"/>
                  <a:gd name="T13" fmla="*/ 1 h 15"/>
                  <a:gd name="T14" fmla="*/ 15 w 24"/>
                  <a:gd name="T15" fmla="*/ 3 h 15"/>
                  <a:gd name="T16" fmla="*/ 16 w 24"/>
                  <a:gd name="T17" fmla="*/ 1 h 15"/>
                  <a:gd name="T18" fmla="*/ 24 w 24"/>
                  <a:gd name="T19" fmla="*/ 1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15">
                    <a:moveTo>
                      <a:pt x="24" y="10"/>
                    </a:moveTo>
                    <a:cubicBezTo>
                      <a:pt x="22" y="11"/>
                      <a:pt x="21" y="12"/>
                      <a:pt x="20" y="14"/>
                    </a:cubicBezTo>
                    <a:cubicBezTo>
                      <a:pt x="16" y="11"/>
                      <a:pt x="13" y="15"/>
                      <a:pt x="9" y="14"/>
                    </a:cubicBezTo>
                    <a:cubicBezTo>
                      <a:pt x="8" y="14"/>
                      <a:pt x="9" y="12"/>
                      <a:pt x="7" y="12"/>
                    </a:cubicBezTo>
                    <a:cubicBezTo>
                      <a:pt x="5" y="12"/>
                      <a:pt x="3" y="8"/>
                      <a:pt x="0" y="7"/>
                    </a:cubicBezTo>
                    <a:cubicBezTo>
                      <a:pt x="0" y="4"/>
                      <a:pt x="6" y="5"/>
                      <a:pt x="9" y="3"/>
                    </a:cubicBezTo>
                    <a:cubicBezTo>
                      <a:pt x="9" y="3"/>
                      <a:pt x="14" y="0"/>
                      <a:pt x="15" y="1"/>
                    </a:cubicBezTo>
                    <a:cubicBezTo>
                      <a:pt x="15" y="1"/>
                      <a:pt x="15" y="3"/>
                      <a:pt x="15" y="3"/>
                    </a:cubicBezTo>
                    <a:cubicBezTo>
                      <a:pt x="16" y="3"/>
                      <a:pt x="17" y="1"/>
                      <a:pt x="16" y="1"/>
                    </a:cubicBezTo>
                    <a:cubicBezTo>
                      <a:pt x="20" y="2"/>
                      <a:pt x="23" y="6"/>
                      <a:pt x="24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99" name="îṧlïḍé">
                <a:extLst>
                  <a:ext uri="{FF2B5EF4-FFF2-40B4-BE49-F238E27FC236}">
                    <a16:creationId xmlns:a16="http://schemas.microsoft.com/office/drawing/2014/main" id="{1286D8A8-ABBD-46ED-84E1-00310569ED4D}"/>
                  </a:ext>
                </a:extLst>
              </p:cNvPr>
              <p:cNvSpPr/>
              <p:nvPr/>
            </p:nvSpPr>
            <p:spPr bwMode="auto">
              <a:xfrm>
                <a:off x="7754346" y="2233101"/>
                <a:ext cx="282958" cy="149884"/>
              </a:xfrm>
              <a:custGeom>
                <a:avLst/>
                <a:gdLst>
                  <a:gd name="T0" fmla="*/ 44 w 136"/>
                  <a:gd name="T1" fmla="*/ 36 h 72"/>
                  <a:gd name="T2" fmla="*/ 37 w 136"/>
                  <a:gd name="T3" fmla="*/ 32 h 72"/>
                  <a:gd name="T4" fmla="*/ 33 w 136"/>
                  <a:gd name="T5" fmla="*/ 25 h 72"/>
                  <a:gd name="T6" fmla="*/ 13 w 136"/>
                  <a:gd name="T7" fmla="*/ 19 h 72"/>
                  <a:gd name="T8" fmla="*/ 2 w 136"/>
                  <a:gd name="T9" fmla="*/ 19 h 72"/>
                  <a:gd name="T10" fmla="*/ 0 w 136"/>
                  <a:gd name="T11" fmla="*/ 12 h 72"/>
                  <a:gd name="T12" fmla="*/ 5 w 136"/>
                  <a:gd name="T13" fmla="*/ 12 h 72"/>
                  <a:gd name="T14" fmla="*/ 11 w 136"/>
                  <a:gd name="T15" fmla="*/ 10 h 72"/>
                  <a:gd name="T16" fmla="*/ 20 w 136"/>
                  <a:gd name="T17" fmla="*/ 13 h 72"/>
                  <a:gd name="T18" fmla="*/ 28 w 136"/>
                  <a:gd name="T19" fmla="*/ 8 h 72"/>
                  <a:gd name="T20" fmla="*/ 43 w 136"/>
                  <a:gd name="T21" fmla="*/ 2 h 72"/>
                  <a:gd name="T22" fmla="*/ 46 w 136"/>
                  <a:gd name="T23" fmla="*/ 6 h 72"/>
                  <a:gd name="T24" fmla="*/ 61 w 136"/>
                  <a:gd name="T25" fmla="*/ 12 h 72"/>
                  <a:gd name="T26" fmla="*/ 65 w 136"/>
                  <a:gd name="T27" fmla="*/ 10 h 72"/>
                  <a:gd name="T28" fmla="*/ 69 w 136"/>
                  <a:gd name="T29" fmla="*/ 13 h 72"/>
                  <a:gd name="T30" fmla="*/ 78 w 136"/>
                  <a:gd name="T31" fmla="*/ 13 h 72"/>
                  <a:gd name="T32" fmla="*/ 85 w 136"/>
                  <a:gd name="T33" fmla="*/ 17 h 72"/>
                  <a:gd name="T34" fmla="*/ 85 w 136"/>
                  <a:gd name="T35" fmla="*/ 23 h 72"/>
                  <a:gd name="T36" fmla="*/ 89 w 136"/>
                  <a:gd name="T37" fmla="*/ 21 h 72"/>
                  <a:gd name="T38" fmla="*/ 91 w 136"/>
                  <a:gd name="T39" fmla="*/ 27 h 72"/>
                  <a:gd name="T40" fmla="*/ 100 w 136"/>
                  <a:gd name="T41" fmla="*/ 32 h 72"/>
                  <a:gd name="T42" fmla="*/ 115 w 136"/>
                  <a:gd name="T43" fmla="*/ 38 h 72"/>
                  <a:gd name="T44" fmla="*/ 113 w 136"/>
                  <a:gd name="T45" fmla="*/ 43 h 72"/>
                  <a:gd name="T46" fmla="*/ 119 w 136"/>
                  <a:gd name="T47" fmla="*/ 47 h 72"/>
                  <a:gd name="T48" fmla="*/ 119 w 136"/>
                  <a:gd name="T49" fmla="*/ 51 h 72"/>
                  <a:gd name="T50" fmla="*/ 126 w 136"/>
                  <a:gd name="T51" fmla="*/ 58 h 72"/>
                  <a:gd name="T52" fmla="*/ 136 w 136"/>
                  <a:gd name="T53" fmla="*/ 68 h 72"/>
                  <a:gd name="T54" fmla="*/ 123 w 136"/>
                  <a:gd name="T55" fmla="*/ 68 h 72"/>
                  <a:gd name="T56" fmla="*/ 112 w 136"/>
                  <a:gd name="T57" fmla="*/ 60 h 72"/>
                  <a:gd name="T58" fmla="*/ 108 w 136"/>
                  <a:gd name="T59" fmla="*/ 56 h 72"/>
                  <a:gd name="T60" fmla="*/ 106 w 136"/>
                  <a:gd name="T61" fmla="*/ 54 h 72"/>
                  <a:gd name="T62" fmla="*/ 100 w 136"/>
                  <a:gd name="T63" fmla="*/ 49 h 72"/>
                  <a:gd name="T64" fmla="*/ 85 w 136"/>
                  <a:gd name="T65" fmla="*/ 47 h 72"/>
                  <a:gd name="T66" fmla="*/ 78 w 136"/>
                  <a:gd name="T67" fmla="*/ 64 h 72"/>
                  <a:gd name="T68" fmla="*/ 67 w 136"/>
                  <a:gd name="T69" fmla="*/ 60 h 72"/>
                  <a:gd name="T70" fmla="*/ 61 w 136"/>
                  <a:gd name="T71" fmla="*/ 58 h 72"/>
                  <a:gd name="T72" fmla="*/ 54 w 136"/>
                  <a:gd name="T73" fmla="*/ 49 h 72"/>
                  <a:gd name="T74" fmla="*/ 46 w 136"/>
                  <a:gd name="T75" fmla="*/ 56 h 72"/>
                  <a:gd name="T76" fmla="*/ 41 w 136"/>
                  <a:gd name="T77" fmla="*/ 53 h 72"/>
                  <a:gd name="T78" fmla="*/ 46 w 136"/>
                  <a:gd name="T79" fmla="*/ 47 h 72"/>
                  <a:gd name="T80" fmla="*/ 50 w 136"/>
                  <a:gd name="T81" fmla="*/ 40 h 72"/>
                  <a:gd name="T82" fmla="*/ 48 w 136"/>
                  <a:gd name="T83" fmla="*/ 43 h 72"/>
                  <a:gd name="T84" fmla="*/ 44 w 136"/>
                  <a:gd name="T85" fmla="*/ 36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36" h="72">
                    <a:moveTo>
                      <a:pt x="44" y="36"/>
                    </a:moveTo>
                    <a:cubicBezTo>
                      <a:pt x="41" y="36"/>
                      <a:pt x="42" y="31"/>
                      <a:pt x="37" y="32"/>
                    </a:cubicBezTo>
                    <a:cubicBezTo>
                      <a:pt x="36" y="29"/>
                      <a:pt x="34" y="27"/>
                      <a:pt x="33" y="25"/>
                    </a:cubicBezTo>
                    <a:cubicBezTo>
                      <a:pt x="25" y="24"/>
                      <a:pt x="17" y="23"/>
                      <a:pt x="13" y="19"/>
                    </a:cubicBezTo>
                    <a:cubicBezTo>
                      <a:pt x="7" y="21"/>
                      <a:pt x="9" y="19"/>
                      <a:pt x="2" y="19"/>
                    </a:cubicBezTo>
                    <a:cubicBezTo>
                      <a:pt x="1" y="16"/>
                      <a:pt x="3" y="12"/>
                      <a:pt x="0" y="12"/>
                    </a:cubicBezTo>
                    <a:cubicBezTo>
                      <a:pt x="1" y="8"/>
                      <a:pt x="3" y="12"/>
                      <a:pt x="5" y="12"/>
                    </a:cubicBezTo>
                    <a:cubicBezTo>
                      <a:pt x="8" y="11"/>
                      <a:pt x="9" y="9"/>
                      <a:pt x="11" y="10"/>
                    </a:cubicBezTo>
                    <a:cubicBezTo>
                      <a:pt x="15" y="10"/>
                      <a:pt x="17" y="13"/>
                      <a:pt x="20" y="13"/>
                    </a:cubicBezTo>
                    <a:cubicBezTo>
                      <a:pt x="24" y="15"/>
                      <a:pt x="25" y="9"/>
                      <a:pt x="28" y="8"/>
                    </a:cubicBezTo>
                    <a:cubicBezTo>
                      <a:pt x="32" y="5"/>
                      <a:pt x="39" y="6"/>
                      <a:pt x="43" y="2"/>
                    </a:cubicBezTo>
                    <a:cubicBezTo>
                      <a:pt x="46" y="0"/>
                      <a:pt x="45" y="5"/>
                      <a:pt x="46" y="6"/>
                    </a:cubicBezTo>
                    <a:cubicBezTo>
                      <a:pt x="50" y="8"/>
                      <a:pt x="61" y="5"/>
                      <a:pt x="61" y="12"/>
                    </a:cubicBezTo>
                    <a:cubicBezTo>
                      <a:pt x="63" y="13"/>
                      <a:pt x="65" y="10"/>
                      <a:pt x="65" y="10"/>
                    </a:cubicBezTo>
                    <a:cubicBezTo>
                      <a:pt x="67" y="10"/>
                      <a:pt x="67" y="13"/>
                      <a:pt x="69" y="13"/>
                    </a:cubicBezTo>
                    <a:cubicBezTo>
                      <a:pt x="71" y="15"/>
                      <a:pt x="75" y="12"/>
                      <a:pt x="78" y="13"/>
                    </a:cubicBezTo>
                    <a:cubicBezTo>
                      <a:pt x="79" y="14"/>
                      <a:pt x="80" y="19"/>
                      <a:pt x="85" y="17"/>
                    </a:cubicBezTo>
                    <a:cubicBezTo>
                      <a:pt x="88" y="20"/>
                      <a:pt x="86" y="20"/>
                      <a:pt x="85" y="23"/>
                    </a:cubicBezTo>
                    <a:cubicBezTo>
                      <a:pt x="88" y="23"/>
                      <a:pt x="89" y="22"/>
                      <a:pt x="89" y="21"/>
                    </a:cubicBezTo>
                    <a:cubicBezTo>
                      <a:pt x="91" y="21"/>
                      <a:pt x="91" y="24"/>
                      <a:pt x="91" y="27"/>
                    </a:cubicBezTo>
                    <a:cubicBezTo>
                      <a:pt x="93" y="30"/>
                      <a:pt x="97" y="30"/>
                      <a:pt x="100" y="32"/>
                    </a:cubicBezTo>
                    <a:cubicBezTo>
                      <a:pt x="102" y="33"/>
                      <a:pt x="109" y="38"/>
                      <a:pt x="115" y="38"/>
                    </a:cubicBezTo>
                    <a:cubicBezTo>
                      <a:pt x="116" y="41"/>
                      <a:pt x="114" y="41"/>
                      <a:pt x="113" y="43"/>
                    </a:cubicBezTo>
                    <a:cubicBezTo>
                      <a:pt x="114" y="46"/>
                      <a:pt x="118" y="45"/>
                      <a:pt x="119" y="47"/>
                    </a:cubicBezTo>
                    <a:cubicBezTo>
                      <a:pt x="120" y="48"/>
                      <a:pt x="118" y="50"/>
                      <a:pt x="119" y="51"/>
                    </a:cubicBezTo>
                    <a:cubicBezTo>
                      <a:pt x="121" y="53"/>
                      <a:pt x="124" y="55"/>
                      <a:pt x="126" y="58"/>
                    </a:cubicBezTo>
                    <a:cubicBezTo>
                      <a:pt x="129" y="62"/>
                      <a:pt x="131" y="67"/>
                      <a:pt x="136" y="68"/>
                    </a:cubicBezTo>
                    <a:cubicBezTo>
                      <a:pt x="132" y="72"/>
                      <a:pt x="125" y="68"/>
                      <a:pt x="123" y="68"/>
                    </a:cubicBezTo>
                    <a:cubicBezTo>
                      <a:pt x="119" y="67"/>
                      <a:pt x="117" y="65"/>
                      <a:pt x="112" y="60"/>
                    </a:cubicBezTo>
                    <a:cubicBezTo>
                      <a:pt x="110" y="59"/>
                      <a:pt x="109" y="57"/>
                      <a:pt x="108" y="56"/>
                    </a:cubicBezTo>
                    <a:cubicBezTo>
                      <a:pt x="107" y="55"/>
                      <a:pt x="106" y="57"/>
                      <a:pt x="106" y="54"/>
                    </a:cubicBezTo>
                    <a:cubicBezTo>
                      <a:pt x="106" y="54"/>
                      <a:pt x="101" y="49"/>
                      <a:pt x="100" y="49"/>
                    </a:cubicBezTo>
                    <a:cubicBezTo>
                      <a:pt x="96" y="47"/>
                      <a:pt x="90" y="50"/>
                      <a:pt x="85" y="47"/>
                    </a:cubicBezTo>
                    <a:cubicBezTo>
                      <a:pt x="81" y="51"/>
                      <a:pt x="80" y="58"/>
                      <a:pt x="78" y="64"/>
                    </a:cubicBezTo>
                    <a:cubicBezTo>
                      <a:pt x="77" y="61"/>
                      <a:pt x="70" y="62"/>
                      <a:pt x="67" y="60"/>
                    </a:cubicBezTo>
                    <a:cubicBezTo>
                      <a:pt x="65" y="58"/>
                      <a:pt x="68" y="55"/>
                      <a:pt x="61" y="58"/>
                    </a:cubicBezTo>
                    <a:cubicBezTo>
                      <a:pt x="65" y="49"/>
                      <a:pt x="52" y="56"/>
                      <a:pt x="54" y="49"/>
                    </a:cubicBezTo>
                    <a:cubicBezTo>
                      <a:pt x="49" y="50"/>
                      <a:pt x="45" y="50"/>
                      <a:pt x="46" y="56"/>
                    </a:cubicBezTo>
                    <a:cubicBezTo>
                      <a:pt x="44" y="55"/>
                      <a:pt x="44" y="52"/>
                      <a:pt x="41" y="53"/>
                    </a:cubicBezTo>
                    <a:cubicBezTo>
                      <a:pt x="41" y="49"/>
                      <a:pt x="44" y="49"/>
                      <a:pt x="46" y="47"/>
                    </a:cubicBezTo>
                    <a:cubicBezTo>
                      <a:pt x="49" y="45"/>
                      <a:pt x="51" y="45"/>
                      <a:pt x="50" y="40"/>
                    </a:cubicBezTo>
                    <a:cubicBezTo>
                      <a:pt x="49" y="38"/>
                      <a:pt x="48" y="43"/>
                      <a:pt x="48" y="43"/>
                    </a:cubicBezTo>
                    <a:cubicBezTo>
                      <a:pt x="45" y="42"/>
                      <a:pt x="46" y="31"/>
                      <a:pt x="44" y="3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100" name="ï$ľiḓê">
                <a:extLst>
                  <a:ext uri="{FF2B5EF4-FFF2-40B4-BE49-F238E27FC236}">
                    <a16:creationId xmlns:a16="http://schemas.microsoft.com/office/drawing/2014/main" id="{D252E82A-7BE5-4731-AC3E-8AE59FC194B7}"/>
                  </a:ext>
                </a:extLst>
              </p:cNvPr>
              <p:cNvSpPr/>
              <p:nvPr/>
            </p:nvSpPr>
            <p:spPr bwMode="auto">
              <a:xfrm>
                <a:off x="7688509" y="2252712"/>
                <a:ext cx="29417" cy="23814"/>
              </a:xfrm>
              <a:custGeom>
                <a:avLst/>
                <a:gdLst>
                  <a:gd name="T0" fmla="*/ 13 w 14"/>
                  <a:gd name="T1" fmla="*/ 4 h 12"/>
                  <a:gd name="T2" fmla="*/ 0 w 14"/>
                  <a:gd name="T3" fmla="*/ 6 h 12"/>
                  <a:gd name="T4" fmla="*/ 13 w 14"/>
                  <a:gd name="T5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2">
                    <a:moveTo>
                      <a:pt x="13" y="4"/>
                    </a:moveTo>
                    <a:cubicBezTo>
                      <a:pt x="14" y="12"/>
                      <a:pt x="3" y="6"/>
                      <a:pt x="0" y="6"/>
                    </a:cubicBezTo>
                    <a:cubicBezTo>
                      <a:pt x="2" y="4"/>
                      <a:pt x="11" y="0"/>
                      <a:pt x="13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101" name="işļíḋe">
                <a:extLst>
                  <a:ext uri="{FF2B5EF4-FFF2-40B4-BE49-F238E27FC236}">
                    <a16:creationId xmlns:a16="http://schemas.microsoft.com/office/drawing/2014/main" id="{F8BDDCCB-0938-409D-9A84-83EC7F6127E2}"/>
                  </a:ext>
                </a:extLst>
              </p:cNvPr>
              <p:cNvSpPr/>
              <p:nvPr/>
            </p:nvSpPr>
            <p:spPr bwMode="auto">
              <a:xfrm>
                <a:off x="7653490" y="2258315"/>
                <a:ext cx="18211" cy="9806"/>
              </a:xfrm>
              <a:custGeom>
                <a:avLst/>
                <a:gdLst>
                  <a:gd name="T0" fmla="*/ 0 w 9"/>
                  <a:gd name="T1" fmla="*/ 3 h 5"/>
                  <a:gd name="T2" fmla="*/ 6 w 9"/>
                  <a:gd name="T3" fmla="*/ 5 h 5"/>
                  <a:gd name="T4" fmla="*/ 2 w 9"/>
                  <a:gd name="T5" fmla="*/ 5 h 5"/>
                  <a:gd name="T6" fmla="*/ 0 w 9"/>
                  <a:gd name="T7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5">
                    <a:moveTo>
                      <a:pt x="0" y="3"/>
                    </a:moveTo>
                    <a:cubicBezTo>
                      <a:pt x="0" y="0"/>
                      <a:pt x="9" y="1"/>
                      <a:pt x="6" y="5"/>
                    </a:cubicBezTo>
                    <a:cubicBezTo>
                      <a:pt x="5" y="5"/>
                      <a:pt x="3" y="5"/>
                      <a:pt x="2" y="5"/>
                    </a:cubicBezTo>
                    <a:cubicBezTo>
                      <a:pt x="2" y="4"/>
                      <a:pt x="1" y="3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102" name="iŝļîḋê">
                <a:extLst>
                  <a:ext uri="{FF2B5EF4-FFF2-40B4-BE49-F238E27FC236}">
                    <a16:creationId xmlns:a16="http://schemas.microsoft.com/office/drawing/2014/main" id="{45DC2E40-9615-4ACC-9421-550D6B717AE3}"/>
                  </a:ext>
                </a:extLst>
              </p:cNvPr>
              <p:cNvSpPr/>
              <p:nvPr/>
            </p:nvSpPr>
            <p:spPr bwMode="auto">
              <a:xfrm>
                <a:off x="8013490" y="2280728"/>
                <a:ext cx="56031" cy="40623"/>
              </a:xfrm>
              <a:custGeom>
                <a:avLst/>
                <a:gdLst>
                  <a:gd name="T0" fmla="*/ 21 w 27"/>
                  <a:gd name="T1" fmla="*/ 0 h 19"/>
                  <a:gd name="T2" fmla="*/ 27 w 27"/>
                  <a:gd name="T3" fmla="*/ 0 h 19"/>
                  <a:gd name="T4" fmla="*/ 27 w 27"/>
                  <a:gd name="T5" fmla="*/ 5 h 19"/>
                  <a:gd name="T6" fmla="*/ 23 w 27"/>
                  <a:gd name="T7" fmla="*/ 7 h 19"/>
                  <a:gd name="T8" fmla="*/ 23 w 27"/>
                  <a:gd name="T9" fmla="*/ 13 h 19"/>
                  <a:gd name="T10" fmla="*/ 19 w 27"/>
                  <a:gd name="T11" fmla="*/ 15 h 19"/>
                  <a:gd name="T12" fmla="*/ 2 w 27"/>
                  <a:gd name="T13" fmla="*/ 9 h 19"/>
                  <a:gd name="T14" fmla="*/ 21 w 27"/>
                  <a:gd name="T1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19">
                    <a:moveTo>
                      <a:pt x="21" y="0"/>
                    </a:moveTo>
                    <a:cubicBezTo>
                      <a:pt x="23" y="0"/>
                      <a:pt x="25" y="0"/>
                      <a:pt x="27" y="0"/>
                    </a:cubicBezTo>
                    <a:cubicBezTo>
                      <a:pt x="26" y="1"/>
                      <a:pt x="27" y="4"/>
                      <a:pt x="27" y="5"/>
                    </a:cubicBezTo>
                    <a:cubicBezTo>
                      <a:pt x="26" y="7"/>
                      <a:pt x="23" y="6"/>
                      <a:pt x="23" y="7"/>
                    </a:cubicBezTo>
                    <a:cubicBezTo>
                      <a:pt x="22" y="9"/>
                      <a:pt x="26" y="11"/>
                      <a:pt x="23" y="13"/>
                    </a:cubicBezTo>
                    <a:cubicBezTo>
                      <a:pt x="21" y="11"/>
                      <a:pt x="19" y="11"/>
                      <a:pt x="19" y="15"/>
                    </a:cubicBezTo>
                    <a:cubicBezTo>
                      <a:pt x="13" y="13"/>
                      <a:pt x="0" y="19"/>
                      <a:pt x="2" y="9"/>
                    </a:cubicBezTo>
                    <a:cubicBezTo>
                      <a:pt x="12" y="13"/>
                      <a:pt x="18" y="8"/>
                      <a:pt x="2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103" name="ïşlíḍe">
                <a:extLst>
                  <a:ext uri="{FF2B5EF4-FFF2-40B4-BE49-F238E27FC236}">
                    <a16:creationId xmlns:a16="http://schemas.microsoft.com/office/drawing/2014/main" id="{4CE5856E-FC33-4432-BA3B-D94231798198}"/>
                  </a:ext>
                </a:extLst>
              </p:cNvPr>
              <p:cNvSpPr/>
              <p:nvPr/>
            </p:nvSpPr>
            <p:spPr bwMode="auto">
              <a:xfrm>
                <a:off x="7509209" y="2340961"/>
                <a:ext cx="30817" cy="15409"/>
              </a:xfrm>
              <a:custGeom>
                <a:avLst/>
                <a:gdLst>
                  <a:gd name="T0" fmla="*/ 15 w 15"/>
                  <a:gd name="T1" fmla="*/ 1 h 7"/>
                  <a:gd name="T2" fmla="*/ 0 w 15"/>
                  <a:gd name="T3" fmla="*/ 6 h 7"/>
                  <a:gd name="T4" fmla="*/ 15 w 15"/>
                  <a:gd name="T5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7">
                    <a:moveTo>
                      <a:pt x="15" y="1"/>
                    </a:moveTo>
                    <a:cubicBezTo>
                      <a:pt x="12" y="4"/>
                      <a:pt x="8" y="7"/>
                      <a:pt x="0" y="6"/>
                    </a:cubicBezTo>
                    <a:cubicBezTo>
                      <a:pt x="1" y="0"/>
                      <a:pt x="9" y="1"/>
                      <a:pt x="1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104" name="ï$lïḍê">
                <a:extLst>
                  <a:ext uri="{FF2B5EF4-FFF2-40B4-BE49-F238E27FC236}">
                    <a16:creationId xmlns:a16="http://schemas.microsoft.com/office/drawing/2014/main" id="{F0741C78-A34D-46C4-A36F-55A448710C9B}"/>
                  </a:ext>
                </a:extLst>
              </p:cNvPr>
              <p:cNvSpPr/>
              <p:nvPr/>
            </p:nvSpPr>
            <p:spPr bwMode="auto">
              <a:xfrm>
                <a:off x="7556835" y="2340961"/>
                <a:ext cx="32218" cy="11206"/>
              </a:xfrm>
              <a:custGeom>
                <a:avLst/>
                <a:gdLst>
                  <a:gd name="T0" fmla="*/ 15 w 15"/>
                  <a:gd name="T1" fmla="*/ 1 h 5"/>
                  <a:gd name="T2" fmla="*/ 0 w 15"/>
                  <a:gd name="T3" fmla="*/ 4 h 5"/>
                  <a:gd name="T4" fmla="*/ 15 w 15"/>
                  <a:gd name="T5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5">
                    <a:moveTo>
                      <a:pt x="15" y="1"/>
                    </a:moveTo>
                    <a:cubicBezTo>
                      <a:pt x="13" y="5"/>
                      <a:pt x="6" y="4"/>
                      <a:pt x="0" y="4"/>
                    </a:cubicBezTo>
                    <a:cubicBezTo>
                      <a:pt x="2" y="0"/>
                      <a:pt x="8" y="0"/>
                      <a:pt x="1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105" name="îşlíḍe">
                <a:extLst>
                  <a:ext uri="{FF2B5EF4-FFF2-40B4-BE49-F238E27FC236}">
                    <a16:creationId xmlns:a16="http://schemas.microsoft.com/office/drawing/2014/main" id="{C1EF40D6-E859-4FC8-ABC6-2C1FFCCCE56C}"/>
                  </a:ext>
                </a:extLst>
              </p:cNvPr>
              <p:cNvSpPr/>
              <p:nvPr/>
            </p:nvSpPr>
            <p:spPr bwMode="auto">
              <a:xfrm>
                <a:off x="7615668" y="2340961"/>
                <a:ext cx="51829" cy="33619"/>
              </a:xfrm>
              <a:custGeom>
                <a:avLst/>
                <a:gdLst>
                  <a:gd name="T0" fmla="*/ 24 w 25"/>
                  <a:gd name="T1" fmla="*/ 1 h 16"/>
                  <a:gd name="T2" fmla="*/ 22 w 25"/>
                  <a:gd name="T3" fmla="*/ 8 h 16"/>
                  <a:gd name="T4" fmla="*/ 18 w 25"/>
                  <a:gd name="T5" fmla="*/ 8 h 16"/>
                  <a:gd name="T6" fmla="*/ 2 w 25"/>
                  <a:gd name="T7" fmla="*/ 16 h 16"/>
                  <a:gd name="T8" fmla="*/ 7 w 25"/>
                  <a:gd name="T9" fmla="*/ 10 h 16"/>
                  <a:gd name="T10" fmla="*/ 11 w 25"/>
                  <a:gd name="T11" fmla="*/ 6 h 16"/>
                  <a:gd name="T12" fmla="*/ 15 w 25"/>
                  <a:gd name="T13" fmla="*/ 2 h 16"/>
                  <a:gd name="T14" fmla="*/ 24 w 25"/>
                  <a:gd name="T15" fmla="*/ 1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16">
                    <a:moveTo>
                      <a:pt x="24" y="1"/>
                    </a:moveTo>
                    <a:cubicBezTo>
                      <a:pt x="25" y="4"/>
                      <a:pt x="23" y="7"/>
                      <a:pt x="22" y="8"/>
                    </a:cubicBezTo>
                    <a:cubicBezTo>
                      <a:pt x="21" y="9"/>
                      <a:pt x="19" y="7"/>
                      <a:pt x="18" y="8"/>
                    </a:cubicBezTo>
                    <a:cubicBezTo>
                      <a:pt x="16" y="11"/>
                      <a:pt x="10" y="16"/>
                      <a:pt x="2" y="16"/>
                    </a:cubicBezTo>
                    <a:cubicBezTo>
                      <a:pt x="0" y="11"/>
                      <a:pt x="5" y="11"/>
                      <a:pt x="7" y="10"/>
                    </a:cubicBezTo>
                    <a:cubicBezTo>
                      <a:pt x="8" y="9"/>
                      <a:pt x="10" y="7"/>
                      <a:pt x="11" y="6"/>
                    </a:cubicBezTo>
                    <a:cubicBezTo>
                      <a:pt x="12" y="5"/>
                      <a:pt x="14" y="5"/>
                      <a:pt x="15" y="2"/>
                    </a:cubicBezTo>
                    <a:cubicBezTo>
                      <a:pt x="20" y="4"/>
                      <a:pt x="19" y="0"/>
                      <a:pt x="24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106" name="iś1ïdè">
                <a:extLst>
                  <a:ext uri="{FF2B5EF4-FFF2-40B4-BE49-F238E27FC236}">
                    <a16:creationId xmlns:a16="http://schemas.microsoft.com/office/drawing/2014/main" id="{5929B5E5-5DFC-4F37-8783-3805B4003669}"/>
                  </a:ext>
                </a:extLst>
              </p:cNvPr>
              <p:cNvSpPr/>
              <p:nvPr/>
            </p:nvSpPr>
            <p:spPr bwMode="auto">
              <a:xfrm>
                <a:off x="8401508" y="2785009"/>
                <a:ext cx="28016" cy="39222"/>
              </a:xfrm>
              <a:custGeom>
                <a:avLst/>
                <a:gdLst>
                  <a:gd name="T0" fmla="*/ 2 w 13"/>
                  <a:gd name="T1" fmla="*/ 0 h 19"/>
                  <a:gd name="T2" fmla="*/ 4 w 13"/>
                  <a:gd name="T3" fmla="*/ 4 h 19"/>
                  <a:gd name="T4" fmla="*/ 9 w 13"/>
                  <a:gd name="T5" fmla="*/ 9 h 19"/>
                  <a:gd name="T6" fmla="*/ 11 w 13"/>
                  <a:gd name="T7" fmla="*/ 19 h 19"/>
                  <a:gd name="T8" fmla="*/ 6 w 13"/>
                  <a:gd name="T9" fmla="*/ 19 h 19"/>
                  <a:gd name="T10" fmla="*/ 0 w 13"/>
                  <a:gd name="T11" fmla="*/ 4 h 19"/>
                  <a:gd name="T12" fmla="*/ 2 w 13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19">
                    <a:moveTo>
                      <a:pt x="2" y="0"/>
                    </a:moveTo>
                    <a:cubicBezTo>
                      <a:pt x="4" y="0"/>
                      <a:pt x="3" y="2"/>
                      <a:pt x="4" y="4"/>
                    </a:cubicBezTo>
                    <a:cubicBezTo>
                      <a:pt x="2" y="6"/>
                      <a:pt x="12" y="7"/>
                      <a:pt x="9" y="9"/>
                    </a:cubicBezTo>
                    <a:cubicBezTo>
                      <a:pt x="6" y="13"/>
                      <a:pt x="13" y="10"/>
                      <a:pt x="11" y="19"/>
                    </a:cubicBezTo>
                    <a:cubicBezTo>
                      <a:pt x="8" y="19"/>
                      <a:pt x="6" y="16"/>
                      <a:pt x="6" y="19"/>
                    </a:cubicBezTo>
                    <a:cubicBezTo>
                      <a:pt x="3" y="16"/>
                      <a:pt x="2" y="8"/>
                      <a:pt x="0" y="4"/>
                    </a:cubicBezTo>
                    <a:cubicBezTo>
                      <a:pt x="2" y="4"/>
                      <a:pt x="1" y="2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107" name="ïṧľíďê">
                <a:extLst>
                  <a:ext uri="{FF2B5EF4-FFF2-40B4-BE49-F238E27FC236}">
                    <a16:creationId xmlns:a16="http://schemas.microsoft.com/office/drawing/2014/main" id="{A03CEAE2-6246-4687-BC4D-1A8446377BBA}"/>
                  </a:ext>
                </a:extLst>
              </p:cNvPr>
              <p:cNvSpPr/>
              <p:nvPr/>
            </p:nvSpPr>
            <p:spPr bwMode="auto">
              <a:xfrm>
                <a:off x="8408511" y="2820029"/>
                <a:ext cx="64436" cy="85448"/>
              </a:xfrm>
              <a:custGeom>
                <a:avLst/>
                <a:gdLst>
                  <a:gd name="T0" fmla="*/ 10 w 31"/>
                  <a:gd name="T1" fmla="*/ 0 h 41"/>
                  <a:gd name="T2" fmla="*/ 12 w 31"/>
                  <a:gd name="T3" fmla="*/ 2 h 41"/>
                  <a:gd name="T4" fmla="*/ 16 w 31"/>
                  <a:gd name="T5" fmla="*/ 2 h 41"/>
                  <a:gd name="T6" fmla="*/ 31 w 31"/>
                  <a:gd name="T7" fmla="*/ 9 h 41"/>
                  <a:gd name="T8" fmla="*/ 31 w 31"/>
                  <a:gd name="T9" fmla="*/ 19 h 41"/>
                  <a:gd name="T10" fmla="*/ 25 w 31"/>
                  <a:gd name="T11" fmla="*/ 19 h 41"/>
                  <a:gd name="T12" fmla="*/ 23 w 31"/>
                  <a:gd name="T13" fmla="*/ 22 h 41"/>
                  <a:gd name="T14" fmla="*/ 21 w 31"/>
                  <a:gd name="T15" fmla="*/ 33 h 41"/>
                  <a:gd name="T16" fmla="*/ 19 w 31"/>
                  <a:gd name="T17" fmla="*/ 37 h 41"/>
                  <a:gd name="T18" fmla="*/ 10 w 31"/>
                  <a:gd name="T19" fmla="*/ 39 h 41"/>
                  <a:gd name="T20" fmla="*/ 8 w 31"/>
                  <a:gd name="T21" fmla="*/ 33 h 41"/>
                  <a:gd name="T22" fmla="*/ 12 w 31"/>
                  <a:gd name="T23" fmla="*/ 30 h 41"/>
                  <a:gd name="T24" fmla="*/ 1 w 31"/>
                  <a:gd name="T25" fmla="*/ 24 h 41"/>
                  <a:gd name="T26" fmla="*/ 8 w 31"/>
                  <a:gd name="T27" fmla="*/ 17 h 41"/>
                  <a:gd name="T28" fmla="*/ 10 w 31"/>
                  <a:gd name="T29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1" h="41">
                    <a:moveTo>
                      <a:pt x="10" y="0"/>
                    </a:moveTo>
                    <a:cubicBezTo>
                      <a:pt x="12" y="0"/>
                      <a:pt x="12" y="1"/>
                      <a:pt x="12" y="2"/>
                    </a:cubicBezTo>
                    <a:cubicBezTo>
                      <a:pt x="12" y="5"/>
                      <a:pt x="16" y="2"/>
                      <a:pt x="16" y="2"/>
                    </a:cubicBezTo>
                    <a:cubicBezTo>
                      <a:pt x="21" y="5"/>
                      <a:pt x="19" y="12"/>
                      <a:pt x="31" y="9"/>
                    </a:cubicBezTo>
                    <a:cubicBezTo>
                      <a:pt x="31" y="12"/>
                      <a:pt x="31" y="15"/>
                      <a:pt x="31" y="19"/>
                    </a:cubicBezTo>
                    <a:cubicBezTo>
                      <a:pt x="29" y="19"/>
                      <a:pt x="27" y="19"/>
                      <a:pt x="25" y="19"/>
                    </a:cubicBezTo>
                    <a:cubicBezTo>
                      <a:pt x="25" y="21"/>
                      <a:pt x="25" y="22"/>
                      <a:pt x="23" y="22"/>
                    </a:cubicBezTo>
                    <a:cubicBezTo>
                      <a:pt x="27" y="27"/>
                      <a:pt x="22" y="28"/>
                      <a:pt x="21" y="33"/>
                    </a:cubicBezTo>
                    <a:cubicBezTo>
                      <a:pt x="21" y="35"/>
                      <a:pt x="15" y="36"/>
                      <a:pt x="19" y="37"/>
                    </a:cubicBezTo>
                    <a:cubicBezTo>
                      <a:pt x="20" y="41"/>
                      <a:pt x="13" y="38"/>
                      <a:pt x="10" y="39"/>
                    </a:cubicBezTo>
                    <a:cubicBezTo>
                      <a:pt x="11" y="36"/>
                      <a:pt x="8" y="36"/>
                      <a:pt x="8" y="33"/>
                    </a:cubicBezTo>
                    <a:cubicBezTo>
                      <a:pt x="8" y="30"/>
                      <a:pt x="10" y="30"/>
                      <a:pt x="12" y="30"/>
                    </a:cubicBezTo>
                    <a:cubicBezTo>
                      <a:pt x="9" y="27"/>
                      <a:pt x="8" y="22"/>
                      <a:pt x="1" y="24"/>
                    </a:cubicBezTo>
                    <a:cubicBezTo>
                      <a:pt x="0" y="19"/>
                      <a:pt x="6" y="19"/>
                      <a:pt x="8" y="17"/>
                    </a:cubicBezTo>
                    <a:cubicBezTo>
                      <a:pt x="9" y="7"/>
                      <a:pt x="8" y="7"/>
                      <a:pt x="1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108" name="íSľídè">
                <a:extLst>
                  <a:ext uri="{FF2B5EF4-FFF2-40B4-BE49-F238E27FC236}">
                    <a16:creationId xmlns:a16="http://schemas.microsoft.com/office/drawing/2014/main" id="{AA1B8E90-C044-4BA6-8501-8CF139EB449C}"/>
                  </a:ext>
                </a:extLst>
              </p:cNvPr>
              <p:cNvSpPr/>
              <p:nvPr/>
            </p:nvSpPr>
            <p:spPr bwMode="auto">
              <a:xfrm>
                <a:off x="7957459" y="2890068"/>
                <a:ext cx="51829" cy="56031"/>
              </a:xfrm>
              <a:custGeom>
                <a:avLst/>
                <a:gdLst>
                  <a:gd name="T0" fmla="*/ 24 w 25"/>
                  <a:gd name="T1" fmla="*/ 1 h 27"/>
                  <a:gd name="T2" fmla="*/ 24 w 25"/>
                  <a:gd name="T3" fmla="*/ 12 h 27"/>
                  <a:gd name="T4" fmla="*/ 22 w 25"/>
                  <a:gd name="T5" fmla="*/ 9 h 27"/>
                  <a:gd name="T6" fmla="*/ 20 w 25"/>
                  <a:gd name="T7" fmla="*/ 11 h 27"/>
                  <a:gd name="T8" fmla="*/ 20 w 25"/>
                  <a:gd name="T9" fmla="*/ 20 h 27"/>
                  <a:gd name="T10" fmla="*/ 16 w 25"/>
                  <a:gd name="T11" fmla="*/ 20 h 27"/>
                  <a:gd name="T12" fmla="*/ 16 w 25"/>
                  <a:gd name="T13" fmla="*/ 24 h 27"/>
                  <a:gd name="T14" fmla="*/ 11 w 25"/>
                  <a:gd name="T15" fmla="*/ 27 h 27"/>
                  <a:gd name="T16" fmla="*/ 7 w 25"/>
                  <a:gd name="T17" fmla="*/ 22 h 27"/>
                  <a:gd name="T18" fmla="*/ 3 w 25"/>
                  <a:gd name="T19" fmla="*/ 18 h 27"/>
                  <a:gd name="T20" fmla="*/ 0 w 25"/>
                  <a:gd name="T21" fmla="*/ 7 h 27"/>
                  <a:gd name="T22" fmla="*/ 15 w 25"/>
                  <a:gd name="T23" fmla="*/ 3 h 27"/>
                  <a:gd name="T24" fmla="*/ 24 w 25"/>
                  <a:gd name="T25" fmla="*/ 1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7">
                    <a:moveTo>
                      <a:pt x="24" y="1"/>
                    </a:moveTo>
                    <a:cubicBezTo>
                      <a:pt x="23" y="5"/>
                      <a:pt x="25" y="8"/>
                      <a:pt x="24" y="12"/>
                    </a:cubicBezTo>
                    <a:cubicBezTo>
                      <a:pt x="24" y="13"/>
                      <a:pt x="22" y="10"/>
                      <a:pt x="22" y="9"/>
                    </a:cubicBezTo>
                    <a:cubicBezTo>
                      <a:pt x="22" y="9"/>
                      <a:pt x="21" y="9"/>
                      <a:pt x="20" y="11"/>
                    </a:cubicBezTo>
                    <a:cubicBezTo>
                      <a:pt x="19" y="13"/>
                      <a:pt x="21" y="17"/>
                      <a:pt x="20" y="20"/>
                    </a:cubicBezTo>
                    <a:cubicBezTo>
                      <a:pt x="20" y="20"/>
                      <a:pt x="17" y="19"/>
                      <a:pt x="16" y="20"/>
                    </a:cubicBezTo>
                    <a:cubicBezTo>
                      <a:pt x="16" y="20"/>
                      <a:pt x="17" y="23"/>
                      <a:pt x="16" y="24"/>
                    </a:cubicBezTo>
                    <a:cubicBezTo>
                      <a:pt x="15" y="25"/>
                      <a:pt x="11" y="24"/>
                      <a:pt x="11" y="27"/>
                    </a:cubicBezTo>
                    <a:cubicBezTo>
                      <a:pt x="9" y="26"/>
                      <a:pt x="8" y="24"/>
                      <a:pt x="7" y="22"/>
                    </a:cubicBezTo>
                    <a:cubicBezTo>
                      <a:pt x="6" y="21"/>
                      <a:pt x="4" y="19"/>
                      <a:pt x="3" y="18"/>
                    </a:cubicBezTo>
                    <a:cubicBezTo>
                      <a:pt x="2" y="14"/>
                      <a:pt x="4" y="9"/>
                      <a:pt x="0" y="7"/>
                    </a:cubicBezTo>
                    <a:cubicBezTo>
                      <a:pt x="2" y="4"/>
                      <a:pt x="9" y="4"/>
                      <a:pt x="15" y="3"/>
                    </a:cubicBezTo>
                    <a:cubicBezTo>
                      <a:pt x="18" y="2"/>
                      <a:pt x="20" y="0"/>
                      <a:pt x="24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109" name="íṩḷíḍé">
                <a:extLst>
                  <a:ext uri="{FF2B5EF4-FFF2-40B4-BE49-F238E27FC236}">
                    <a16:creationId xmlns:a16="http://schemas.microsoft.com/office/drawing/2014/main" id="{5086F931-A4B3-4297-A4EB-F403AD58F187}"/>
                  </a:ext>
                </a:extLst>
              </p:cNvPr>
              <p:cNvSpPr/>
              <p:nvPr/>
            </p:nvSpPr>
            <p:spPr bwMode="auto">
              <a:xfrm>
                <a:off x="4511535" y="414885"/>
                <a:ext cx="952532" cy="710197"/>
              </a:xfrm>
              <a:custGeom>
                <a:avLst/>
                <a:gdLst>
                  <a:gd name="T0" fmla="*/ 325 w 458"/>
                  <a:gd name="T1" fmla="*/ 39 h 342"/>
                  <a:gd name="T2" fmla="*/ 343 w 458"/>
                  <a:gd name="T3" fmla="*/ 40 h 342"/>
                  <a:gd name="T4" fmla="*/ 370 w 458"/>
                  <a:gd name="T5" fmla="*/ 35 h 342"/>
                  <a:gd name="T6" fmla="*/ 384 w 458"/>
                  <a:gd name="T7" fmla="*/ 37 h 342"/>
                  <a:gd name="T8" fmla="*/ 383 w 458"/>
                  <a:gd name="T9" fmla="*/ 42 h 342"/>
                  <a:gd name="T10" fmla="*/ 431 w 458"/>
                  <a:gd name="T11" fmla="*/ 33 h 342"/>
                  <a:gd name="T12" fmla="*/ 457 w 458"/>
                  <a:gd name="T13" fmla="*/ 39 h 342"/>
                  <a:gd name="T14" fmla="*/ 424 w 458"/>
                  <a:gd name="T15" fmla="*/ 55 h 342"/>
                  <a:gd name="T16" fmla="*/ 414 w 458"/>
                  <a:gd name="T17" fmla="*/ 68 h 342"/>
                  <a:gd name="T18" fmla="*/ 397 w 458"/>
                  <a:gd name="T19" fmla="*/ 87 h 342"/>
                  <a:gd name="T20" fmla="*/ 401 w 458"/>
                  <a:gd name="T21" fmla="*/ 104 h 342"/>
                  <a:gd name="T22" fmla="*/ 390 w 458"/>
                  <a:gd name="T23" fmla="*/ 121 h 342"/>
                  <a:gd name="T24" fmla="*/ 403 w 458"/>
                  <a:gd name="T25" fmla="*/ 143 h 342"/>
                  <a:gd name="T26" fmla="*/ 392 w 458"/>
                  <a:gd name="T27" fmla="*/ 160 h 342"/>
                  <a:gd name="T28" fmla="*/ 379 w 458"/>
                  <a:gd name="T29" fmla="*/ 175 h 342"/>
                  <a:gd name="T30" fmla="*/ 397 w 458"/>
                  <a:gd name="T31" fmla="*/ 208 h 342"/>
                  <a:gd name="T32" fmla="*/ 368 w 458"/>
                  <a:gd name="T33" fmla="*/ 204 h 342"/>
                  <a:gd name="T34" fmla="*/ 366 w 458"/>
                  <a:gd name="T35" fmla="*/ 216 h 342"/>
                  <a:gd name="T36" fmla="*/ 353 w 458"/>
                  <a:gd name="T37" fmla="*/ 234 h 342"/>
                  <a:gd name="T38" fmla="*/ 323 w 458"/>
                  <a:gd name="T39" fmla="*/ 242 h 342"/>
                  <a:gd name="T40" fmla="*/ 308 w 458"/>
                  <a:gd name="T41" fmla="*/ 251 h 342"/>
                  <a:gd name="T42" fmla="*/ 299 w 458"/>
                  <a:gd name="T43" fmla="*/ 262 h 342"/>
                  <a:gd name="T44" fmla="*/ 258 w 458"/>
                  <a:gd name="T45" fmla="*/ 273 h 342"/>
                  <a:gd name="T46" fmla="*/ 247 w 458"/>
                  <a:gd name="T47" fmla="*/ 290 h 342"/>
                  <a:gd name="T48" fmla="*/ 235 w 458"/>
                  <a:gd name="T49" fmla="*/ 305 h 342"/>
                  <a:gd name="T50" fmla="*/ 232 w 458"/>
                  <a:gd name="T51" fmla="*/ 320 h 342"/>
                  <a:gd name="T52" fmla="*/ 207 w 458"/>
                  <a:gd name="T53" fmla="*/ 335 h 342"/>
                  <a:gd name="T54" fmla="*/ 181 w 458"/>
                  <a:gd name="T55" fmla="*/ 322 h 342"/>
                  <a:gd name="T56" fmla="*/ 166 w 458"/>
                  <a:gd name="T57" fmla="*/ 303 h 342"/>
                  <a:gd name="T58" fmla="*/ 157 w 458"/>
                  <a:gd name="T59" fmla="*/ 290 h 342"/>
                  <a:gd name="T60" fmla="*/ 150 w 458"/>
                  <a:gd name="T61" fmla="*/ 262 h 342"/>
                  <a:gd name="T62" fmla="*/ 153 w 458"/>
                  <a:gd name="T63" fmla="*/ 253 h 342"/>
                  <a:gd name="T64" fmla="*/ 166 w 458"/>
                  <a:gd name="T65" fmla="*/ 238 h 342"/>
                  <a:gd name="T66" fmla="*/ 159 w 458"/>
                  <a:gd name="T67" fmla="*/ 219 h 342"/>
                  <a:gd name="T68" fmla="*/ 163 w 458"/>
                  <a:gd name="T69" fmla="*/ 204 h 342"/>
                  <a:gd name="T70" fmla="*/ 144 w 458"/>
                  <a:gd name="T71" fmla="*/ 199 h 342"/>
                  <a:gd name="T72" fmla="*/ 131 w 458"/>
                  <a:gd name="T73" fmla="*/ 175 h 342"/>
                  <a:gd name="T74" fmla="*/ 118 w 458"/>
                  <a:gd name="T75" fmla="*/ 148 h 342"/>
                  <a:gd name="T76" fmla="*/ 84 w 458"/>
                  <a:gd name="T77" fmla="*/ 132 h 342"/>
                  <a:gd name="T78" fmla="*/ 38 w 458"/>
                  <a:gd name="T79" fmla="*/ 134 h 342"/>
                  <a:gd name="T80" fmla="*/ 38 w 458"/>
                  <a:gd name="T81" fmla="*/ 122 h 342"/>
                  <a:gd name="T82" fmla="*/ 19 w 458"/>
                  <a:gd name="T83" fmla="*/ 106 h 342"/>
                  <a:gd name="T84" fmla="*/ 28 w 458"/>
                  <a:gd name="T85" fmla="*/ 89 h 342"/>
                  <a:gd name="T86" fmla="*/ 51 w 458"/>
                  <a:gd name="T87" fmla="*/ 80 h 342"/>
                  <a:gd name="T88" fmla="*/ 55 w 458"/>
                  <a:gd name="T89" fmla="*/ 68 h 342"/>
                  <a:gd name="T90" fmla="*/ 49 w 458"/>
                  <a:gd name="T91" fmla="*/ 61 h 342"/>
                  <a:gd name="T92" fmla="*/ 66 w 458"/>
                  <a:gd name="T93" fmla="*/ 55 h 342"/>
                  <a:gd name="T94" fmla="*/ 84 w 458"/>
                  <a:gd name="T95" fmla="*/ 37 h 342"/>
                  <a:gd name="T96" fmla="*/ 140 w 458"/>
                  <a:gd name="T97" fmla="*/ 29 h 342"/>
                  <a:gd name="T98" fmla="*/ 166 w 458"/>
                  <a:gd name="T99" fmla="*/ 37 h 342"/>
                  <a:gd name="T100" fmla="*/ 191 w 458"/>
                  <a:gd name="T101" fmla="*/ 24 h 342"/>
                  <a:gd name="T102" fmla="*/ 213 w 458"/>
                  <a:gd name="T103" fmla="*/ 25 h 342"/>
                  <a:gd name="T104" fmla="*/ 220 w 458"/>
                  <a:gd name="T105" fmla="*/ 12 h 342"/>
                  <a:gd name="T106" fmla="*/ 263 w 458"/>
                  <a:gd name="T107" fmla="*/ 3 h 342"/>
                  <a:gd name="T108" fmla="*/ 323 w 458"/>
                  <a:gd name="T109" fmla="*/ 1 h 342"/>
                  <a:gd name="T110" fmla="*/ 368 w 458"/>
                  <a:gd name="T111" fmla="*/ 16 h 342"/>
                  <a:gd name="T112" fmla="*/ 383 w 458"/>
                  <a:gd name="T113" fmla="*/ 27 h 342"/>
                  <a:gd name="T114" fmla="*/ 319 w 458"/>
                  <a:gd name="T115" fmla="*/ 29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458" h="342">
                    <a:moveTo>
                      <a:pt x="310" y="35"/>
                    </a:moveTo>
                    <a:cubicBezTo>
                      <a:pt x="310" y="37"/>
                      <a:pt x="314" y="36"/>
                      <a:pt x="314" y="39"/>
                    </a:cubicBezTo>
                    <a:cubicBezTo>
                      <a:pt x="316" y="40"/>
                      <a:pt x="319" y="37"/>
                      <a:pt x="319" y="37"/>
                    </a:cubicBezTo>
                    <a:cubicBezTo>
                      <a:pt x="322" y="36"/>
                      <a:pt x="322" y="39"/>
                      <a:pt x="325" y="39"/>
                    </a:cubicBezTo>
                    <a:cubicBezTo>
                      <a:pt x="326" y="38"/>
                      <a:pt x="327" y="37"/>
                      <a:pt x="329" y="37"/>
                    </a:cubicBezTo>
                    <a:cubicBezTo>
                      <a:pt x="330" y="36"/>
                      <a:pt x="332" y="37"/>
                      <a:pt x="334" y="37"/>
                    </a:cubicBezTo>
                    <a:cubicBezTo>
                      <a:pt x="341" y="35"/>
                      <a:pt x="349" y="32"/>
                      <a:pt x="355" y="35"/>
                    </a:cubicBezTo>
                    <a:cubicBezTo>
                      <a:pt x="353" y="39"/>
                      <a:pt x="345" y="36"/>
                      <a:pt x="343" y="40"/>
                    </a:cubicBezTo>
                    <a:cubicBezTo>
                      <a:pt x="344" y="44"/>
                      <a:pt x="347" y="40"/>
                      <a:pt x="347" y="40"/>
                    </a:cubicBezTo>
                    <a:cubicBezTo>
                      <a:pt x="351" y="41"/>
                      <a:pt x="351" y="43"/>
                      <a:pt x="356" y="40"/>
                    </a:cubicBezTo>
                    <a:cubicBezTo>
                      <a:pt x="358" y="40"/>
                      <a:pt x="359" y="39"/>
                      <a:pt x="360" y="39"/>
                    </a:cubicBezTo>
                    <a:cubicBezTo>
                      <a:pt x="361" y="38"/>
                      <a:pt x="369" y="35"/>
                      <a:pt x="370" y="35"/>
                    </a:cubicBezTo>
                    <a:cubicBezTo>
                      <a:pt x="373" y="40"/>
                      <a:pt x="368" y="33"/>
                      <a:pt x="371" y="33"/>
                    </a:cubicBezTo>
                    <a:cubicBezTo>
                      <a:pt x="372" y="33"/>
                      <a:pt x="377" y="33"/>
                      <a:pt x="377" y="33"/>
                    </a:cubicBezTo>
                    <a:cubicBezTo>
                      <a:pt x="378" y="32"/>
                      <a:pt x="381" y="30"/>
                      <a:pt x="386" y="31"/>
                    </a:cubicBezTo>
                    <a:cubicBezTo>
                      <a:pt x="386" y="34"/>
                      <a:pt x="387" y="36"/>
                      <a:pt x="384" y="37"/>
                    </a:cubicBezTo>
                    <a:cubicBezTo>
                      <a:pt x="384" y="38"/>
                      <a:pt x="382" y="39"/>
                      <a:pt x="381" y="40"/>
                    </a:cubicBezTo>
                    <a:cubicBezTo>
                      <a:pt x="379" y="43"/>
                      <a:pt x="378" y="47"/>
                      <a:pt x="373" y="46"/>
                    </a:cubicBezTo>
                    <a:cubicBezTo>
                      <a:pt x="374" y="52"/>
                      <a:pt x="377" y="44"/>
                      <a:pt x="381" y="46"/>
                    </a:cubicBezTo>
                    <a:cubicBezTo>
                      <a:pt x="383" y="47"/>
                      <a:pt x="382" y="43"/>
                      <a:pt x="383" y="42"/>
                    </a:cubicBezTo>
                    <a:cubicBezTo>
                      <a:pt x="385" y="41"/>
                      <a:pt x="392" y="43"/>
                      <a:pt x="392" y="39"/>
                    </a:cubicBezTo>
                    <a:cubicBezTo>
                      <a:pt x="396" y="45"/>
                      <a:pt x="408" y="36"/>
                      <a:pt x="411" y="40"/>
                    </a:cubicBezTo>
                    <a:cubicBezTo>
                      <a:pt x="412" y="39"/>
                      <a:pt x="414" y="37"/>
                      <a:pt x="416" y="35"/>
                    </a:cubicBezTo>
                    <a:cubicBezTo>
                      <a:pt x="422" y="37"/>
                      <a:pt x="426" y="33"/>
                      <a:pt x="431" y="33"/>
                    </a:cubicBezTo>
                    <a:cubicBezTo>
                      <a:pt x="430" y="33"/>
                      <a:pt x="432" y="35"/>
                      <a:pt x="433" y="35"/>
                    </a:cubicBezTo>
                    <a:cubicBezTo>
                      <a:pt x="434" y="35"/>
                      <a:pt x="441" y="34"/>
                      <a:pt x="442" y="35"/>
                    </a:cubicBezTo>
                    <a:cubicBezTo>
                      <a:pt x="444" y="37"/>
                      <a:pt x="443" y="34"/>
                      <a:pt x="446" y="35"/>
                    </a:cubicBezTo>
                    <a:cubicBezTo>
                      <a:pt x="449" y="36"/>
                      <a:pt x="453" y="39"/>
                      <a:pt x="457" y="39"/>
                    </a:cubicBezTo>
                    <a:cubicBezTo>
                      <a:pt x="458" y="42"/>
                      <a:pt x="455" y="41"/>
                      <a:pt x="453" y="42"/>
                    </a:cubicBezTo>
                    <a:cubicBezTo>
                      <a:pt x="452" y="43"/>
                      <a:pt x="451" y="45"/>
                      <a:pt x="450" y="46"/>
                    </a:cubicBezTo>
                    <a:cubicBezTo>
                      <a:pt x="445" y="48"/>
                      <a:pt x="437" y="47"/>
                      <a:pt x="437" y="53"/>
                    </a:cubicBezTo>
                    <a:cubicBezTo>
                      <a:pt x="432" y="53"/>
                      <a:pt x="426" y="53"/>
                      <a:pt x="424" y="55"/>
                    </a:cubicBezTo>
                    <a:cubicBezTo>
                      <a:pt x="426" y="58"/>
                      <a:pt x="430" y="59"/>
                      <a:pt x="422" y="59"/>
                    </a:cubicBezTo>
                    <a:cubicBezTo>
                      <a:pt x="422" y="61"/>
                      <a:pt x="425" y="61"/>
                      <a:pt x="427" y="61"/>
                    </a:cubicBezTo>
                    <a:cubicBezTo>
                      <a:pt x="424" y="66"/>
                      <a:pt x="415" y="65"/>
                      <a:pt x="414" y="72"/>
                    </a:cubicBezTo>
                    <a:cubicBezTo>
                      <a:pt x="411" y="72"/>
                      <a:pt x="415" y="69"/>
                      <a:pt x="414" y="68"/>
                    </a:cubicBezTo>
                    <a:cubicBezTo>
                      <a:pt x="413" y="68"/>
                      <a:pt x="408" y="71"/>
                      <a:pt x="405" y="72"/>
                    </a:cubicBezTo>
                    <a:cubicBezTo>
                      <a:pt x="405" y="74"/>
                      <a:pt x="407" y="73"/>
                      <a:pt x="409" y="74"/>
                    </a:cubicBezTo>
                    <a:cubicBezTo>
                      <a:pt x="404" y="78"/>
                      <a:pt x="407" y="77"/>
                      <a:pt x="405" y="83"/>
                    </a:cubicBezTo>
                    <a:cubicBezTo>
                      <a:pt x="405" y="85"/>
                      <a:pt x="398" y="86"/>
                      <a:pt x="397" y="87"/>
                    </a:cubicBezTo>
                    <a:cubicBezTo>
                      <a:pt x="397" y="88"/>
                      <a:pt x="398" y="92"/>
                      <a:pt x="397" y="93"/>
                    </a:cubicBezTo>
                    <a:cubicBezTo>
                      <a:pt x="396" y="94"/>
                      <a:pt x="392" y="93"/>
                      <a:pt x="390" y="94"/>
                    </a:cubicBezTo>
                    <a:cubicBezTo>
                      <a:pt x="391" y="97"/>
                      <a:pt x="393" y="97"/>
                      <a:pt x="394" y="100"/>
                    </a:cubicBezTo>
                    <a:cubicBezTo>
                      <a:pt x="395" y="104"/>
                      <a:pt x="399" y="102"/>
                      <a:pt x="401" y="104"/>
                    </a:cubicBezTo>
                    <a:cubicBezTo>
                      <a:pt x="402" y="104"/>
                      <a:pt x="401" y="107"/>
                      <a:pt x="401" y="107"/>
                    </a:cubicBezTo>
                    <a:cubicBezTo>
                      <a:pt x="403" y="109"/>
                      <a:pt x="406" y="108"/>
                      <a:pt x="407" y="109"/>
                    </a:cubicBezTo>
                    <a:cubicBezTo>
                      <a:pt x="407" y="113"/>
                      <a:pt x="409" y="113"/>
                      <a:pt x="409" y="117"/>
                    </a:cubicBezTo>
                    <a:cubicBezTo>
                      <a:pt x="403" y="119"/>
                      <a:pt x="397" y="117"/>
                      <a:pt x="390" y="121"/>
                    </a:cubicBezTo>
                    <a:cubicBezTo>
                      <a:pt x="395" y="125"/>
                      <a:pt x="399" y="131"/>
                      <a:pt x="409" y="130"/>
                    </a:cubicBezTo>
                    <a:cubicBezTo>
                      <a:pt x="408" y="133"/>
                      <a:pt x="410" y="133"/>
                      <a:pt x="412" y="134"/>
                    </a:cubicBezTo>
                    <a:cubicBezTo>
                      <a:pt x="413" y="138"/>
                      <a:pt x="409" y="136"/>
                      <a:pt x="409" y="139"/>
                    </a:cubicBezTo>
                    <a:cubicBezTo>
                      <a:pt x="409" y="141"/>
                      <a:pt x="406" y="143"/>
                      <a:pt x="403" y="143"/>
                    </a:cubicBezTo>
                    <a:cubicBezTo>
                      <a:pt x="401" y="150"/>
                      <a:pt x="410" y="146"/>
                      <a:pt x="409" y="152"/>
                    </a:cubicBezTo>
                    <a:cubicBezTo>
                      <a:pt x="405" y="152"/>
                      <a:pt x="405" y="154"/>
                      <a:pt x="407" y="154"/>
                    </a:cubicBezTo>
                    <a:cubicBezTo>
                      <a:pt x="405" y="160"/>
                      <a:pt x="401" y="153"/>
                      <a:pt x="397" y="154"/>
                    </a:cubicBezTo>
                    <a:cubicBezTo>
                      <a:pt x="394" y="154"/>
                      <a:pt x="396" y="160"/>
                      <a:pt x="392" y="160"/>
                    </a:cubicBezTo>
                    <a:cubicBezTo>
                      <a:pt x="392" y="163"/>
                      <a:pt x="393" y="164"/>
                      <a:pt x="396" y="165"/>
                    </a:cubicBezTo>
                    <a:cubicBezTo>
                      <a:pt x="395" y="168"/>
                      <a:pt x="391" y="166"/>
                      <a:pt x="388" y="167"/>
                    </a:cubicBezTo>
                    <a:cubicBezTo>
                      <a:pt x="383" y="168"/>
                      <a:pt x="378" y="172"/>
                      <a:pt x="373" y="173"/>
                    </a:cubicBezTo>
                    <a:cubicBezTo>
                      <a:pt x="373" y="175"/>
                      <a:pt x="377" y="174"/>
                      <a:pt x="379" y="175"/>
                    </a:cubicBezTo>
                    <a:cubicBezTo>
                      <a:pt x="381" y="176"/>
                      <a:pt x="382" y="182"/>
                      <a:pt x="386" y="180"/>
                    </a:cubicBezTo>
                    <a:cubicBezTo>
                      <a:pt x="388" y="184"/>
                      <a:pt x="383" y="184"/>
                      <a:pt x="383" y="186"/>
                    </a:cubicBezTo>
                    <a:cubicBezTo>
                      <a:pt x="382" y="188"/>
                      <a:pt x="385" y="194"/>
                      <a:pt x="381" y="195"/>
                    </a:cubicBezTo>
                    <a:cubicBezTo>
                      <a:pt x="383" y="202"/>
                      <a:pt x="396" y="200"/>
                      <a:pt x="397" y="208"/>
                    </a:cubicBezTo>
                    <a:cubicBezTo>
                      <a:pt x="395" y="208"/>
                      <a:pt x="390" y="209"/>
                      <a:pt x="390" y="206"/>
                    </a:cubicBezTo>
                    <a:cubicBezTo>
                      <a:pt x="388" y="207"/>
                      <a:pt x="389" y="208"/>
                      <a:pt x="390" y="208"/>
                    </a:cubicBezTo>
                    <a:cubicBezTo>
                      <a:pt x="385" y="214"/>
                      <a:pt x="382" y="213"/>
                      <a:pt x="373" y="212"/>
                    </a:cubicBezTo>
                    <a:cubicBezTo>
                      <a:pt x="376" y="205"/>
                      <a:pt x="365" y="211"/>
                      <a:pt x="368" y="204"/>
                    </a:cubicBezTo>
                    <a:cubicBezTo>
                      <a:pt x="362" y="203"/>
                      <a:pt x="362" y="208"/>
                      <a:pt x="356" y="206"/>
                    </a:cubicBezTo>
                    <a:cubicBezTo>
                      <a:pt x="359" y="209"/>
                      <a:pt x="358" y="210"/>
                      <a:pt x="355" y="210"/>
                    </a:cubicBezTo>
                    <a:cubicBezTo>
                      <a:pt x="355" y="213"/>
                      <a:pt x="366" y="213"/>
                      <a:pt x="356" y="214"/>
                    </a:cubicBezTo>
                    <a:cubicBezTo>
                      <a:pt x="358" y="218"/>
                      <a:pt x="363" y="215"/>
                      <a:pt x="366" y="216"/>
                    </a:cubicBezTo>
                    <a:cubicBezTo>
                      <a:pt x="370" y="216"/>
                      <a:pt x="375" y="219"/>
                      <a:pt x="381" y="217"/>
                    </a:cubicBezTo>
                    <a:cubicBezTo>
                      <a:pt x="377" y="223"/>
                      <a:pt x="372" y="228"/>
                      <a:pt x="368" y="232"/>
                    </a:cubicBezTo>
                    <a:cubicBezTo>
                      <a:pt x="363" y="231"/>
                      <a:pt x="360" y="233"/>
                      <a:pt x="356" y="234"/>
                    </a:cubicBezTo>
                    <a:cubicBezTo>
                      <a:pt x="356" y="234"/>
                      <a:pt x="353" y="234"/>
                      <a:pt x="353" y="234"/>
                    </a:cubicBezTo>
                    <a:cubicBezTo>
                      <a:pt x="351" y="236"/>
                      <a:pt x="352" y="234"/>
                      <a:pt x="349" y="234"/>
                    </a:cubicBezTo>
                    <a:cubicBezTo>
                      <a:pt x="344" y="234"/>
                      <a:pt x="339" y="238"/>
                      <a:pt x="332" y="238"/>
                    </a:cubicBezTo>
                    <a:cubicBezTo>
                      <a:pt x="329" y="238"/>
                      <a:pt x="332" y="240"/>
                      <a:pt x="332" y="240"/>
                    </a:cubicBezTo>
                    <a:cubicBezTo>
                      <a:pt x="330" y="244"/>
                      <a:pt x="329" y="241"/>
                      <a:pt x="323" y="242"/>
                    </a:cubicBezTo>
                    <a:cubicBezTo>
                      <a:pt x="323" y="243"/>
                      <a:pt x="325" y="243"/>
                      <a:pt x="327" y="244"/>
                    </a:cubicBezTo>
                    <a:cubicBezTo>
                      <a:pt x="327" y="246"/>
                      <a:pt x="313" y="248"/>
                      <a:pt x="315" y="242"/>
                    </a:cubicBezTo>
                    <a:cubicBezTo>
                      <a:pt x="314" y="243"/>
                      <a:pt x="309" y="242"/>
                      <a:pt x="308" y="244"/>
                    </a:cubicBezTo>
                    <a:cubicBezTo>
                      <a:pt x="307" y="245"/>
                      <a:pt x="309" y="249"/>
                      <a:pt x="308" y="251"/>
                    </a:cubicBezTo>
                    <a:cubicBezTo>
                      <a:pt x="308" y="251"/>
                      <a:pt x="303" y="249"/>
                      <a:pt x="302" y="251"/>
                    </a:cubicBezTo>
                    <a:cubicBezTo>
                      <a:pt x="302" y="252"/>
                      <a:pt x="305" y="254"/>
                      <a:pt x="304" y="257"/>
                    </a:cubicBezTo>
                    <a:cubicBezTo>
                      <a:pt x="302" y="259"/>
                      <a:pt x="301" y="257"/>
                      <a:pt x="299" y="257"/>
                    </a:cubicBezTo>
                    <a:cubicBezTo>
                      <a:pt x="299" y="258"/>
                      <a:pt x="299" y="260"/>
                      <a:pt x="299" y="262"/>
                    </a:cubicBezTo>
                    <a:cubicBezTo>
                      <a:pt x="298" y="262"/>
                      <a:pt x="296" y="262"/>
                      <a:pt x="295" y="262"/>
                    </a:cubicBezTo>
                    <a:cubicBezTo>
                      <a:pt x="293" y="263"/>
                      <a:pt x="295" y="265"/>
                      <a:pt x="293" y="266"/>
                    </a:cubicBezTo>
                    <a:cubicBezTo>
                      <a:pt x="290" y="267"/>
                      <a:pt x="282" y="265"/>
                      <a:pt x="284" y="271"/>
                    </a:cubicBezTo>
                    <a:cubicBezTo>
                      <a:pt x="276" y="273"/>
                      <a:pt x="267" y="274"/>
                      <a:pt x="258" y="273"/>
                    </a:cubicBezTo>
                    <a:cubicBezTo>
                      <a:pt x="254" y="276"/>
                      <a:pt x="252" y="285"/>
                      <a:pt x="247" y="281"/>
                    </a:cubicBezTo>
                    <a:cubicBezTo>
                      <a:pt x="247" y="282"/>
                      <a:pt x="249" y="284"/>
                      <a:pt x="248" y="286"/>
                    </a:cubicBezTo>
                    <a:cubicBezTo>
                      <a:pt x="248" y="287"/>
                      <a:pt x="245" y="286"/>
                      <a:pt x="245" y="286"/>
                    </a:cubicBezTo>
                    <a:cubicBezTo>
                      <a:pt x="244" y="287"/>
                      <a:pt x="247" y="289"/>
                      <a:pt x="247" y="290"/>
                    </a:cubicBezTo>
                    <a:cubicBezTo>
                      <a:pt x="247" y="290"/>
                      <a:pt x="245" y="291"/>
                      <a:pt x="245" y="292"/>
                    </a:cubicBezTo>
                    <a:cubicBezTo>
                      <a:pt x="245" y="294"/>
                      <a:pt x="239" y="298"/>
                      <a:pt x="243" y="299"/>
                    </a:cubicBezTo>
                    <a:cubicBezTo>
                      <a:pt x="243" y="302"/>
                      <a:pt x="240" y="300"/>
                      <a:pt x="239" y="301"/>
                    </a:cubicBezTo>
                    <a:cubicBezTo>
                      <a:pt x="238" y="302"/>
                      <a:pt x="236" y="304"/>
                      <a:pt x="235" y="305"/>
                    </a:cubicBezTo>
                    <a:cubicBezTo>
                      <a:pt x="235" y="306"/>
                      <a:pt x="236" y="308"/>
                      <a:pt x="235" y="309"/>
                    </a:cubicBezTo>
                    <a:cubicBezTo>
                      <a:pt x="233" y="311"/>
                      <a:pt x="235" y="313"/>
                      <a:pt x="233" y="316"/>
                    </a:cubicBezTo>
                    <a:cubicBezTo>
                      <a:pt x="233" y="317"/>
                      <a:pt x="230" y="316"/>
                      <a:pt x="230" y="316"/>
                    </a:cubicBezTo>
                    <a:cubicBezTo>
                      <a:pt x="230" y="317"/>
                      <a:pt x="231" y="319"/>
                      <a:pt x="232" y="320"/>
                    </a:cubicBezTo>
                    <a:cubicBezTo>
                      <a:pt x="232" y="323"/>
                      <a:pt x="230" y="323"/>
                      <a:pt x="230" y="326"/>
                    </a:cubicBezTo>
                    <a:cubicBezTo>
                      <a:pt x="230" y="327"/>
                      <a:pt x="231" y="330"/>
                      <a:pt x="232" y="329"/>
                    </a:cubicBezTo>
                    <a:cubicBezTo>
                      <a:pt x="229" y="336"/>
                      <a:pt x="226" y="338"/>
                      <a:pt x="220" y="342"/>
                    </a:cubicBezTo>
                    <a:cubicBezTo>
                      <a:pt x="214" y="342"/>
                      <a:pt x="211" y="338"/>
                      <a:pt x="207" y="335"/>
                    </a:cubicBezTo>
                    <a:cubicBezTo>
                      <a:pt x="202" y="342"/>
                      <a:pt x="191" y="331"/>
                      <a:pt x="192" y="331"/>
                    </a:cubicBezTo>
                    <a:cubicBezTo>
                      <a:pt x="191" y="331"/>
                      <a:pt x="190" y="335"/>
                      <a:pt x="191" y="335"/>
                    </a:cubicBezTo>
                    <a:cubicBezTo>
                      <a:pt x="188" y="334"/>
                      <a:pt x="188" y="331"/>
                      <a:pt x="187" y="329"/>
                    </a:cubicBezTo>
                    <a:cubicBezTo>
                      <a:pt x="185" y="327"/>
                      <a:pt x="180" y="327"/>
                      <a:pt x="181" y="322"/>
                    </a:cubicBezTo>
                    <a:cubicBezTo>
                      <a:pt x="179" y="319"/>
                      <a:pt x="176" y="318"/>
                      <a:pt x="174" y="316"/>
                    </a:cubicBezTo>
                    <a:cubicBezTo>
                      <a:pt x="174" y="314"/>
                      <a:pt x="176" y="315"/>
                      <a:pt x="178" y="314"/>
                    </a:cubicBezTo>
                    <a:cubicBezTo>
                      <a:pt x="177" y="310"/>
                      <a:pt x="173" y="312"/>
                      <a:pt x="170" y="309"/>
                    </a:cubicBezTo>
                    <a:cubicBezTo>
                      <a:pt x="169" y="307"/>
                      <a:pt x="169" y="304"/>
                      <a:pt x="166" y="303"/>
                    </a:cubicBezTo>
                    <a:cubicBezTo>
                      <a:pt x="163" y="307"/>
                      <a:pt x="166" y="300"/>
                      <a:pt x="166" y="301"/>
                    </a:cubicBezTo>
                    <a:cubicBezTo>
                      <a:pt x="166" y="299"/>
                      <a:pt x="164" y="301"/>
                      <a:pt x="163" y="299"/>
                    </a:cubicBezTo>
                    <a:cubicBezTo>
                      <a:pt x="161" y="297"/>
                      <a:pt x="164" y="294"/>
                      <a:pt x="161" y="294"/>
                    </a:cubicBezTo>
                    <a:cubicBezTo>
                      <a:pt x="157" y="294"/>
                      <a:pt x="160" y="286"/>
                      <a:pt x="157" y="290"/>
                    </a:cubicBezTo>
                    <a:cubicBezTo>
                      <a:pt x="155" y="289"/>
                      <a:pt x="155" y="286"/>
                      <a:pt x="151" y="286"/>
                    </a:cubicBezTo>
                    <a:cubicBezTo>
                      <a:pt x="152" y="284"/>
                      <a:pt x="155" y="283"/>
                      <a:pt x="155" y="281"/>
                    </a:cubicBezTo>
                    <a:cubicBezTo>
                      <a:pt x="155" y="278"/>
                      <a:pt x="151" y="279"/>
                      <a:pt x="148" y="279"/>
                    </a:cubicBezTo>
                    <a:cubicBezTo>
                      <a:pt x="146" y="272"/>
                      <a:pt x="147" y="269"/>
                      <a:pt x="150" y="262"/>
                    </a:cubicBezTo>
                    <a:cubicBezTo>
                      <a:pt x="145" y="259"/>
                      <a:pt x="153" y="256"/>
                      <a:pt x="146" y="257"/>
                    </a:cubicBezTo>
                    <a:cubicBezTo>
                      <a:pt x="145" y="254"/>
                      <a:pt x="149" y="256"/>
                      <a:pt x="150" y="255"/>
                    </a:cubicBezTo>
                    <a:cubicBezTo>
                      <a:pt x="150" y="254"/>
                      <a:pt x="149" y="251"/>
                      <a:pt x="150" y="251"/>
                    </a:cubicBezTo>
                    <a:cubicBezTo>
                      <a:pt x="151" y="251"/>
                      <a:pt x="152" y="253"/>
                      <a:pt x="153" y="253"/>
                    </a:cubicBezTo>
                    <a:cubicBezTo>
                      <a:pt x="153" y="249"/>
                      <a:pt x="153" y="245"/>
                      <a:pt x="153" y="242"/>
                    </a:cubicBezTo>
                    <a:cubicBezTo>
                      <a:pt x="156" y="242"/>
                      <a:pt x="158" y="240"/>
                      <a:pt x="159" y="238"/>
                    </a:cubicBezTo>
                    <a:cubicBezTo>
                      <a:pt x="161" y="238"/>
                      <a:pt x="160" y="240"/>
                      <a:pt x="161" y="242"/>
                    </a:cubicBezTo>
                    <a:cubicBezTo>
                      <a:pt x="163" y="240"/>
                      <a:pt x="163" y="237"/>
                      <a:pt x="166" y="238"/>
                    </a:cubicBezTo>
                    <a:cubicBezTo>
                      <a:pt x="168" y="236"/>
                      <a:pt x="164" y="235"/>
                      <a:pt x="164" y="234"/>
                    </a:cubicBezTo>
                    <a:cubicBezTo>
                      <a:pt x="165" y="232"/>
                      <a:pt x="170" y="232"/>
                      <a:pt x="170" y="230"/>
                    </a:cubicBezTo>
                    <a:cubicBezTo>
                      <a:pt x="171" y="227"/>
                      <a:pt x="164" y="226"/>
                      <a:pt x="168" y="221"/>
                    </a:cubicBezTo>
                    <a:cubicBezTo>
                      <a:pt x="160" y="226"/>
                      <a:pt x="172" y="217"/>
                      <a:pt x="159" y="219"/>
                    </a:cubicBezTo>
                    <a:cubicBezTo>
                      <a:pt x="158" y="213"/>
                      <a:pt x="164" y="214"/>
                      <a:pt x="170" y="214"/>
                    </a:cubicBezTo>
                    <a:cubicBezTo>
                      <a:pt x="170" y="212"/>
                      <a:pt x="166" y="212"/>
                      <a:pt x="166" y="210"/>
                    </a:cubicBezTo>
                    <a:cubicBezTo>
                      <a:pt x="167" y="208"/>
                      <a:pt x="164" y="209"/>
                      <a:pt x="163" y="208"/>
                    </a:cubicBezTo>
                    <a:cubicBezTo>
                      <a:pt x="162" y="208"/>
                      <a:pt x="163" y="205"/>
                      <a:pt x="163" y="204"/>
                    </a:cubicBezTo>
                    <a:cubicBezTo>
                      <a:pt x="162" y="204"/>
                      <a:pt x="158" y="201"/>
                      <a:pt x="157" y="201"/>
                    </a:cubicBezTo>
                    <a:cubicBezTo>
                      <a:pt x="156" y="201"/>
                      <a:pt x="154" y="196"/>
                      <a:pt x="151" y="193"/>
                    </a:cubicBezTo>
                    <a:cubicBezTo>
                      <a:pt x="149" y="196"/>
                      <a:pt x="148" y="199"/>
                      <a:pt x="146" y="193"/>
                    </a:cubicBezTo>
                    <a:cubicBezTo>
                      <a:pt x="144" y="194"/>
                      <a:pt x="144" y="197"/>
                      <a:pt x="144" y="199"/>
                    </a:cubicBezTo>
                    <a:cubicBezTo>
                      <a:pt x="141" y="199"/>
                      <a:pt x="138" y="199"/>
                      <a:pt x="135" y="199"/>
                    </a:cubicBezTo>
                    <a:cubicBezTo>
                      <a:pt x="129" y="191"/>
                      <a:pt x="133" y="185"/>
                      <a:pt x="135" y="176"/>
                    </a:cubicBezTo>
                    <a:cubicBezTo>
                      <a:pt x="134" y="175"/>
                      <a:pt x="133" y="173"/>
                      <a:pt x="133" y="171"/>
                    </a:cubicBezTo>
                    <a:cubicBezTo>
                      <a:pt x="131" y="171"/>
                      <a:pt x="131" y="173"/>
                      <a:pt x="131" y="175"/>
                    </a:cubicBezTo>
                    <a:cubicBezTo>
                      <a:pt x="126" y="175"/>
                      <a:pt x="133" y="164"/>
                      <a:pt x="125" y="167"/>
                    </a:cubicBezTo>
                    <a:cubicBezTo>
                      <a:pt x="128" y="164"/>
                      <a:pt x="128" y="162"/>
                      <a:pt x="125" y="160"/>
                    </a:cubicBezTo>
                    <a:cubicBezTo>
                      <a:pt x="125" y="157"/>
                      <a:pt x="122" y="158"/>
                      <a:pt x="120" y="158"/>
                    </a:cubicBezTo>
                    <a:cubicBezTo>
                      <a:pt x="118" y="155"/>
                      <a:pt x="119" y="151"/>
                      <a:pt x="118" y="148"/>
                    </a:cubicBezTo>
                    <a:cubicBezTo>
                      <a:pt x="117" y="146"/>
                      <a:pt x="112" y="146"/>
                      <a:pt x="114" y="141"/>
                    </a:cubicBezTo>
                    <a:cubicBezTo>
                      <a:pt x="111" y="142"/>
                      <a:pt x="110" y="140"/>
                      <a:pt x="109" y="139"/>
                    </a:cubicBezTo>
                    <a:cubicBezTo>
                      <a:pt x="108" y="139"/>
                      <a:pt x="105" y="140"/>
                      <a:pt x="105" y="139"/>
                    </a:cubicBezTo>
                    <a:cubicBezTo>
                      <a:pt x="103" y="136"/>
                      <a:pt x="88" y="138"/>
                      <a:pt x="84" y="132"/>
                    </a:cubicBezTo>
                    <a:cubicBezTo>
                      <a:pt x="77" y="135"/>
                      <a:pt x="62" y="127"/>
                      <a:pt x="58" y="132"/>
                    </a:cubicBezTo>
                    <a:cubicBezTo>
                      <a:pt x="56" y="135"/>
                      <a:pt x="56" y="131"/>
                      <a:pt x="53" y="132"/>
                    </a:cubicBezTo>
                    <a:cubicBezTo>
                      <a:pt x="48" y="132"/>
                      <a:pt x="44" y="135"/>
                      <a:pt x="40" y="135"/>
                    </a:cubicBezTo>
                    <a:cubicBezTo>
                      <a:pt x="40" y="135"/>
                      <a:pt x="39" y="134"/>
                      <a:pt x="38" y="134"/>
                    </a:cubicBezTo>
                    <a:cubicBezTo>
                      <a:pt x="36" y="133"/>
                      <a:pt x="34" y="134"/>
                      <a:pt x="32" y="134"/>
                    </a:cubicBezTo>
                    <a:cubicBezTo>
                      <a:pt x="32" y="130"/>
                      <a:pt x="31" y="129"/>
                      <a:pt x="28" y="128"/>
                    </a:cubicBezTo>
                    <a:cubicBezTo>
                      <a:pt x="28" y="125"/>
                      <a:pt x="33" y="127"/>
                      <a:pt x="34" y="126"/>
                    </a:cubicBezTo>
                    <a:cubicBezTo>
                      <a:pt x="35" y="125"/>
                      <a:pt x="29" y="121"/>
                      <a:pt x="38" y="122"/>
                    </a:cubicBezTo>
                    <a:cubicBezTo>
                      <a:pt x="35" y="117"/>
                      <a:pt x="21" y="123"/>
                      <a:pt x="17" y="119"/>
                    </a:cubicBezTo>
                    <a:cubicBezTo>
                      <a:pt x="21" y="109"/>
                      <a:pt x="33" y="119"/>
                      <a:pt x="40" y="111"/>
                    </a:cubicBezTo>
                    <a:cubicBezTo>
                      <a:pt x="36" y="107"/>
                      <a:pt x="24" y="110"/>
                      <a:pt x="19" y="111"/>
                    </a:cubicBezTo>
                    <a:cubicBezTo>
                      <a:pt x="17" y="109"/>
                      <a:pt x="18" y="108"/>
                      <a:pt x="19" y="106"/>
                    </a:cubicBezTo>
                    <a:cubicBezTo>
                      <a:pt x="18" y="105"/>
                      <a:pt x="17" y="106"/>
                      <a:pt x="17" y="107"/>
                    </a:cubicBezTo>
                    <a:cubicBezTo>
                      <a:pt x="15" y="107"/>
                      <a:pt x="16" y="105"/>
                      <a:pt x="15" y="104"/>
                    </a:cubicBezTo>
                    <a:cubicBezTo>
                      <a:pt x="8" y="105"/>
                      <a:pt x="5" y="102"/>
                      <a:pt x="0" y="100"/>
                    </a:cubicBezTo>
                    <a:cubicBezTo>
                      <a:pt x="4" y="88"/>
                      <a:pt x="19" y="91"/>
                      <a:pt x="28" y="89"/>
                    </a:cubicBezTo>
                    <a:cubicBezTo>
                      <a:pt x="31" y="88"/>
                      <a:pt x="30" y="89"/>
                      <a:pt x="32" y="87"/>
                    </a:cubicBezTo>
                    <a:cubicBezTo>
                      <a:pt x="32" y="87"/>
                      <a:pt x="35" y="85"/>
                      <a:pt x="34" y="85"/>
                    </a:cubicBezTo>
                    <a:cubicBezTo>
                      <a:pt x="39" y="83"/>
                      <a:pt x="46" y="85"/>
                      <a:pt x="49" y="83"/>
                    </a:cubicBezTo>
                    <a:cubicBezTo>
                      <a:pt x="51" y="82"/>
                      <a:pt x="49" y="81"/>
                      <a:pt x="51" y="80"/>
                    </a:cubicBezTo>
                    <a:cubicBezTo>
                      <a:pt x="52" y="78"/>
                      <a:pt x="55" y="79"/>
                      <a:pt x="56" y="78"/>
                    </a:cubicBezTo>
                    <a:cubicBezTo>
                      <a:pt x="58" y="76"/>
                      <a:pt x="59" y="74"/>
                      <a:pt x="62" y="72"/>
                    </a:cubicBezTo>
                    <a:cubicBezTo>
                      <a:pt x="64" y="66"/>
                      <a:pt x="56" y="71"/>
                      <a:pt x="58" y="65"/>
                    </a:cubicBezTo>
                    <a:cubicBezTo>
                      <a:pt x="55" y="62"/>
                      <a:pt x="55" y="68"/>
                      <a:pt x="55" y="68"/>
                    </a:cubicBezTo>
                    <a:cubicBezTo>
                      <a:pt x="53" y="69"/>
                      <a:pt x="45" y="64"/>
                      <a:pt x="40" y="66"/>
                    </a:cubicBezTo>
                    <a:cubicBezTo>
                      <a:pt x="37" y="61"/>
                      <a:pt x="44" y="64"/>
                      <a:pt x="45" y="63"/>
                    </a:cubicBezTo>
                    <a:cubicBezTo>
                      <a:pt x="45" y="62"/>
                      <a:pt x="45" y="61"/>
                      <a:pt x="45" y="61"/>
                    </a:cubicBezTo>
                    <a:cubicBezTo>
                      <a:pt x="46" y="60"/>
                      <a:pt x="48" y="61"/>
                      <a:pt x="49" y="61"/>
                    </a:cubicBezTo>
                    <a:cubicBezTo>
                      <a:pt x="49" y="60"/>
                      <a:pt x="50" y="57"/>
                      <a:pt x="51" y="57"/>
                    </a:cubicBezTo>
                    <a:cubicBezTo>
                      <a:pt x="53" y="56"/>
                      <a:pt x="52" y="59"/>
                      <a:pt x="53" y="59"/>
                    </a:cubicBezTo>
                    <a:cubicBezTo>
                      <a:pt x="53" y="59"/>
                      <a:pt x="59" y="58"/>
                      <a:pt x="58" y="53"/>
                    </a:cubicBezTo>
                    <a:cubicBezTo>
                      <a:pt x="62" y="53"/>
                      <a:pt x="62" y="56"/>
                      <a:pt x="66" y="55"/>
                    </a:cubicBezTo>
                    <a:cubicBezTo>
                      <a:pt x="69" y="55"/>
                      <a:pt x="66" y="53"/>
                      <a:pt x="66" y="53"/>
                    </a:cubicBezTo>
                    <a:cubicBezTo>
                      <a:pt x="66" y="51"/>
                      <a:pt x="70" y="52"/>
                      <a:pt x="69" y="48"/>
                    </a:cubicBezTo>
                    <a:cubicBezTo>
                      <a:pt x="74" y="48"/>
                      <a:pt x="78" y="48"/>
                      <a:pt x="83" y="48"/>
                    </a:cubicBezTo>
                    <a:cubicBezTo>
                      <a:pt x="87" y="48"/>
                      <a:pt x="83" y="40"/>
                      <a:pt x="84" y="37"/>
                    </a:cubicBezTo>
                    <a:cubicBezTo>
                      <a:pt x="91" y="38"/>
                      <a:pt x="97" y="40"/>
                      <a:pt x="103" y="37"/>
                    </a:cubicBezTo>
                    <a:cubicBezTo>
                      <a:pt x="103" y="35"/>
                      <a:pt x="101" y="35"/>
                      <a:pt x="99" y="35"/>
                    </a:cubicBezTo>
                    <a:cubicBezTo>
                      <a:pt x="101" y="32"/>
                      <a:pt x="107" y="33"/>
                      <a:pt x="110" y="31"/>
                    </a:cubicBezTo>
                    <a:cubicBezTo>
                      <a:pt x="115" y="28"/>
                      <a:pt x="129" y="30"/>
                      <a:pt x="140" y="29"/>
                    </a:cubicBezTo>
                    <a:cubicBezTo>
                      <a:pt x="143" y="29"/>
                      <a:pt x="144" y="27"/>
                      <a:pt x="146" y="27"/>
                    </a:cubicBezTo>
                    <a:cubicBezTo>
                      <a:pt x="151" y="27"/>
                      <a:pt x="155" y="29"/>
                      <a:pt x="159" y="27"/>
                    </a:cubicBezTo>
                    <a:cubicBezTo>
                      <a:pt x="158" y="29"/>
                      <a:pt x="160" y="34"/>
                      <a:pt x="161" y="33"/>
                    </a:cubicBezTo>
                    <a:cubicBezTo>
                      <a:pt x="163" y="30"/>
                      <a:pt x="161" y="32"/>
                      <a:pt x="166" y="37"/>
                    </a:cubicBezTo>
                    <a:cubicBezTo>
                      <a:pt x="170" y="36"/>
                      <a:pt x="163" y="31"/>
                      <a:pt x="172" y="33"/>
                    </a:cubicBezTo>
                    <a:cubicBezTo>
                      <a:pt x="169" y="30"/>
                      <a:pt x="175" y="26"/>
                      <a:pt x="166" y="25"/>
                    </a:cubicBezTo>
                    <a:cubicBezTo>
                      <a:pt x="167" y="22"/>
                      <a:pt x="181" y="16"/>
                      <a:pt x="181" y="24"/>
                    </a:cubicBezTo>
                    <a:cubicBezTo>
                      <a:pt x="187" y="24"/>
                      <a:pt x="186" y="21"/>
                      <a:pt x="191" y="24"/>
                    </a:cubicBezTo>
                    <a:cubicBezTo>
                      <a:pt x="193" y="25"/>
                      <a:pt x="194" y="26"/>
                      <a:pt x="196" y="27"/>
                    </a:cubicBezTo>
                    <a:cubicBezTo>
                      <a:pt x="198" y="29"/>
                      <a:pt x="204" y="29"/>
                      <a:pt x="211" y="31"/>
                    </a:cubicBezTo>
                    <a:cubicBezTo>
                      <a:pt x="211" y="29"/>
                      <a:pt x="209" y="30"/>
                      <a:pt x="207" y="29"/>
                    </a:cubicBezTo>
                    <a:cubicBezTo>
                      <a:pt x="208" y="27"/>
                      <a:pt x="210" y="25"/>
                      <a:pt x="213" y="25"/>
                    </a:cubicBezTo>
                    <a:cubicBezTo>
                      <a:pt x="210" y="21"/>
                      <a:pt x="202" y="21"/>
                      <a:pt x="196" y="20"/>
                    </a:cubicBezTo>
                    <a:cubicBezTo>
                      <a:pt x="196" y="15"/>
                      <a:pt x="204" y="16"/>
                      <a:pt x="209" y="16"/>
                    </a:cubicBezTo>
                    <a:cubicBezTo>
                      <a:pt x="210" y="12"/>
                      <a:pt x="207" y="13"/>
                      <a:pt x="204" y="12"/>
                    </a:cubicBezTo>
                    <a:cubicBezTo>
                      <a:pt x="208" y="5"/>
                      <a:pt x="215" y="12"/>
                      <a:pt x="220" y="12"/>
                    </a:cubicBezTo>
                    <a:cubicBezTo>
                      <a:pt x="224" y="13"/>
                      <a:pt x="224" y="10"/>
                      <a:pt x="228" y="11"/>
                    </a:cubicBezTo>
                    <a:cubicBezTo>
                      <a:pt x="237" y="11"/>
                      <a:pt x="243" y="15"/>
                      <a:pt x="250" y="11"/>
                    </a:cubicBezTo>
                    <a:cubicBezTo>
                      <a:pt x="253" y="9"/>
                      <a:pt x="257" y="10"/>
                      <a:pt x="261" y="9"/>
                    </a:cubicBezTo>
                    <a:cubicBezTo>
                      <a:pt x="264" y="8"/>
                      <a:pt x="263" y="5"/>
                      <a:pt x="263" y="3"/>
                    </a:cubicBezTo>
                    <a:cubicBezTo>
                      <a:pt x="266" y="3"/>
                      <a:pt x="270" y="4"/>
                      <a:pt x="273" y="3"/>
                    </a:cubicBezTo>
                    <a:cubicBezTo>
                      <a:pt x="275" y="3"/>
                      <a:pt x="276" y="1"/>
                      <a:pt x="278" y="1"/>
                    </a:cubicBezTo>
                    <a:cubicBezTo>
                      <a:pt x="282" y="1"/>
                      <a:pt x="287" y="4"/>
                      <a:pt x="295" y="3"/>
                    </a:cubicBezTo>
                    <a:cubicBezTo>
                      <a:pt x="300" y="2"/>
                      <a:pt x="312" y="0"/>
                      <a:pt x="323" y="1"/>
                    </a:cubicBezTo>
                    <a:cubicBezTo>
                      <a:pt x="326" y="1"/>
                      <a:pt x="326" y="3"/>
                      <a:pt x="329" y="3"/>
                    </a:cubicBezTo>
                    <a:cubicBezTo>
                      <a:pt x="339" y="5"/>
                      <a:pt x="349" y="1"/>
                      <a:pt x="349" y="11"/>
                    </a:cubicBezTo>
                    <a:cubicBezTo>
                      <a:pt x="354" y="12"/>
                      <a:pt x="354" y="8"/>
                      <a:pt x="358" y="9"/>
                    </a:cubicBezTo>
                    <a:cubicBezTo>
                      <a:pt x="358" y="15"/>
                      <a:pt x="365" y="13"/>
                      <a:pt x="368" y="16"/>
                    </a:cubicBezTo>
                    <a:cubicBezTo>
                      <a:pt x="373" y="18"/>
                      <a:pt x="373" y="14"/>
                      <a:pt x="377" y="14"/>
                    </a:cubicBezTo>
                    <a:cubicBezTo>
                      <a:pt x="375" y="21"/>
                      <a:pt x="384" y="17"/>
                      <a:pt x="388" y="18"/>
                    </a:cubicBezTo>
                    <a:cubicBezTo>
                      <a:pt x="385" y="22"/>
                      <a:pt x="385" y="19"/>
                      <a:pt x="386" y="25"/>
                    </a:cubicBezTo>
                    <a:cubicBezTo>
                      <a:pt x="384" y="23"/>
                      <a:pt x="382" y="24"/>
                      <a:pt x="383" y="27"/>
                    </a:cubicBezTo>
                    <a:cubicBezTo>
                      <a:pt x="363" y="29"/>
                      <a:pt x="339" y="30"/>
                      <a:pt x="325" y="31"/>
                    </a:cubicBezTo>
                    <a:cubicBezTo>
                      <a:pt x="323" y="31"/>
                      <a:pt x="323" y="32"/>
                      <a:pt x="323" y="33"/>
                    </a:cubicBezTo>
                    <a:cubicBezTo>
                      <a:pt x="321" y="33"/>
                      <a:pt x="322" y="31"/>
                      <a:pt x="323" y="31"/>
                    </a:cubicBezTo>
                    <a:cubicBezTo>
                      <a:pt x="324" y="30"/>
                      <a:pt x="320" y="29"/>
                      <a:pt x="319" y="29"/>
                    </a:cubicBezTo>
                    <a:cubicBezTo>
                      <a:pt x="319" y="30"/>
                      <a:pt x="320" y="33"/>
                      <a:pt x="319" y="33"/>
                    </a:cubicBezTo>
                    <a:cubicBezTo>
                      <a:pt x="316" y="34"/>
                      <a:pt x="312" y="32"/>
                      <a:pt x="310" y="3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110" name="î$ľîḓe">
                <a:extLst>
                  <a:ext uri="{FF2B5EF4-FFF2-40B4-BE49-F238E27FC236}">
                    <a16:creationId xmlns:a16="http://schemas.microsoft.com/office/drawing/2014/main" id="{E09BB2B5-73A3-4A0A-98D3-3C3FEB53058E}"/>
                  </a:ext>
                </a:extLst>
              </p:cNvPr>
              <p:cNvSpPr/>
              <p:nvPr/>
            </p:nvSpPr>
            <p:spPr bwMode="auto">
              <a:xfrm>
                <a:off x="4224375" y="434497"/>
                <a:ext cx="466461" cy="253542"/>
              </a:xfrm>
              <a:custGeom>
                <a:avLst/>
                <a:gdLst>
                  <a:gd name="T0" fmla="*/ 209 w 224"/>
                  <a:gd name="T1" fmla="*/ 12 h 122"/>
                  <a:gd name="T2" fmla="*/ 222 w 224"/>
                  <a:gd name="T3" fmla="*/ 19 h 122"/>
                  <a:gd name="T4" fmla="*/ 217 w 224"/>
                  <a:gd name="T5" fmla="*/ 23 h 122"/>
                  <a:gd name="T6" fmla="*/ 207 w 224"/>
                  <a:gd name="T7" fmla="*/ 27 h 122"/>
                  <a:gd name="T8" fmla="*/ 181 w 224"/>
                  <a:gd name="T9" fmla="*/ 32 h 122"/>
                  <a:gd name="T10" fmla="*/ 193 w 224"/>
                  <a:gd name="T11" fmla="*/ 36 h 122"/>
                  <a:gd name="T12" fmla="*/ 170 w 224"/>
                  <a:gd name="T13" fmla="*/ 45 h 122"/>
                  <a:gd name="T14" fmla="*/ 163 w 224"/>
                  <a:gd name="T15" fmla="*/ 49 h 122"/>
                  <a:gd name="T16" fmla="*/ 152 w 224"/>
                  <a:gd name="T17" fmla="*/ 55 h 122"/>
                  <a:gd name="T18" fmla="*/ 133 w 224"/>
                  <a:gd name="T19" fmla="*/ 62 h 122"/>
                  <a:gd name="T20" fmla="*/ 127 w 224"/>
                  <a:gd name="T21" fmla="*/ 68 h 122"/>
                  <a:gd name="T22" fmla="*/ 114 w 224"/>
                  <a:gd name="T23" fmla="*/ 70 h 122"/>
                  <a:gd name="T24" fmla="*/ 122 w 224"/>
                  <a:gd name="T25" fmla="*/ 81 h 122"/>
                  <a:gd name="T26" fmla="*/ 109 w 224"/>
                  <a:gd name="T27" fmla="*/ 90 h 122"/>
                  <a:gd name="T28" fmla="*/ 99 w 224"/>
                  <a:gd name="T29" fmla="*/ 96 h 122"/>
                  <a:gd name="T30" fmla="*/ 83 w 224"/>
                  <a:gd name="T31" fmla="*/ 107 h 122"/>
                  <a:gd name="T32" fmla="*/ 88 w 224"/>
                  <a:gd name="T33" fmla="*/ 116 h 122"/>
                  <a:gd name="T34" fmla="*/ 73 w 224"/>
                  <a:gd name="T35" fmla="*/ 120 h 122"/>
                  <a:gd name="T36" fmla="*/ 45 w 224"/>
                  <a:gd name="T37" fmla="*/ 114 h 122"/>
                  <a:gd name="T38" fmla="*/ 36 w 224"/>
                  <a:gd name="T39" fmla="*/ 116 h 122"/>
                  <a:gd name="T40" fmla="*/ 23 w 224"/>
                  <a:gd name="T41" fmla="*/ 107 h 122"/>
                  <a:gd name="T42" fmla="*/ 36 w 224"/>
                  <a:gd name="T43" fmla="*/ 96 h 122"/>
                  <a:gd name="T44" fmla="*/ 51 w 224"/>
                  <a:gd name="T45" fmla="*/ 96 h 122"/>
                  <a:gd name="T46" fmla="*/ 25 w 224"/>
                  <a:gd name="T47" fmla="*/ 90 h 122"/>
                  <a:gd name="T48" fmla="*/ 40 w 224"/>
                  <a:gd name="T49" fmla="*/ 79 h 122"/>
                  <a:gd name="T50" fmla="*/ 53 w 224"/>
                  <a:gd name="T51" fmla="*/ 79 h 122"/>
                  <a:gd name="T52" fmla="*/ 53 w 224"/>
                  <a:gd name="T53" fmla="*/ 71 h 122"/>
                  <a:gd name="T54" fmla="*/ 49 w 224"/>
                  <a:gd name="T55" fmla="*/ 62 h 122"/>
                  <a:gd name="T56" fmla="*/ 40 w 224"/>
                  <a:gd name="T57" fmla="*/ 58 h 122"/>
                  <a:gd name="T58" fmla="*/ 60 w 224"/>
                  <a:gd name="T59" fmla="*/ 56 h 122"/>
                  <a:gd name="T60" fmla="*/ 68 w 224"/>
                  <a:gd name="T61" fmla="*/ 53 h 122"/>
                  <a:gd name="T62" fmla="*/ 83 w 224"/>
                  <a:gd name="T63" fmla="*/ 42 h 122"/>
                  <a:gd name="T64" fmla="*/ 51 w 224"/>
                  <a:gd name="T65" fmla="*/ 47 h 122"/>
                  <a:gd name="T66" fmla="*/ 29 w 224"/>
                  <a:gd name="T67" fmla="*/ 42 h 122"/>
                  <a:gd name="T68" fmla="*/ 6 w 224"/>
                  <a:gd name="T69" fmla="*/ 36 h 122"/>
                  <a:gd name="T70" fmla="*/ 2 w 224"/>
                  <a:gd name="T71" fmla="*/ 25 h 122"/>
                  <a:gd name="T72" fmla="*/ 40 w 224"/>
                  <a:gd name="T73" fmla="*/ 15 h 122"/>
                  <a:gd name="T74" fmla="*/ 66 w 224"/>
                  <a:gd name="T75" fmla="*/ 10 h 122"/>
                  <a:gd name="T76" fmla="*/ 97 w 224"/>
                  <a:gd name="T77" fmla="*/ 4 h 122"/>
                  <a:gd name="T78" fmla="*/ 129 w 224"/>
                  <a:gd name="T79" fmla="*/ 2 h 122"/>
                  <a:gd name="T80" fmla="*/ 146 w 224"/>
                  <a:gd name="T81" fmla="*/ 2 h 122"/>
                  <a:gd name="T82" fmla="*/ 178 w 224"/>
                  <a:gd name="T83" fmla="*/ 2 h 122"/>
                  <a:gd name="T84" fmla="*/ 209 w 224"/>
                  <a:gd name="T85" fmla="*/ 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24" h="122">
                    <a:moveTo>
                      <a:pt x="209" y="4"/>
                    </a:moveTo>
                    <a:cubicBezTo>
                      <a:pt x="206" y="8"/>
                      <a:pt x="209" y="7"/>
                      <a:pt x="209" y="12"/>
                    </a:cubicBezTo>
                    <a:cubicBezTo>
                      <a:pt x="214" y="12"/>
                      <a:pt x="219" y="12"/>
                      <a:pt x="224" y="12"/>
                    </a:cubicBezTo>
                    <a:cubicBezTo>
                      <a:pt x="224" y="15"/>
                      <a:pt x="222" y="16"/>
                      <a:pt x="222" y="19"/>
                    </a:cubicBezTo>
                    <a:cubicBezTo>
                      <a:pt x="221" y="20"/>
                      <a:pt x="218" y="18"/>
                      <a:pt x="217" y="19"/>
                    </a:cubicBezTo>
                    <a:cubicBezTo>
                      <a:pt x="216" y="20"/>
                      <a:pt x="217" y="23"/>
                      <a:pt x="217" y="23"/>
                    </a:cubicBezTo>
                    <a:cubicBezTo>
                      <a:pt x="214" y="24"/>
                      <a:pt x="210" y="25"/>
                      <a:pt x="209" y="23"/>
                    </a:cubicBezTo>
                    <a:cubicBezTo>
                      <a:pt x="207" y="22"/>
                      <a:pt x="208" y="26"/>
                      <a:pt x="207" y="27"/>
                    </a:cubicBezTo>
                    <a:cubicBezTo>
                      <a:pt x="205" y="28"/>
                      <a:pt x="200" y="25"/>
                      <a:pt x="200" y="29"/>
                    </a:cubicBezTo>
                    <a:cubicBezTo>
                      <a:pt x="194" y="28"/>
                      <a:pt x="185" y="26"/>
                      <a:pt x="181" y="32"/>
                    </a:cubicBezTo>
                    <a:cubicBezTo>
                      <a:pt x="183" y="37"/>
                      <a:pt x="191" y="32"/>
                      <a:pt x="193" y="30"/>
                    </a:cubicBezTo>
                    <a:cubicBezTo>
                      <a:pt x="195" y="31"/>
                      <a:pt x="192" y="33"/>
                      <a:pt x="193" y="36"/>
                    </a:cubicBezTo>
                    <a:cubicBezTo>
                      <a:pt x="186" y="36"/>
                      <a:pt x="182" y="39"/>
                      <a:pt x="176" y="40"/>
                    </a:cubicBezTo>
                    <a:cubicBezTo>
                      <a:pt x="173" y="41"/>
                      <a:pt x="171" y="43"/>
                      <a:pt x="170" y="45"/>
                    </a:cubicBezTo>
                    <a:cubicBezTo>
                      <a:pt x="169" y="46"/>
                      <a:pt x="166" y="45"/>
                      <a:pt x="165" y="45"/>
                    </a:cubicBezTo>
                    <a:cubicBezTo>
                      <a:pt x="163" y="46"/>
                      <a:pt x="164" y="48"/>
                      <a:pt x="163" y="49"/>
                    </a:cubicBezTo>
                    <a:cubicBezTo>
                      <a:pt x="161" y="50"/>
                      <a:pt x="157" y="47"/>
                      <a:pt x="157" y="51"/>
                    </a:cubicBezTo>
                    <a:cubicBezTo>
                      <a:pt x="157" y="54"/>
                      <a:pt x="152" y="52"/>
                      <a:pt x="152" y="55"/>
                    </a:cubicBezTo>
                    <a:cubicBezTo>
                      <a:pt x="151" y="59"/>
                      <a:pt x="146" y="56"/>
                      <a:pt x="144" y="58"/>
                    </a:cubicBezTo>
                    <a:cubicBezTo>
                      <a:pt x="142" y="61"/>
                      <a:pt x="137" y="60"/>
                      <a:pt x="133" y="62"/>
                    </a:cubicBezTo>
                    <a:cubicBezTo>
                      <a:pt x="132" y="62"/>
                      <a:pt x="133" y="64"/>
                      <a:pt x="131" y="64"/>
                    </a:cubicBezTo>
                    <a:cubicBezTo>
                      <a:pt x="126" y="64"/>
                      <a:pt x="129" y="66"/>
                      <a:pt x="127" y="68"/>
                    </a:cubicBezTo>
                    <a:cubicBezTo>
                      <a:pt x="127" y="68"/>
                      <a:pt x="126" y="68"/>
                      <a:pt x="125" y="68"/>
                    </a:cubicBezTo>
                    <a:cubicBezTo>
                      <a:pt x="124" y="68"/>
                      <a:pt x="120" y="71"/>
                      <a:pt x="114" y="70"/>
                    </a:cubicBezTo>
                    <a:cubicBezTo>
                      <a:pt x="115" y="72"/>
                      <a:pt x="122" y="73"/>
                      <a:pt x="114" y="73"/>
                    </a:cubicBezTo>
                    <a:cubicBezTo>
                      <a:pt x="115" y="77"/>
                      <a:pt x="124" y="74"/>
                      <a:pt x="122" y="81"/>
                    </a:cubicBezTo>
                    <a:cubicBezTo>
                      <a:pt x="118" y="77"/>
                      <a:pt x="118" y="81"/>
                      <a:pt x="118" y="86"/>
                    </a:cubicBezTo>
                    <a:cubicBezTo>
                      <a:pt x="114" y="81"/>
                      <a:pt x="112" y="88"/>
                      <a:pt x="109" y="90"/>
                    </a:cubicBezTo>
                    <a:cubicBezTo>
                      <a:pt x="105" y="92"/>
                      <a:pt x="100" y="90"/>
                      <a:pt x="97" y="94"/>
                    </a:cubicBezTo>
                    <a:cubicBezTo>
                      <a:pt x="96" y="96"/>
                      <a:pt x="99" y="95"/>
                      <a:pt x="99" y="96"/>
                    </a:cubicBezTo>
                    <a:cubicBezTo>
                      <a:pt x="100" y="97"/>
                      <a:pt x="93" y="99"/>
                      <a:pt x="97" y="99"/>
                    </a:cubicBezTo>
                    <a:cubicBezTo>
                      <a:pt x="95" y="105"/>
                      <a:pt x="85" y="101"/>
                      <a:pt x="83" y="107"/>
                    </a:cubicBezTo>
                    <a:cubicBezTo>
                      <a:pt x="86" y="110"/>
                      <a:pt x="91" y="111"/>
                      <a:pt x="97" y="111"/>
                    </a:cubicBezTo>
                    <a:cubicBezTo>
                      <a:pt x="99" y="117"/>
                      <a:pt x="88" y="112"/>
                      <a:pt x="88" y="116"/>
                    </a:cubicBezTo>
                    <a:cubicBezTo>
                      <a:pt x="88" y="119"/>
                      <a:pt x="86" y="116"/>
                      <a:pt x="84" y="116"/>
                    </a:cubicBezTo>
                    <a:cubicBezTo>
                      <a:pt x="80" y="116"/>
                      <a:pt x="78" y="122"/>
                      <a:pt x="73" y="120"/>
                    </a:cubicBezTo>
                    <a:cubicBezTo>
                      <a:pt x="72" y="118"/>
                      <a:pt x="69" y="118"/>
                      <a:pt x="70" y="114"/>
                    </a:cubicBezTo>
                    <a:cubicBezTo>
                      <a:pt x="60" y="113"/>
                      <a:pt x="54" y="116"/>
                      <a:pt x="45" y="114"/>
                    </a:cubicBezTo>
                    <a:cubicBezTo>
                      <a:pt x="45" y="114"/>
                      <a:pt x="43" y="112"/>
                      <a:pt x="43" y="112"/>
                    </a:cubicBezTo>
                    <a:cubicBezTo>
                      <a:pt x="40" y="112"/>
                      <a:pt x="39" y="116"/>
                      <a:pt x="36" y="116"/>
                    </a:cubicBezTo>
                    <a:cubicBezTo>
                      <a:pt x="27" y="117"/>
                      <a:pt x="20" y="114"/>
                      <a:pt x="10" y="112"/>
                    </a:cubicBezTo>
                    <a:cubicBezTo>
                      <a:pt x="13" y="109"/>
                      <a:pt x="17" y="107"/>
                      <a:pt x="23" y="107"/>
                    </a:cubicBezTo>
                    <a:cubicBezTo>
                      <a:pt x="27" y="106"/>
                      <a:pt x="23" y="99"/>
                      <a:pt x="27" y="97"/>
                    </a:cubicBezTo>
                    <a:cubicBezTo>
                      <a:pt x="32" y="99"/>
                      <a:pt x="31" y="95"/>
                      <a:pt x="36" y="96"/>
                    </a:cubicBezTo>
                    <a:cubicBezTo>
                      <a:pt x="36" y="102"/>
                      <a:pt x="43" y="101"/>
                      <a:pt x="49" y="101"/>
                    </a:cubicBezTo>
                    <a:cubicBezTo>
                      <a:pt x="53" y="100"/>
                      <a:pt x="47" y="98"/>
                      <a:pt x="51" y="96"/>
                    </a:cubicBezTo>
                    <a:cubicBezTo>
                      <a:pt x="50" y="91"/>
                      <a:pt x="40" y="97"/>
                      <a:pt x="43" y="88"/>
                    </a:cubicBezTo>
                    <a:cubicBezTo>
                      <a:pt x="36" y="90"/>
                      <a:pt x="33" y="93"/>
                      <a:pt x="25" y="90"/>
                    </a:cubicBezTo>
                    <a:cubicBezTo>
                      <a:pt x="26" y="86"/>
                      <a:pt x="30" y="85"/>
                      <a:pt x="34" y="84"/>
                    </a:cubicBezTo>
                    <a:cubicBezTo>
                      <a:pt x="36" y="83"/>
                      <a:pt x="38" y="81"/>
                      <a:pt x="40" y="79"/>
                    </a:cubicBezTo>
                    <a:cubicBezTo>
                      <a:pt x="42" y="79"/>
                      <a:pt x="43" y="78"/>
                      <a:pt x="43" y="77"/>
                    </a:cubicBezTo>
                    <a:cubicBezTo>
                      <a:pt x="48" y="76"/>
                      <a:pt x="51" y="77"/>
                      <a:pt x="53" y="79"/>
                    </a:cubicBezTo>
                    <a:cubicBezTo>
                      <a:pt x="55" y="78"/>
                      <a:pt x="57" y="76"/>
                      <a:pt x="58" y="73"/>
                    </a:cubicBezTo>
                    <a:cubicBezTo>
                      <a:pt x="59" y="70"/>
                      <a:pt x="54" y="73"/>
                      <a:pt x="53" y="71"/>
                    </a:cubicBezTo>
                    <a:cubicBezTo>
                      <a:pt x="52" y="71"/>
                      <a:pt x="51" y="67"/>
                      <a:pt x="51" y="66"/>
                    </a:cubicBezTo>
                    <a:cubicBezTo>
                      <a:pt x="50" y="65"/>
                      <a:pt x="48" y="64"/>
                      <a:pt x="49" y="62"/>
                    </a:cubicBezTo>
                    <a:cubicBezTo>
                      <a:pt x="48" y="63"/>
                      <a:pt x="46" y="64"/>
                      <a:pt x="43" y="64"/>
                    </a:cubicBezTo>
                    <a:cubicBezTo>
                      <a:pt x="44" y="60"/>
                      <a:pt x="43" y="58"/>
                      <a:pt x="40" y="58"/>
                    </a:cubicBezTo>
                    <a:cubicBezTo>
                      <a:pt x="41" y="55"/>
                      <a:pt x="43" y="52"/>
                      <a:pt x="49" y="53"/>
                    </a:cubicBezTo>
                    <a:cubicBezTo>
                      <a:pt x="54" y="52"/>
                      <a:pt x="53" y="59"/>
                      <a:pt x="60" y="56"/>
                    </a:cubicBezTo>
                    <a:cubicBezTo>
                      <a:pt x="60" y="59"/>
                      <a:pt x="61" y="60"/>
                      <a:pt x="62" y="60"/>
                    </a:cubicBezTo>
                    <a:cubicBezTo>
                      <a:pt x="68" y="62"/>
                      <a:pt x="65" y="54"/>
                      <a:pt x="68" y="53"/>
                    </a:cubicBezTo>
                    <a:cubicBezTo>
                      <a:pt x="77" y="51"/>
                      <a:pt x="85" y="48"/>
                      <a:pt x="90" y="42"/>
                    </a:cubicBezTo>
                    <a:cubicBezTo>
                      <a:pt x="90" y="37"/>
                      <a:pt x="87" y="44"/>
                      <a:pt x="83" y="42"/>
                    </a:cubicBezTo>
                    <a:cubicBezTo>
                      <a:pt x="80" y="44"/>
                      <a:pt x="75" y="44"/>
                      <a:pt x="73" y="47"/>
                    </a:cubicBezTo>
                    <a:cubicBezTo>
                      <a:pt x="68" y="46"/>
                      <a:pt x="59" y="48"/>
                      <a:pt x="51" y="47"/>
                    </a:cubicBezTo>
                    <a:cubicBezTo>
                      <a:pt x="46" y="47"/>
                      <a:pt x="44" y="44"/>
                      <a:pt x="38" y="47"/>
                    </a:cubicBezTo>
                    <a:cubicBezTo>
                      <a:pt x="36" y="40"/>
                      <a:pt x="31" y="48"/>
                      <a:pt x="29" y="42"/>
                    </a:cubicBezTo>
                    <a:cubicBezTo>
                      <a:pt x="26" y="45"/>
                      <a:pt x="21" y="40"/>
                      <a:pt x="14" y="42"/>
                    </a:cubicBezTo>
                    <a:cubicBezTo>
                      <a:pt x="15" y="36"/>
                      <a:pt x="8" y="39"/>
                      <a:pt x="6" y="36"/>
                    </a:cubicBezTo>
                    <a:cubicBezTo>
                      <a:pt x="5" y="31"/>
                      <a:pt x="10" y="32"/>
                      <a:pt x="12" y="30"/>
                    </a:cubicBezTo>
                    <a:cubicBezTo>
                      <a:pt x="12" y="25"/>
                      <a:pt x="0" y="33"/>
                      <a:pt x="2" y="25"/>
                    </a:cubicBezTo>
                    <a:cubicBezTo>
                      <a:pt x="11" y="22"/>
                      <a:pt x="25" y="21"/>
                      <a:pt x="38" y="19"/>
                    </a:cubicBezTo>
                    <a:cubicBezTo>
                      <a:pt x="40" y="19"/>
                      <a:pt x="39" y="17"/>
                      <a:pt x="40" y="15"/>
                    </a:cubicBezTo>
                    <a:cubicBezTo>
                      <a:pt x="49" y="17"/>
                      <a:pt x="57" y="13"/>
                      <a:pt x="62" y="15"/>
                    </a:cubicBezTo>
                    <a:cubicBezTo>
                      <a:pt x="64" y="14"/>
                      <a:pt x="65" y="12"/>
                      <a:pt x="66" y="10"/>
                    </a:cubicBezTo>
                    <a:cubicBezTo>
                      <a:pt x="77" y="9"/>
                      <a:pt x="87" y="6"/>
                      <a:pt x="96" y="8"/>
                    </a:cubicBezTo>
                    <a:cubicBezTo>
                      <a:pt x="97" y="8"/>
                      <a:pt x="97" y="6"/>
                      <a:pt x="97" y="4"/>
                    </a:cubicBezTo>
                    <a:cubicBezTo>
                      <a:pt x="105" y="5"/>
                      <a:pt x="115" y="3"/>
                      <a:pt x="120" y="6"/>
                    </a:cubicBezTo>
                    <a:cubicBezTo>
                      <a:pt x="121" y="3"/>
                      <a:pt x="129" y="6"/>
                      <a:pt x="129" y="2"/>
                    </a:cubicBezTo>
                    <a:cubicBezTo>
                      <a:pt x="134" y="4"/>
                      <a:pt x="141" y="5"/>
                      <a:pt x="148" y="4"/>
                    </a:cubicBezTo>
                    <a:cubicBezTo>
                      <a:pt x="148" y="3"/>
                      <a:pt x="147" y="3"/>
                      <a:pt x="146" y="2"/>
                    </a:cubicBezTo>
                    <a:cubicBezTo>
                      <a:pt x="146" y="0"/>
                      <a:pt x="148" y="1"/>
                      <a:pt x="148" y="2"/>
                    </a:cubicBezTo>
                    <a:cubicBezTo>
                      <a:pt x="156" y="4"/>
                      <a:pt x="169" y="1"/>
                      <a:pt x="178" y="2"/>
                    </a:cubicBezTo>
                    <a:cubicBezTo>
                      <a:pt x="178" y="2"/>
                      <a:pt x="177" y="6"/>
                      <a:pt x="178" y="6"/>
                    </a:cubicBezTo>
                    <a:cubicBezTo>
                      <a:pt x="192" y="6"/>
                      <a:pt x="193" y="3"/>
                      <a:pt x="209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775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111" name="ïŝľíḍe">
                <a:extLst>
                  <a:ext uri="{FF2B5EF4-FFF2-40B4-BE49-F238E27FC236}">
                    <a16:creationId xmlns:a16="http://schemas.microsoft.com/office/drawing/2014/main" id="{1F42CBE9-FF85-4AEF-8249-6F4977A56033}"/>
                  </a:ext>
                </a:extLst>
              </p:cNvPr>
              <p:cNvSpPr/>
              <p:nvPr/>
            </p:nvSpPr>
            <p:spPr bwMode="auto">
              <a:xfrm>
                <a:off x="5955742" y="531150"/>
                <a:ext cx="133075" cy="49028"/>
              </a:xfrm>
              <a:custGeom>
                <a:avLst/>
                <a:gdLst>
                  <a:gd name="T0" fmla="*/ 17 w 64"/>
                  <a:gd name="T1" fmla="*/ 3 h 24"/>
                  <a:gd name="T2" fmla="*/ 17 w 64"/>
                  <a:gd name="T3" fmla="*/ 5 h 24"/>
                  <a:gd name="T4" fmla="*/ 22 w 64"/>
                  <a:gd name="T5" fmla="*/ 10 h 24"/>
                  <a:gd name="T6" fmla="*/ 28 w 64"/>
                  <a:gd name="T7" fmla="*/ 7 h 24"/>
                  <a:gd name="T8" fmla="*/ 37 w 64"/>
                  <a:gd name="T9" fmla="*/ 10 h 24"/>
                  <a:gd name="T10" fmla="*/ 54 w 64"/>
                  <a:gd name="T11" fmla="*/ 7 h 24"/>
                  <a:gd name="T12" fmla="*/ 61 w 64"/>
                  <a:gd name="T13" fmla="*/ 10 h 24"/>
                  <a:gd name="T14" fmla="*/ 58 w 64"/>
                  <a:gd name="T15" fmla="*/ 18 h 24"/>
                  <a:gd name="T16" fmla="*/ 41 w 64"/>
                  <a:gd name="T17" fmla="*/ 20 h 24"/>
                  <a:gd name="T18" fmla="*/ 30 w 64"/>
                  <a:gd name="T19" fmla="*/ 24 h 24"/>
                  <a:gd name="T20" fmla="*/ 11 w 64"/>
                  <a:gd name="T21" fmla="*/ 10 h 24"/>
                  <a:gd name="T22" fmla="*/ 2 w 64"/>
                  <a:gd name="T23" fmla="*/ 9 h 24"/>
                  <a:gd name="T24" fmla="*/ 17 w 64"/>
                  <a:gd name="T25" fmla="*/ 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4" h="24">
                    <a:moveTo>
                      <a:pt x="17" y="3"/>
                    </a:moveTo>
                    <a:cubicBezTo>
                      <a:pt x="19" y="3"/>
                      <a:pt x="18" y="5"/>
                      <a:pt x="17" y="5"/>
                    </a:cubicBezTo>
                    <a:cubicBezTo>
                      <a:pt x="16" y="9"/>
                      <a:pt x="25" y="4"/>
                      <a:pt x="22" y="10"/>
                    </a:cubicBezTo>
                    <a:cubicBezTo>
                      <a:pt x="26" y="11"/>
                      <a:pt x="25" y="7"/>
                      <a:pt x="28" y="7"/>
                    </a:cubicBezTo>
                    <a:cubicBezTo>
                      <a:pt x="32" y="11"/>
                      <a:pt x="36" y="3"/>
                      <a:pt x="37" y="10"/>
                    </a:cubicBezTo>
                    <a:cubicBezTo>
                      <a:pt x="42" y="9"/>
                      <a:pt x="49" y="8"/>
                      <a:pt x="54" y="7"/>
                    </a:cubicBezTo>
                    <a:cubicBezTo>
                      <a:pt x="53" y="12"/>
                      <a:pt x="63" y="5"/>
                      <a:pt x="61" y="10"/>
                    </a:cubicBezTo>
                    <a:cubicBezTo>
                      <a:pt x="64" y="16"/>
                      <a:pt x="50" y="14"/>
                      <a:pt x="58" y="18"/>
                    </a:cubicBezTo>
                    <a:cubicBezTo>
                      <a:pt x="56" y="22"/>
                      <a:pt x="46" y="19"/>
                      <a:pt x="41" y="20"/>
                    </a:cubicBezTo>
                    <a:cubicBezTo>
                      <a:pt x="37" y="20"/>
                      <a:pt x="33" y="22"/>
                      <a:pt x="30" y="24"/>
                    </a:cubicBezTo>
                    <a:cubicBezTo>
                      <a:pt x="22" y="20"/>
                      <a:pt x="15" y="17"/>
                      <a:pt x="11" y="10"/>
                    </a:cubicBezTo>
                    <a:cubicBezTo>
                      <a:pt x="8" y="9"/>
                      <a:pt x="1" y="13"/>
                      <a:pt x="2" y="9"/>
                    </a:cubicBezTo>
                    <a:cubicBezTo>
                      <a:pt x="0" y="0"/>
                      <a:pt x="16" y="9"/>
                      <a:pt x="17" y="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112" name="ïşḻïḑé">
                <a:extLst>
                  <a:ext uri="{FF2B5EF4-FFF2-40B4-BE49-F238E27FC236}">
                    <a16:creationId xmlns:a16="http://schemas.microsoft.com/office/drawing/2014/main" id="{1432E812-4775-446F-9C0D-BF79A540F0E5}"/>
                  </a:ext>
                </a:extLst>
              </p:cNvPr>
              <p:cNvSpPr/>
              <p:nvPr/>
            </p:nvSpPr>
            <p:spPr bwMode="auto">
              <a:xfrm>
                <a:off x="3864374" y="596988"/>
                <a:ext cx="63036" cy="19611"/>
              </a:xfrm>
              <a:custGeom>
                <a:avLst/>
                <a:gdLst>
                  <a:gd name="T0" fmla="*/ 28 w 30"/>
                  <a:gd name="T1" fmla="*/ 1 h 9"/>
                  <a:gd name="T2" fmla="*/ 17 w 30"/>
                  <a:gd name="T3" fmla="*/ 6 h 9"/>
                  <a:gd name="T4" fmla="*/ 13 w 30"/>
                  <a:gd name="T5" fmla="*/ 8 h 9"/>
                  <a:gd name="T6" fmla="*/ 6 w 30"/>
                  <a:gd name="T7" fmla="*/ 8 h 9"/>
                  <a:gd name="T8" fmla="*/ 10 w 30"/>
                  <a:gd name="T9" fmla="*/ 3 h 9"/>
                  <a:gd name="T10" fmla="*/ 28 w 30"/>
                  <a:gd name="T11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9">
                    <a:moveTo>
                      <a:pt x="28" y="1"/>
                    </a:moveTo>
                    <a:cubicBezTo>
                      <a:pt x="30" y="7"/>
                      <a:pt x="22" y="6"/>
                      <a:pt x="17" y="6"/>
                    </a:cubicBezTo>
                    <a:cubicBezTo>
                      <a:pt x="15" y="7"/>
                      <a:pt x="15" y="8"/>
                      <a:pt x="13" y="8"/>
                    </a:cubicBezTo>
                    <a:cubicBezTo>
                      <a:pt x="10" y="8"/>
                      <a:pt x="6" y="6"/>
                      <a:pt x="6" y="8"/>
                    </a:cubicBezTo>
                    <a:cubicBezTo>
                      <a:pt x="0" y="9"/>
                      <a:pt x="9" y="2"/>
                      <a:pt x="10" y="3"/>
                    </a:cubicBezTo>
                    <a:cubicBezTo>
                      <a:pt x="13" y="7"/>
                      <a:pt x="22" y="0"/>
                      <a:pt x="2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113" name="îṡlíḍè">
                <a:extLst>
                  <a:ext uri="{FF2B5EF4-FFF2-40B4-BE49-F238E27FC236}">
                    <a16:creationId xmlns:a16="http://schemas.microsoft.com/office/drawing/2014/main" id="{2C2F9316-1509-4BC1-93FB-48FFA8137F1A}"/>
                  </a:ext>
                </a:extLst>
              </p:cNvPr>
              <p:cNvSpPr/>
              <p:nvPr/>
            </p:nvSpPr>
            <p:spPr bwMode="auto">
              <a:xfrm>
                <a:off x="4109511" y="596988"/>
                <a:ext cx="56031" cy="37822"/>
              </a:xfrm>
              <a:custGeom>
                <a:avLst/>
                <a:gdLst>
                  <a:gd name="T0" fmla="*/ 13 w 27"/>
                  <a:gd name="T1" fmla="*/ 1 h 18"/>
                  <a:gd name="T2" fmla="*/ 9 w 27"/>
                  <a:gd name="T3" fmla="*/ 3 h 18"/>
                  <a:gd name="T4" fmla="*/ 18 w 27"/>
                  <a:gd name="T5" fmla="*/ 8 h 18"/>
                  <a:gd name="T6" fmla="*/ 22 w 27"/>
                  <a:gd name="T7" fmla="*/ 6 h 18"/>
                  <a:gd name="T8" fmla="*/ 11 w 27"/>
                  <a:gd name="T9" fmla="*/ 18 h 18"/>
                  <a:gd name="T10" fmla="*/ 0 w 27"/>
                  <a:gd name="T11" fmla="*/ 5 h 18"/>
                  <a:gd name="T12" fmla="*/ 13 w 27"/>
                  <a:gd name="T13" fmla="*/ 1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" h="18">
                    <a:moveTo>
                      <a:pt x="13" y="1"/>
                    </a:moveTo>
                    <a:cubicBezTo>
                      <a:pt x="13" y="3"/>
                      <a:pt x="10" y="2"/>
                      <a:pt x="9" y="3"/>
                    </a:cubicBezTo>
                    <a:cubicBezTo>
                      <a:pt x="9" y="8"/>
                      <a:pt x="21" y="0"/>
                      <a:pt x="18" y="8"/>
                    </a:cubicBezTo>
                    <a:cubicBezTo>
                      <a:pt x="20" y="9"/>
                      <a:pt x="22" y="8"/>
                      <a:pt x="22" y="6"/>
                    </a:cubicBezTo>
                    <a:cubicBezTo>
                      <a:pt x="27" y="12"/>
                      <a:pt x="12" y="13"/>
                      <a:pt x="11" y="18"/>
                    </a:cubicBezTo>
                    <a:cubicBezTo>
                      <a:pt x="6" y="14"/>
                      <a:pt x="7" y="5"/>
                      <a:pt x="0" y="5"/>
                    </a:cubicBezTo>
                    <a:cubicBezTo>
                      <a:pt x="2" y="1"/>
                      <a:pt x="9" y="3"/>
                      <a:pt x="1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114" name="í$ḻîdê">
                <a:extLst>
                  <a:ext uri="{FF2B5EF4-FFF2-40B4-BE49-F238E27FC236}">
                    <a16:creationId xmlns:a16="http://schemas.microsoft.com/office/drawing/2014/main" id="{3CDE62CF-1CFA-45F7-BDE9-13EB72C79827}"/>
                  </a:ext>
                </a:extLst>
              </p:cNvPr>
              <p:cNvSpPr/>
              <p:nvPr/>
            </p:nvSpPr>
            <p:spPr bwMode="auto">
              <a:xfrm>
                <a:off x="5381422" y="639011"/>
                <a:ext cx="3276430" cy="2147400"/>
              </a:xfrm>
              <a:custGeom>
                <a:avLst/>
                <a:gdLst>
                  <a:gd name="T0" fmla="*/ 936 w 1575"/>
                  <a:gd name="T1" fmla="*/ 72 h 1033"/>
                  <a:gd name="T2" fmla="*/ 1105 w 1575"/>
                  <a:gd name="T3" fmla="*/ 72 h 1033"/>
                  <a:gd name="T4" fmla="*/ 1247 w 1575"/>
                  <a:gd name="T5" fmla="*/ 85 h 1033"/>
                  <a:gd name="T6" fmla="*/ 1432 w 1575"/>
                  <a:gd name="T7" fmla="*/ 115 h 1033"/>
                  <a:gd name="T8" fmla="*/ 1575 w 1575"/>
                  <a:gd name="T9" fmla="*/ 162 h 1033"/>
                  <a:gd name="T10" fmla="*/ 1484 w 1575"/>
                  <a:gd name="T11" fmla="*/ 184 h 1033"/>
                  <a:gd name="T12" fmla="*/ 1366 w 1575"/>
                  <a:gd name="T13" fmla="*/ 273 h 1033"/>
                  <a:gd name="T14" fmla="*/ 1320 w 1575"/>
                  <a:gd name="T15" fmla="*/ 301 h 1033"/>
                  <a:gd name="T16" fmla="*/ 1381 w 1575"/>
                  <a:gd name="T17" fmla="*/ 208 h 1033"/>
                  <a:gd name="T18" fmla="*/ 1247 w 1575"/>
                  <a:gd name="T19" fmla="*/ 247 h 1033"/>
                  <a:gd name="T20" fmla="*/ 1204 w 1575"/>
                  <a:gd name="T21" fmla="*/ 313 h 1033"/>
                  <a:gd name="T22" fmla="*/ 1130 w 1575"/>
                  <a:gd name="T23" fmla="*/ 415 h 1033"/>
                  <a:gd name="T24" fmla="*/ 1081 w 1575"/>
                  <a:gd name="T25" fmla="*/ 439 h 1033"/>
                  <a:gd name="T26" fmla="*/ 1061 w 1575"/>
                  <a:gd name="T27" fmla="*/ 464 h 1033"/>
                  <a:gd name="T28" fmla="*/ 993 w 1575"/>
                  <a:gd name="T29" fmla="*/ 587 h 1033"/>
                  <a:gd name="T30" fmla="*/ 956 w 1575"/>
                  <a:gd name="T31" fmla="*/ 674 h 1033"/>
                  <a:gd name="T32" fmla="*/ 895 w 1575"/>
                  <a:gd name="T33" fmla="*/ 685 h 1033"/>
                  <a:gd name="T34" fmla="*/ 882 w 1575"/>
                  <a:gd name="T35" fmla="*/ 689 h 1033"/>
                  <a:gd name="T36" fmla="*/ 848 w 1575"/>
                  <a:gd name="T37" fmla="*/ 602 h 1033"/>
                  <a:gd name="T38" fmla="*/ 742 w 1575"/>
                  <a:gd name="T39" fmla="*/ 657 h 1033"/>
                  <a:gd name="T40" fmla="*/ 665 w 1575"/>
                  <a:gd name="T41" fmla="*/ 579 h 1033"/>
                  <a:gd name="T42" fmla="*/ 524 w 1575"/>
                  <a:gd name="T43" fmla="*/ 557 h 1033"/>
                  <a:gd name="T44" fmla="*/ 557 w 1575"/>
                  <a:gd name="T45" fmla="*/ 616 h 1033"/>
                  <a:gd name="T46" fmla="*/ 453 w 1575"/>
                  <a:gd name="T47" fmla="*/ 622 h 1033"/>
                  <a:gd name="T48" fmla="*/ 391 w 1575"/>
                  <a:gd name="T49" fmla="*/ 546 h 1033"/>
                  <a:gd name="T50" fmla="*/ 440 w 1575"/>
                  <a:gd name="T51" fmla="*/ 646 h 1033"/>
                  <a:gd name="T52" fmla="*/ 470 w 1575"/>
                  <a:gd name="T53" fmla="*/ 749 h 1033"/>
                  <a:gd name="T54" fmla="*/ 412 w 1575"/>
                  <a:gd name="T55" fmla="*/ 898 h 1033"/>
                  <a:gd name="T56" fmla="*/ 352 w 1575"/>
                  <a:gd name="T57" fmla="*/ 1013 h 1033"/>
                  <a:gd name="T58" fmla="*/ 237 w 1575"/>
                  <a:gd name="T59" fmla="*/ 924 h 1033"/>
                  <a:gd name="T60" fmla="*/ 224 w 1575"/>
                  <a:gd name="T61" fmla="*/ 788 h 1033"/>
                  <a:gd name="T62" fmla="*/ 47 w 1575"/>
                  <a:gd name="T63" fmla="*/ 702 h 1033"/>
                  <a:gd name="T64" fmla="*/ 6 w 1575"/>
                  <a:gd name="T65" fmla="*/ 588 h 1033"/>
                  <a:gd name="T66" fmla="*/ 162 w 1575"/>
                  <a:gd name="T67" fmla="*/ 465 h 1033"/>
                  <a:gd name="T68" fmla="*/ 263 w 1575"/>
                  <a:gd name="T69" fmla="*/ 512 h 1033"/>
                  <a:gd name="T70" fmla="*/ 378 w 1575"/>
                  <a:gd name="T71" fmla="*/ 512 h 1033"/>
                  <a:gd name="T72" fmla="*/ 309 w 1575"/>
                  <a:gd name="T73" fmla="*/ 436 h 1033"/>
                  <a:gd name="T74" fmla="*/ 255 w 1575"/>
                  <a:gd name="T75" fmla="*/ 402 h 1033"/>
                  <a:gd name="T76" fmla="*/ 259 w 1575"/>
                  <a:gd name="T77" fmla="*/ 432 h 1033"/>
                  <a:gd name="T78" fmla="*/ 158 w 1575"/>
                  <a:gd name="T79" fmla="*/ 408 h 1033"/>
                  <a:gd name="T80" fmla="*/ 116 w 1575"/>
                  <a:gd name="T81" fmla="*/ 406 h 1033"/>
                  <a:gd name="T82" fmla="*/ 158 w 1575"/>
                  <a:gd name="T83" fmla="*/ 329 h 1033"/>
                  <a:gd name="T84" fmla="*/ 214 w 1575"/>
                  <a:gd name="T85" fmla="*/ 292 h 1033"/>
                  <a:gd name="T86" fmla="*/ 317 w 1575"/>
                  <a:gd name="T87" fmla="*/ 247 h 1033"/>
                  <a:gd name="T88" fmla="*/ 313 w 1575"/>
                  <a:gd name="T89" fmla="*/ 197 h 1033"/>
                  <a:gd name="T90" fmla="*/ 278 w 1575"/>
                  <a:gd name="T91" fmla="*/ 238 h 1033"/>
                  <a:gd name="T92" fmla="*/ 183 w 1575"/>
                  <a:gd name="T93" fmla="*/ 251 h 1033"/>
                  <a:gd name="T94" fmla="*/ 227 w 1575"/>
                  <a:gd name="T95" fmla="*/ 167 h 1033"/>
                  <a:gd name="T96" fmla="*/ 354 w 1575"/>
                  <a:gd name="T97" fmla="*/ 106 h 1033"/>
                  <a:gd name="T98" fmla="*/ 397 w 1575"/>
                  <a:gd name="T99" fmla="*/ 154 h 1033"/>
                  <a:gd name="T100" fmla="*/ 470 w 1575"/>
                  <a:gd name="T101" fmla="*/ 134 h 1033"/>
                  <a:gd name="T102" fmla="*/ 596 w 1575"/>
                  <a:gd name="T103" fmla="*/ 126 h 1033"/>
                  <a:gd name="T104" fmla="*/ 660 w 1575"/>
                  <a:gd name="T105" fmla="*/ 83 h 1033"/>
                  <a:gd name="T106" fmla="*/ 705 w 1575"/>
                  <a:gd name="T107" fmla="*/ 130 h 1033"/>
                  <a:gd name="T108" fmla="*/ 734 w 1575"/>
                  <a:gd name="T109" fmla="*/ 81 h 1033"/>
                  <a:gd name="T110" fmla="*/ 889 w 1575"/>
                  <a:gd name="T111" fmla="*/ 18 h 1033"/>
                  <a:gd name="T112" fmla="*/ 373 w 1575"/>
                  <a:gd name="T113" fmla="*/ 374 h 1033"/>
                  <a:gd name="T114" fmla="*/ 449 w 1575"/>
                  <a:gd name="T115" fmla="*/ 424 h 1033"/>
                  <a:gd name="T116" fmla="*/ 531 w 1575"/>
                  <a:gd name="T117" fmla="*/ 411 h 1033"/>
                  <a:gd name="T118" fmla="*/ 505 w 1575"/>
                  <a:gd name="T119" fmla="*/ 451 h 1033"/>
                  <a:gd name="T120" fmla="*/ 375 w 1575"/>
                  <a:gd name="T121" fmla="*/ 762 h 10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75" h="1033">
                    <a:moveTo>
                      <a:pt x="949" y="11"/>
                    </a:moveTo>
                    <a:cubicBezTo>
                      <a:pt x="949" y="13"/>
                      <a:pt x="952" y="12"/>
                      <a:pt x="954" y="13"/>
                    </a:cubicBezTo>
                    <a:cubicBezTo>
                      <a:pt x="954" y="15"/>
                      <a:pt x="951" y="14"/>
                      <a:pt x="949" y="14"/>
                    </a:cubicBezTo>
                    <a:cubicBezTo>
                      <a:pt x="957" y="22"/>
                      <a:pt x="965" y="11"/>
                      <a:pt x="979" y="14"/>
                    </a:cubicBezTo>
                    <a:cubicBezTo>
                      <a:pt x="982" y="19"/>
                      <a:pt x="987" y="22"/>
                      <a:pt x="993" y="24"/>
                    </a:cubicBezTo>
                    <a:cubicBezTo>
                      <a:pt x="994" y="26"/>
                      <a:pt x="993" y="29"/>
                      <a:pt x="993" y="31"/>
                    </a:cubicBezTo>
                    <a:cubicBezTo>
                      <a:pt x="994" y="33"/>
                      <a:pt x="998" y="33"/>
                      <a:pt x="997" y="37"/>
                    </a:cubicBezTo>
                    <a:cubicBezTo>
                      <a:pt x="993" y="36"/>
                      <a:pt x="994" y="39"/>
                      <a:pt x="993" y="42"/>
                    </a:cubicBezTo>
                    <a:cubicBezTo>
                      <a:pt x="992" y="41"/>
                      <a:pt x="989" y="40"/>
                      <a:pt x="986" y="40"/>
                    </a:cubicBezTo>
                    <a:cubicBezTo>
                      <a:pt x="983" y="41"/>
                      <a:pt x="986" y="43"/>
                      <a:pt x="984" y="44"/>
                    </a:cubicBezTo>
                    <a:cubicBezTo>
                      <a:pt x="983" y="45"/>
                      <a:pt x="982" y="42"/>
                      <a:pt x="980" y="42"/>
                    </a:cubicBezTo>
                    <a:cubicBezTo>
                      <a:pt x="979" y="43"/>
                      <a:pt x="975" y="46"/>
                      <a:pt x="969" y="44"/>
                    </a:cubicBezTo>
                    <a:cubicBezTo>
                      <a:pt x="967" y="44"/>
                      <a:pt x="968" y="47"/>
                      <a:pt x="967" y="48"/>
                    </a:cubicBezTo>
                    <a:cubicBezTo>
                      <a:pt x="967" y="48"/>
                      <a:pt x="964" y="47"/>
                      <a:pt x="964" y="48"/>
                    </a:cubicBezTo>
                    <a:cubicBezTo>
                      <a:pt x="963" y="50"/>
                      <a:pt x="967" y="51"/>
                      <a:pt x="964" y="55"/>
                    </a:cubicBezTo>
                    <a:cubicBezTo>
                      <a:pt x="963" y="52"/>
                      <a:pt x="954" y="56"/>
                      <a:pt x="958" y="57"/>
                    </a:cubicBezTo>
                    <a:cubicBezTo>
                      <a:pt x="954" y="61"/>
                      <a:pt x="948" y="59"/>
                      <a:pt x="943" y="61"/>
                    </a:cubicBezTo>
                    <a:cubicBezTo>
                      <a:pt x="940" y="62"/>
                      <a:pt x="938" y="67"/>
                      <a:pt x="934" y="67"/>
                    </a:cubicBezTo>
                    <a:cubicBezTo>
                      <a:pt x="934" y="69"/>
                      <a:pt x="934" y="72"/>
                      <a:pt x="932" y="72"/>
                    </a:cubicBezTo>
                    <a:cubicBezTo>
                      <a:pt x="933" y="75"/>
                      <a:pt x="934" y="72"/>
                      <a:pt x="936" y="72"/>
                    </a:cubicBezTo>
                    <a:cubicBezTo>
                      <a:pt x="941" y="72"/>
                      <a:pt x="943" y="68"/>
                      <a:pt x="947" y="67"/>
                    </a:cubicBezTo>
                    <a:cubicBezTo>
                      <a:pt x="950" y="66"/>
                      <a:pt x="950" y="69"/>
                      <a:pt x="952" y="68"/>
                    </a:cubicBezTo>
                    <a:cubicBezTo>
                      <a:pt x="955" y="68"/>
                      <a:pt x="955" y="65"/>
                      <a:pt x="956" y="65"/>
                    </a:cubicBezTo>
                    <a:cubicBezTo>
                      <a:pt x="960" y="63"/>
                      <a:pt x="965" y="65"/>
                      <a:pt x="969" y="63"/>
                    </a:cubicBezTo>
                    <a:cubicBezTo>
                      <a:pt x="972" y="62"/>
                      <a:pt x="968" y="60"/>
                      <a:pt x="971" y="59"/>
                    </a:cubicBezTo>
                    <a:cubicBezTo>
                      <a:pt x="972" y="59"/>
                      <a:pt x="974" y="60"/>
                      <a:pt x="975" y="59"/>
                    </a:cubicBezTo>
                    <a:cubicBezTo>
                      <a:pt x="975" y="59"/>
                      <a:pt x="976" y="55"/>
                      <a:pt x="977" y="55"/>
                    </a:cubicBezTo>
                    <a:cubicBezTo>
                      <a:pt x="977" y="55"/>
                      <a:pt x="982" y="57"/>
                      <a:pt x="984" y="57"/>
                    </a:cubicBezTo>
                    <a:cubicBezTo>
                      <a:pt x="989" y="57"/>
                      <a:pt x="989" y="56"/>
                      <a:pt x="993" y="55"/>
                    </a:cubicBezTo>
                    <a:cubicBezTo>
                      <a:pt x="993" y="57"/>
                      <a:pt x="993" y="59"/>
                      <a:pt x="993" y="61"/>
                    </a:cubicBezTo>
                    <a:cubicBezTo>
                      <a:pt x="996" y="59"/>
                      <a:pt x="997" y="59"/>
                      <a:pt x="997" y="63"/>
                    </a:cubicBezTo>
                    <a:cubicBezTo>
                      <a:pt x="1007" y="62"/>
                      <a:pt x="1023" y="64"/>
                      <a:pt x="1038" y="63"/>
                    </a:cubicBezTo>
                    <a:cubicBezTo>
                      <a:pt x="1037" y="71"/>
                      <a:pt x="1051" y="65"/>
                      <a:pt x="1049" y="74"/>
                    </a:cubicBezTo>
                    <a:cubicBezTo>
                      <a:pt x="1051" y="71"/>
                      <a:pt x="1054" y="74"/>
                      <a:pt x="1057" y="74"/>
                    </a:cubicBezTo>
                    <a:cubicBezTo>
                      <a:pt x="1062" y="74"/>
                      <a:pt x="1069" y="72"/>
                      <a:pt x="1072" y="74"/>
                    </a:cubicBezTo>
                    <a:cubicBezTo>
                      <a:pt x="1076" y="74"/>
                      <a:pt x="1072" y="66"/>
                      <a:pt x="1076" y="65"/>
                    </a:cubicBezTo>
                    <a:cubicBezTo>
                      <a:pt x="1082" y="66"/>
                      <a:pt x="1088" y="65"/>
                      <a:pt x="1094" y="67"/>
                    </a:cubicBezTo>
                    <a:cubicBezTo>
                      <a:pt x="1094" y="67"/>
                      <a:pt x="1094" y="68"/>
                      <a:pt x="1094" y="68"/>
                    </a:cubicBezTo>
                    <a:cubicBezTo>
                      <a:pt x="1097" y="69"/>
                      <a:pt x="1101" y="68"/>
                      <a:pt x="1103" y="68"/>
                    </a:cubicBezTo>
                    <a:cubicBezTo>
                      <a:pt x="1104" y="69"/>
                      <a:pt x="1105" y="72"/>
                      <a:pt x="1105" y="72"/>
                    </a:cubicBezTo>
                    <a:cubicBezTo>
                      <a:pt x="1108" y="74"/>
                      <a:pt x="1113" y="71"/>
                      <a:pt x="1115" y="74"/>
                    </a:cubicBezTo>
                    <a:cubicBezTo>
                      <a:pt x="1114" y="78"/>
                      <a:pt x="1114" y="82"/>
                      <a:pt x="1109" y="81"/>
                    </a:cubicBezTo>
                    <a:cubicBezTo>
                      <a:pt x="1109" y="85"/>
                      <a:pt x="1112" y="86"/>
                      <a:pt x="1117" y="85"/>
                    </a:cubicBezTo>
                    <a:cubicBezTo>
                      <a:pt x="1115" y="96"/>
                      <a:pt x="1124" y="97"/>
                      <a:pt x="1128" y="102"/>
                    </a:cubicBezTo>
                    <a:cubicBezTo>
                      <a:pt x="1131" y="100"/>
                      <a:pt x="1134" y="99"/>
                      <a:pt x="1137" y="96"/>
                    </a:cubicBezTo>
                    <a:cubicBezTo>
                      <a:pt x="1138" y="95"/>
                      <a:pt x="1138" y="92"/>
                      <a:pt x="1139" y="91"/>
                    </a:cubicBezTo>
                    <a:cubicBezTo>
                      <a:pt x="1140" y="90"/>
                      <a:pt x="1143" y="91"/>
                      <a:pt x="1143" y="89"/>
                    </a:cubicBezTo>
                    <a:cubicBezTo>
                      <a:pt x="1148" y="88"/>
                      <a:pt x="1146" y="93"/>
                      <a:pt x="1148" y="95"/>
                    </a:cubicBezTo>
                    <a:cubicBezTo>
                      <a:pt x="1153" y="95"/>
                      <a:pt x="1157" y="95"/>
                      <a:pt x="1161" y="95"/>
                    </a:cubicBezTo>
                    <a:cubicBezTo>
                      <a:pt x="1163" y="93"/>
                      <a:pt x="1168" y="94"/>
                      <a:pt x="1167" y="89"/>
                    </a:cubicBezTo>
                    <a:cubicBezTo>
                      <a:pt x="1173" y="91"/>
                      <a:pt x="1187" y="85"/>
                      <a:pt x="1187" y="93"/>
                    </a:cubicBezTo>
                    <a:cubicBezTo>
                      <a:pt x="1193" y="93"/>
                      <a:pt x="1191" y="86"/>
                      <a:pt x="1199" y="89"/>
                    </a:cubicBezTo>
                    <a:cubicBezTo>
                      <a:pt x="1198" y="87"/>
                      <a:pt x="1196" y="87"/>
                      <a:pt x="1195" y="87"/>
                    </a:cubicBezTo>
                    <a:cubicBezTo>
                      <a:pt x="1196" y="86"/>
                      <a:pt x="1196" y="82"/>
                      <a:pt x="1199" y="81"/>
                    </a:cubicBezTo>
                    <a:cubicBezTo>
                      <a:pt x="1204" y="82"/>
                      <a:pt x="1202" y="75"/>
                      <a:pt x="1210" y="78"/>
                    </a:cubicBezTo>
                    <a:cubicBezTo>
                      <a:pt x="1212" y="78"/>
                      <a:pt x="1210" y="75"/>
                      <a:pt x="1210" y="76"/>
                    </a:cubicBezTo>
                    <a:cubicBezTo>
                      <a:pt x="1213" y="72"/>
                      <a:pt x="1218" y="75"/>
                      <a:pt x="1225" y="74"/>
                    </a:cubicBezTo>
                    <a:cubicBezTo>
                      <a:pt x="1223" y="84"/>
                      <a:pt x="1235" y="71"/>
                      <a:pt x="1232" y="80"/>
                    </a:cubicBezTo>
                    <a:cubicBezTo>
                      <a:pt x="1240" y="81"/>
                      <a:pt x="1246" y="79"/>
                      <a:pt x="1253" y="78"/>
                    </a:cubicBezTo>
                    <a:cubicBezTo>
                      <a:pt x="1253" y="83"/>
                      <a:pt x="1245" y="79"/>
                      <a:pt x="1247" y="85"/>
                    </a:cubicBezTo>
                    <a:cubicBezTo>
                      <a:pt x="1248" y="89"/>
                      <a:pt x="1254" y="87"/>
                      <a:pt x="1258" y="87"/>
                    </a:cubicBezTo>
                    <a:cubicBezTo>
                      <a:pt x="1265" y="87"/>
                      <a:pt x="1271" y="87"/>
                      <a:pt x="1277" y="85"/>
                    </a:cubicBezTo>
                    <a:cubicBezTo>
                      <a:pt x="1278" y="92"/>
                      <a:pt x="1287" y="92"/>
                      <a:pt x="1290" y="98"/>
                    </a:cubicBezTo>
                    <a:cubicBezTo>
                      <a:pt x="1294" y="97"/>
                      <a:pt x="1296" y="100"/>
                      <a:pt x="1299" y="100"/>
                    </a:cubicBezTo>
                    <a:cubicBezTo>
                      <a:pt x="1311" y="101"/>
                      <a:pt x="1324" y="98"/>
                      <a:pt x="1335" y="100"/>
                    </a:cubicBezTo>
                    <a:cubicBezTo>
                      <a:pt x="1339" y="101"/>
                      <a:pt x="1343" y="106"/>
                      <a:pt x="1348" y="104"/>
                    </a:cubicBezTo>
                    <a:cubicBezTo>
                      <a:pt x="1347" y="107"/>
                      <a:pt x="1349" y="107"/>
                      <a:pt x="1351" y="108"/>
                    </a:cubicBezTo>
                    <a:cubicBezTo>
                      <a:pt x="1351" y="110"/>
                      <a:pt x="1351" y="113"/>
                      <a:pt x="1351" y="115"/>
                    </a:cubicBezTo>
                    <a:cubicBezTo>
                      <a:pt x="1351" y="118"/>
                      <a:pt x="1358" y="115"/>
                      <a:pt x="1359" y="117"/>
                    </a:cubicBezTo>
                    <a:cubicBezTo>
                      <a:pt x="1361" y="120"/>
                      <a:pt x="1360" y="116"/>
                      <a:pt x="1363" y="117"/>
                    </a:cubicBezTo>
                    <a:cubicBezTo>
                      <a:pt x="1363" y="117"/>
                      <a:pt x="1363" y="119"/>
                      <a:pt x="1364" y="119"/>
                    </a:cubicBezTo>
                    <a:cubicBezTo>
                      <a:pt x="1367" y="119"/>
                      <a:pt x="1387" y="121"/>
                      <a:pt x="1389" y="119"/>
                    </a:cubicBezTo>
                    <a:cubicBezTo>
                      <a:pt x="1389" y="119"/>
                      <a:pt x="1389" y="117"/>
                      <a:pt x="1389" y="117"/>
                    </a:cubicBezTo>
                    <a:cubicBezTo>
                      <a:pt x="1390" y="117"/>
                      <a:pt x="1394" y="119"/>
                      <a:pt x="1394" y="119"/>
                    </a:cubicBezTo>
                    <a:cubicBezTo>
                      <a:pt x="1396" y="117"/>
                      <a:pt x="1399" y="116"/>
                      <a:pt x="1400" y="119"/>
                    </a:cubicBezTo>
                    <a:cubicBezTo>
                      <a:pt x="1403" y="115"/>
                      <a:pt x="1409" y="115"/>
                      <a:pt x="1415" y="113"/>
                    </a:cubicBezTo>
                    <a:cubicBezTo>
                      <a:pt x="1414" y="119"/>
                      <a:pt x="1416" y="122"/>
                      <a:pt x="1417" y="126"/>
                    </a:cubicBezTo>
                    <a:cubicBezTo>
                      <a:pt x="1424" y="126"/>
                      <a:pt x="1427" y="130"/>
                      <a:pt x="1433" y="126"/>
                    </a:cubicBezTo>
                    <a:cubicBezTo>
                      <a:pt x="1434" y="123"/>
                      <a:pt x="1432" y="123"/>
                      <a:pt x="1430" y="122"/>
                    </a:cubicBezTo>
                    <a:cubicBezTo>
                      <a:pt x="1431" y="121"/>
                      <a:pt x="1432" y="118"/>
                      <a:pt x="1432" y="115"/>
                    </a:cubicBezTo>
                    <a:cubicBezTo>
                      <a:pt x="1436" y="111"/>
                      <a:pt x="1448" y="113"/>
                      <a:pt x="1450" y="117"/>
                    </a:cubicBezTo>
                    <a:cubicBezTo>
                      <a:pt x="1458" y="117"/>
                      <a:pt x="1466" y="116"/>
                      <a:pt x="1474" y="117"/>
                    </a:cubicBezTo>
                    <a:cubicBezTo>
                      <a:pt x="1477" y="117"/>
                      <a:pt x="1483" y="121"/>
                      <a:pt x="1484" y="117"/>
                    </a:cubicBezTo>
                    <a:cubicBezTo>
                      <a:pt x="1488" y="119"/>
                      <a:pt x="1487" y="121"/>
                      <a:pt x="1493" y="122"/>
                    </a:cubicBezTo>
                    <a:cubicBezTo>
                      <a:pt x="1495" y="123"/>
                      <a:pt x="1496" y="126"/>
                      <a:pt x="1497" y="126"/>
                    </a:cubicBezTo>
                    <a:cubicBezTo>
                      <a:pt x="1498" y="126"/>
                      <a:pt x="1499" y="125"/>
                      <a:pt x="1499" y="124"/>
                    </a:cubicBezTo>
                    <a:cubicBezTo>
                      <a:pt x="1501" y="125"/>
                      <a:pt x="1499" y="127"/>
                      <a:pt x="1500" y="128"/>
                    </a:cubicBezTo>
                    <a:cubicBezTo>
                      <a:pt x="1501" y="129"/>
                      <a:pt x="1504" y="127"/>
                      <a:pt x="1504" y="128"/>
                    </a:cubicBezTo>
                    <a:cubicBezTo>
                      <a:pt x="1505" y="129"/>
                      <a:pt x="1509" y="130"/>
                      <a:pt x="1514" y="132"/>
                    </a:cubicBezTo>
                    <a:cubicBezTo>
                      <a:pt x="1516" y="133"/>
                      <a:pt x="1521" y="134"/>
                      <a:pt x="1525" y="136"/>
                    </a:cubicBezTo>
                    <a:cubicBezTo>
                      <a:pt x="1526" y="136"/>
                      <a:pt x="1526" y="139"/>
                      <a:pt x="1527" y="139"/>
                    </a:cubicBezTo>
                    <a:cubicBezTo>
                      <a:pt x="1527" y="140"/>
                      <a:pt x="1530" y="139"/>
                      <a:pt x="1530" y="139"/>
                    </a:cubicBezTo>
                    <a:cubicBezTo>
                      <a:pt x="1531" y="140"/>
                      <a:pt x="1530" y="142"/>
                      <a:pt x="1530" y="143"/>
                    </a:cubicBezTo>
                    <a:cubicBezTo>
                      <a:pt x="1531" y="144"/>
                      <a:pt x="1534" y="142"/>
                      <a:pt x="1534" y="143"/>
                    </a:cubicBezTo>
                    <a:cubicBezTo>
                      <a:pt x="1535" y="145"/>
                      <a:pt x="1532" y="151"/>
                      <a:pt x="1540" y="149"/>
                    </a:cubicBezTo>
                    <a:cubicBezTo>
                      <a:pt x="1540" y="153"/>
                      <a:pt x="1540" y="157"/>
                      <a:pt x="1540" y="162"/>
                    </a:cubicBezTo>
                    <a:cubicBezTo>
                      <a:pt x="1546" y="161"/>
                      <a:pt x="1551" y="160"/>
                      <a:pt x="1553" y="154"/>
                    </a:cubicBezTo>
                    <a:cubicBezTo>
                      <a:pt x="1558" y="157"/>
                      <a:pt x="1565" y="156"/>
                      <a:pt x="1569" y="158"/>
                    </a:cubicBezTo>
                    <a:cubicBezTo>
                      <a:pt x="1570" y="158"/>
                      <a:pt x="1569" y="161"/>
                      <a:pt x="1569" y="162"/>
                    </a:cubicBezTo>
                    <a:cubicBezTo>
                      <a:pt x="1570" y="163"/>
                      <a:pt x="1574" y="161"/>
                      <a:pt x="1575" y="162"/>
                    </a:cubicBezTo>
                    <a:cubicBezTo>
                      <a:pt x="1574" y="164"/>
                      <a:pt x="1571" y="164"/>
                      <a:pt x="1571" y="167"/>
                    </a:cubicBezTo>
                    <a:cubicBezTo>
                      <a:pt x="1568" y="168"/>
                      <a:pt x="1568" y="165"/>
                      <a:pt x="1566" y="165"/>
                    </a:cubicBezTo>
                    <a:cubicBezTo>
                      <a:pt x="1564" y="167"/>
                      <a:pt x="1564" y="170"/>
                      <a:pt x="1560" y="169"/>
                    </a:cubicBezTo>
                    <a:cubicBezTo>
                      <a:pt x="1561" y="172"/>
                      <a:pt x="1566" y="171"/>
                      <a:pt x="1564" y="177"/>
                    </a:cubicBezTo>
                    <a:cubicBezTo>
                      <a:pt x="1557" y="171"/>
                      <a:pt x="1563" y="179"/>
                      <a:pt x="1558" y="180"/>
                    </a:cubicBezTo>
                    <a:cubicBezTo>
                      <a:pt x="1557" y="181"/>
                      <a:pt x="1555" y="182"/>
                      <a:pt x="1554" y="184"/>
                    </a:cubicBezTo>
                    <a:cubicBezTo>
                      <a:pt x="1552" y="184"/>
                      <a:pt x="1551" y="183"/>
                      <a:pt x="1549" y="182"/>
                    </a:cubicBezTo>
                    <a:cubicBezTo>
                      <a:pt x="1548" y="181"/>
                      <a:pt x="1546" y="179"/>
                      <a:pt x="1545" y="178"/>
                    </a:cubicBezTo>
                    <a:cubicBezTo>
                      <a:pt x="1542" y="177"/>
                      <a:pt x="1540" y="178"/>
                      <a:pt x="1538" y="177"/>
                    </a:cubicBezTo>
                    <a:cubicBezTo>
                      <a:pt x="1536" y="176"/>
                      <a:pt x="1535" y="173"/>
                      <a:pt x="1534" y="173"/>
                    </a:cubicBezTo>
                    <a:cubicBezTo>
                      <a:pt x="1532" y="172"/>
                      <a:pt x="1529" y="173"/>
                      <a:pt x="1527" y="173"/>
                    </a:cubicBezTo>
                    <a:cubicBezTo>
                      <a:pt x="1526" y="173"/>
                      <a:pt x="1526" y="171"/>
                      <a:pt x="1525" y="171"/>
                    </a:cubicBezTo>
                    <a:cubicBezTo>
                      <a:pt x="1522" y="171"/>
                      <a:pt x="1520" y="164"/>
                      <a:pt x="1517" y="169"/>
                    </a:cubicBezTo>
                    <a:cubicBezTo>
                      <a:pt x="1515" y="169"/>
                      <a:pt x="1516" y="166"/>
                      <a:pt x="1515" y="163"/>
                    </a:cubicBezTo>
                    <a:cubicBezTo>
                      <a:pt x="1512" y="163"/>
                      <a:pt x="1508" y="163"/>
                      <a:pt x="1504" y="163"/>
                    </a:cubicBezTo>
                    <a:cubicBezTo>
                      <a:pt x="1500" y="164"/>
                      <a:pt x="1504" y="168"/>
                      <a:pt x="1504" y="167"/>
                    </a:cubicBezTo>
                    <a:cubicBezTo>
                      <a:pt x="1504" y="170"/>
                      <a:pt x="1500" y="170"/>
                      <a:pt x="1500" y="175"/>
                    </a:cubicBezTo>
                    <a:cubicBezTo>
                      <a:pt x="1492" y="174"/>
                      <a:pt x="1491" y="180"/>
                      <a:pt x="1482" y="178"/>
                    </a:cubicBezTo>
                    <a:cubicBezTo>
                      <a:pt x="1480" y="180"/>
                      <a:pt x="1480" y="183"/>
                      <a:pt x="1476" y="182"/>
                    </a:cubicBezTo>
                    <a:cubicBezTo>
                      <a:pt x="1477" y="185"/>
                      <a:pt x="1481" y="184"/>
                      <a:pt x="1484" y="184"/>
                    </a:cubicBezTo>
                    <a:cubicBezTo>
                      <a:pt x="1486" y="185"/>
                      <a:pt x="1487" y="187"/>
                      <a:pt x="1489" y="188"/>
                    </a:cubicBezTo>
                    <a:cubicBezTo>
                      <a:pt x="1488" y="194"/>
                      <a:pt x="1488" y="192"/>
                      <a:pt x="1491" y="195"/>
                    </a:cubicBezTo>
                    <a:cubicBezTo>
                      <a:pt x="1493" y="199"/>
                      <a:pt x="1498" y="200"/>
                      <a:pt x="1500" y="203"/>
                    </a:cubicBezTo>
                    <a:cubicBezTo>
                      <a:pt x="1500" y="203"/>
                      <a:pt x="1495" y="208"/>
                      <a:pt x="1495" y="208"/>
                    </a:cubicBezTo>
                    <a:cubicBezTo>
                      <a:pt x="1490" y="209"/>
                      <a:pt x="1490" y="204"/>
                      <a:pt x="1487" y="204"/>
                    </a:cubicBezTo>
                    <a:cubicBezTo>
                      <a:pt x="1488" y="204"/>
                      <a:pt x="1490" y="208"/>
                      <a:pt x="1487" y="208"/>
                    </a:cubicBezTo>
                    <a:cubicBezTo>
                      <a:pt x="1482" y="209"/>
                      <a:pt x="1473" y="208"/>
                      <a:pt x="1467" y="210"/>
                    </a:cubicBezTo>
                    <a:cubicBezTo>
                      <a:pt x="1464" y="211"/>
                      <a:pt x="1457" y="213"/>
                      <a:pt x="1458" y="218"/>
                    </a:cubicBezTo>
                    <a:cubicBezTo>
                      <a:pt x="1449" y="216"/>
                      <a:pt x="1448" y="222"/>
                      <a:pt x="1443" y="223"/>
                    </a:cubicBezTo>
                    <a:cubicBezTo>
                      <a:pt x="1441" y="225"/>
                      <a:pt x="1441" y="226"/>
                      <a:pt x="1439" y="227"/>
                    </a:cubicBezTo>
                    <a:cubicBezTo>
                      <a:pt x="1438" y="228"/>
                      <a:pt x="1435" y="231"/>
                      <a:pt x="1433" y="231"/>
                    </a:cubicBezTo>
                    <a:cubicBezTo>
                      <a:pt x="1432" y="231"/>
                      <a:pt x="1430" y="233"/>
                      <a:pt x="1430" y="234"/>
                    </a:cubicBezTo>
                    <a:cubicBezTo>
                      <a:pt x="1424" y="233"/>
                      <a:pt x="1414" y="237"/>
                      <a:pt x="1411" y="232"/>
                    </a:cubicBezTo>
                    <a:cubicBezTo>
                      <a:pt x="1409" y="234"/>
                      <a:pt x="1404" y="233"/>
                      <a:pt x="1405" y="238"/>
                    </a:cubicBezTo>
                    <a:cubicBezTo>
                      <a:pt x="1395" y="239"/>
                      <a:pt x="1394" y="239"/>
                      <a:pt x="1383" y="238"/>
                    </a:cubicBezTo>
                    <a:cubicBezTo>
                      <a:pt x="1382" y="238"/>
                      <a:pt x="1381" y="240"/>
                      <a:pt x="1379" y="240"/>
                    </a:cubicBezTo>
                    <a:cubicBezTo>
                      <a:pt x="1378" y="241"/>
                      <a:pt x="1374" y="242"/>
                      <a:pt x="1374" y="246"/>
                    </a:cubicBezTo>
                    <a:cubicBezTo>
                      <a:pt x="1373" y="251"/>
                      <a:pt x="1365" y="248"/>
                      <a:pt x="1366" y="257"/>
                    </a:cubicBezTo>
                    <a:cubicBezTo>
                      <a:pt x="1365" y="263"/>
                      <a:pt x="1371" y="262"/>
                      <a:pt x="1374" y="264"/>
                    </a:cubicBezTo>
                    <a:cubicBezTo>
                      <a:pt x="1373" y="269"/>
                      <a:pt x="1372" y="274"/>
                      <a:pt x="1366" y="273"/>
                    </a:cubicBezTo>
                    <a:cubicBezTo>
                      <a:pt x="1367" y="277"/>
                      <a:pt x="1366" y="279"/>
                      <a:pt x="1363" y="279"/>
                    </a:cubicBezTo>
                    <a:cubicBezTo>
                      <a:pt x="1363" y="282"/>
                      <a:pt x="1363" y="284"/>
                      <a:pt x="1363" y="287"/>
                    </a:cubicBezTo>
                    <a:cubicBezTo>
                      <a:pt x="1363" y="289"/>
                      <a:pt x="1366" y="285"/>
                      <a:pt x="1366" y="288"/>
                    </a:cubicBezTo>
                    <a:cubicBezTo>
                      <a:pt x="1368" y="292"/>
                      <a:pt x="1364" y="291"/>
                      <a:pt x="1363" y="292"/>
                    </a:cubicBezTo>
                    <a:cubicBezTo>
                      <a:pt x="1362" y="293"/>
                      <a:pt x="1361" y="297"/>
                      <a:pt x="1361" y="298"/>
                    </a:cubicBezTo>
                    <a:cubicBezTo>
                      <a:pt x="1359" y="299"/>
                      <a:pt x="1353" y="298"/>
                      <a:pt x="1351" y="300"/>
                    </a:cubicBezTo>
                    <a:cubicBezTo>
                      <a:pt x="1350" y="301"/>
                      <a:pt x="1353" y="306"/>
                      <a:pt x="1351" y="307"/>
                    </a:cubicBezTo>
                    <a:cubicBezTo>
                      <a:pt x="1350" y="308"/>
                      <a:pt x="1350" y="303"/>
                      <a:pt x="1350" y="303"/>
                    </a:cubicBezTo>
                    <a:cubicBezTo>
                      <a:pt x="1348" y="303"/>
                      <a:pt x="1344" y="304"/>
                      <a:pt x="1348" y="313"/>
                    </a:cubicBezTo>
                    <a:cubicBezTo>
                      <a:pt x="1344" y="311"/>
                      <a:pt x="1345" y="315"/>
                      <a:pt x="1344" y="316"/>
                    </a:cubicBezTo>
                    <a:cubicBezTo>
                      <a:pt x="1343" y="317"/>
                      <a:pt x="1341" y="316"/>
                      <a:pt x="1340" y="316"/>
                    </a:cubicBezTo>
                    <a:cubicBezTo>
                      <a:pt x="1339" y="317"/>
                      <a:pt x="1340" y="322"/>
                      <a:pt x="1336" y="320"/>
                    </a:cubicBezTo>
                    <a:cubicBezTo>
                      <a:pt x="1337" y="323"/>
                      <a:pt x="1334" y="324"/>
                      <a:pt x="1335" y="328"/>
                    </a:cubicBezTo>
                    <a:cubicBezTo>
                      <a:pt x="1332" y="328"/>
                      <a:pt x="1327" y="327"/>
                      <a:pt x="1327" y="329"/>
                    </a:cubicBezTo>
                    <a:cubicBezTo>
                      <a:pt x="1325" y="329"/>
                      <a:pt x="1328" y="327"/>
                      <a:pt x="1327" y="324"/>
                    </a:cubicBezTo>
                    <a:cubicBezTo>
                      <a:pt x="1327" y="324"/>
                      <a:pt x="1325" y="323"/>
                      <a:pt x="1325" y="322"/>
                    </a:cubicBezTo>
                    <a:cubicBezTo>
                      <a:pt x="1325" y="321"/>
                      <a:pt x="1325" y="319"/>
                      <a:pt x="1325" y="318"/>
                    </a:cubicBezTo>
                    <a:cubicBezTo>
                      <a:pt x="1324" y="317"/>
                      <a:pt x="1323" y="315"/>
                      <a:pt x="1322" y="314"/>
                    </a:cubicBezTo>
                    <a:cubicBezTo>
                      <a:pt x="1321" y="314"/>
                      <a:pt x="1320" y="312"/>
                      <a:pt x="1318" y="313"/>
                    </a:cubicBezTo>
                    <a:cubicBezTo>
                      <a:pt x="1320" y="310"/>
                      <a:pt x="1320" y="305"/>
                      <a:pt x="1320" y="301"/>
                    </a:cubicBezTo>
                    <a:cubicBezTo>
                      <a:pt x="1320" y="298"/>
                      <a:pt x="1318" y="298"/>
                      <a:pt x="1318" y="296"/>
                    </a:cubicBezTo>
                    <a:cubicBezTo>
                      <a:pt x="1317" y="289"/>
                      <a:pt x="1320" y="281"/>
                      <a:pt x="1318" y="275"/>
                    </a:cubicBezTo>
                    <a:cubicBezTo>
                      <a:pt x="1325" y="281"/>
                      <a:pt x="1319" y="272"/>
                      <a:pt x="1322" y="268"/>
                    </a:cubicBezTo>
                    <a:cubicBezTo>
                      <a:pt x="1322" y="267"/>
                      <a:pt x="1324" y="274"/>
                      <a:pt x="1325" y="270"/>
                    </a:cubicBezTo>
                    <a:cubicBezTo>
                      <a:pt x="1325" y="269"/>
                      <a:pt x="1325" y="267"/>
                      <a:pt x="1325" y="266"/>
                    </a:cubicBezTo>
                    <a:cubicBezTo>
                      <a:pt x="1327" y="263"/>
                      <a:pt x="1335" y="258"/>
                      <a:pt x="1336" y="257"/>
                    </a:cubicBezTo>
                    <a:cubicBezTo>
                      <a:pt x="1336" y="257"/>
                      <a:pt x="1340" y="256"/>
                      <a:pt x="1338" y="255"/>
                    </a:cubicBezTo>
                    <a:cubicBezTo>
                      <a:pt x="1336" y="253"/>
                      <a:pt x="1339" y="253"/>
                      <a:pt x="1342" y="253"/>
                    </a:cubicBezTo>
                    <a:cubicBezTo>
                      <a:pt x="1345" y="251"/>
                      <a:pt x="1346" y="248"/>
                      <a:pt x="1346" y="244"/>
                    </a:cubicBezTo>
                    <a:cubicBezTo>
                      <a:pt x="1346" y="243"/>
                      <a:pt x="1352" y="241"/>
                      <a:pt x="1351" y="240"/>
                    </a:cubicBezTo>
                    <a:cubicBezTo>
                      <a:pt x="1351" y="240"/>
                      <a:pt x="1350" y="240"/>
                      <a:pt x="1350" y="240"/>
                    </a:cubicBezTo>
                    <a:cubicBezTo>
                      <a:pt x="1350" y="240"/>
                      <a:pt x="1351" y="236"/>
                      <a:pt x="1351" y="236"/>
                    </a:cubicBezTo>
                    <a:cubicBezTo>
                      <a:pt x="1353" y="236"/>
                      <a:pt x="1356" y="241"/>
                      <a:pt x="1355" y="232"/>
                    </a:cubicBezTo>
                    <a:cubicBezTo>
                      <a:pt x="1358" y="232"/>
                      <a:pt x="1362" y="232"/>
                      <a:pt x="1364" y="231"/>
                    </a:cubicBezTo>
                    <a:cubicBezTo>
                      <a:pt x="1365" y="230"/>
                      <a:pt x="1366" y="227"/>
                      <a:pt x="1366" y="227"/>
                    </a:cubicBezTo>
                    <a:cubicBezTo>
                      <a:pt x="1367" y="226"/>
                      <a:pt x="1369" y="227"/>
                      <a:pt x="1370" y="227"/>
                    </a:cubicBezTo>
                    <a:cubicBezTo>
                      <a:pt x="1371" y="226"/>
                      <a:pt x="1373" y="224"/>
                      <a:pt x="1374" y="223"/>
                    </a:cubicBezTo>
                    <a:cubicBezTo>
                      <a:pt x="1375" y="222"/>
                      <a:pt x="1375" y="223"/>
                      <a:pt x="1376" y="221"/>
                    </a:cubicBezTo>
                    <a:cubicBezTo>
                      <a:pt x="1376" y="219"/>
                      <a:pt x="1378" y="214"/>
                      <a:pt x="1381" y="218"/>
                    </a:cubicBezTo>
                    <a:cubicBezTo>
                      <a:pt x="1381" y="214"/>
                      <a:pt x="1381" y="211"/>
                      <a:pt x="1381" y="208"/>
                    </a:cubicBezTo>
                    <a:cubicBezTo>
                      <a:pt x="1377" y="208"/>
                      <a:pt x="1374" y="209"/>
                      <a:pt x="1372" y="210"/>
                    </a:cubicBezTo>
                    <a:cubicBezTo>
                      <a:pt x="1371" y="211"/>
                      <a:pt x="1369" y="213"/>
                      <a:pt x="1368" y="214"/>
                    </a:cubicBezTo>
                    <a:cubicBezTo>
                      <a:pt x="1367" y="215"/>
                      <a:pt x="1366" y="214"/>
                      <a:pt x="1366" y="216"/>
                    </a:cubicBezTo>
                    <a:cubicBezTo>
                      <a:pt x="1366" y="219"/>
                      <a:pt x="1359" y="218"/>
                      <a:pt x="1359" y="223"/>
                    </a:cubicBezTo>
                    <a:cubicBezTo>
                      <a:pt x="1355" y="223"/>
                      <a:pt x="1353" y="224"/>
                      <a:pt x="1353" y="227"/>
                    </a:cubicBezTo>
                    <a:cubicBezTo>
                      <a:pt x="1351" y="227"/>
                      <a:pt x="1352" y="224"/>
                      <a:pt x="1351" y="223"/>
                    </a:cubicBezTo>
                    <a:cubicBezTo>
                      <a:pt x="1351" y="223"/>
                      <a:pt x="1348" y="224"/>
                      <a:pt x="1348" y="223"/>
                    </a:cubicBezTo>
                    <a:cubicBezTo>
                      <a:pt x="1347" y="222"/>
                      <a:pt x="1348" y="219"/>
                      <a:pt x="1348" y="218"/>
                    </a:cubicBezTo>
                    <a:cubicBezTo>
                      <a:pt x="1340" y="219"/>
                      <a:pt x="1335" y="216"/>
                      <a:pt x="1329" y="218"/>
                    </a:cubicBezTo>
                    <a:cubicBezTo>
                      <a:pt x="1327" y="218"/>
                      <a:pt x="1329" y="220"/>
                      <a:pt x="1327" y="221"/>
                    </a:cubicBezTo>
                    <a:cubicBezTo>
                      <a:pt x="1325" y="223"/>
                      <a:pt x="1322" y="222"/>
                      <a:pt x="1320" y="223"/>
                    </a:cubicBezTo>
                    <a:cubicBezTo>
                      <a:pt x="1316" y="225"/>
                      <a:pt x="1316" y="226"/>
                      <a:pt x="1314" y="229"/>
                    </a:cubicBezTo>
                    <a:cubicBezTo>
                      <a:pt x="1313" y="230"/>
                      <a:pt x="1312" y="233"/>
                      <a:pt x="1308" y="232"/>
                    </a:cubicBezTo>
                    <a:cubicBezTo>
                      <a:pt x="1307" y="238"/>
                      <a:pt x="1311" y="237"/>
                      <a:pt x="1310" y="242"/>
                    </a:cubicBezTo>
                    <a:cubicBezTo>
                      <a:pt x="1308" y="243"/>
                      <a:pt x="1307" y="244"/>
                      <a:pt x="1307" y="247"/>
                    </a:cubicBezTo>
                    <a:cubicBezTo>
                      <a:pt x="1299" y="246"/>
                      <a:pt x="1297" y="250"/>
                      <a:pt x="1290" y="249"/>
                    </a:cubicBezTo>
                    <a:cubicBezTo>
                      <a:pt x="1288" y="247"/>
                      <a:pt x="1289" y="246"/>
                      <a:pt x="1290" y="244"/>
                    </a:cubicBezTo>
                    <a:cubicBezTo>
                      <a:pt x="1287" y="244"/>
                      <a:pt x="1286" y="242"/>
                      <a:pt x="1286" y="240"/>
                    </a:cubicBezTo>
                    <a:cubicBezTo>
                      <a:pt x="1283" y="240"/>
                      <a:pt x="1279" y="241"/>
                      <a:pt x="1279" y="238"/>
                    </a:cubicBezTo>
                    <a:cubicBezTo>
                      <a:pt x="1270" y="243"/>
                      <a:pt x="1259" y="246"/>
                      <a:pt x="1247" y="247"/>
                    </a:cubicBezTo>
                    <a:cubicBezTo>
                      <a:pt x="1246" y="244"/>
                      <a:pt x="1241" y="246"/>
                      <a:pt x="1243" y="240"/>
                    </a:cubicBezTo>
                    <a:cubicBezTo>
                      <a:pt x="1241" y="240"/>
                      <a:pt x="1238" y="240"/>
                      <a:pt x="1236" y="240"/>
                    </a:cubicBezTo>
                    <a:cubicBezTo>
                      <a:pt x="1228" y="242"/>
                      <a:pt x="1222" y="244"/>
                      <a:pt x="1215" y="247"/>
                    </a:cubicBezTo>
                    <a:cubicBezTo>
                      <a:pt x="1210" y="250"/>
                      <a:pt x="1206" y="255"/>
                      <a:pt x="1200" y="257"/>
                    </a:cubicBezTo>
                    <a:cubicBezTo>
                      <a:pt x="1201" y="260"/>
                      <a:pt x="1200" y="263"/>
                      <a:pt x="1197" y="262"/>
                    </a:cubicBezTo>
                    <a:cubicBezTo>
                      <a:pt x="1198" y="268"/>
                      <a:pt x="1194" y="267"/>
                      <a:pt x="1195" y="272"/>
                    </a:cubicBezTo>
                    <a:cubicBezTo>
                      <a:pt x="1191" y="268"/>
                      <a:pt x="1187" y="279"/>
                      <a:pt x="1185" y="277"/>
                    </a:cubicBezTo>
                    <a:cubicBezTo>
                      <a:pt x="1182" y="274"/>
                      <a:pt x="1185" y="279"/>
                      <a:pt x="1180" y="279"/>
                    </a:cubicBezTo>
                    <a:cubicBezTo>
                      <a:pt x="1177" y="279"/>
                      <a:pt x="1176" y="280"/>
                      <a:pt x="1176" y="283"/>
                    </a:cubicBezTo>
                    <a:cubicBezTo>
                      <a:pt x="1167" y="280"/>
                      <a:pt x="1170" y="289"/>
                      <a:pt x="1163" y="288"/>
                    </a:cubicBezTo>
                    <a:cubicBezTo>
                      <a:pt x="1164" y="290"/>
                      <a:pt x="1169" y="298"/>
                      <a:pt x="1171" y="294"/>
                    </a:cubicBezTo>
                    <a:cubicBezTo>
                      <a:pt x="1173" y="295"/>
                      <a:pt x="1172" y="299"/>
                      <a:pt x="1172" y="301"/>
                    </a:cubicBezTo>
                    <a:cubicBezTo>
                      <a:pt x="1175" y="300"/>
                      <a:pt x="1178" y="303"/>
                      <a:pt x="1178" y="303"/>
                    </a:cubicBezTo>
                    <a:cubicBezTo>
                      <a:pt x="1180" y="303"/>
                      <a:pt x="1182" y="301"/>
                      <a:pt x="1185" y="301"/>
                    </a:cubicBezTo>
                    <a:cubicBezTo>
                      <a:pt x="1186" y="302"/>
                      <a:pt x="1188" y="303"/>
                      <a:pt x="1187" y="303"/>
                    </a:cubicBezTo>
                    <a:cubicBezTo>
                      <a:pt x="1190" y="303"/>
                      <a:pt x="1192" y="298"/>
                      <a:pt x="1193" y="301"/>
                    </a:cubicBezTo>
                    <a:cubicBezTo>
                      <a:pt x="1195" y="301"/>
                      <a:pt x="1194" y="299"/>
                      <a:pt x="1195" y="298"/>
                    </a:cubicBezTo>
                    <a:cubicBezTo>
                      <a:pt x="1198" y="299"/>
                      <a:pt x="1198" y="312"/>
                      <a:pt x="1202" y="305"/>
                    </a:cubicBezTo>
                    <a:cubicBezTo>
                      <a:pt x="1207" y="304"/>
                      <a:pt x="1201" y="314"/>
                      <a:pt x="1208" y="311"/>
                    </a:cubicBezTo>
                    <a:cubicBezTo>
                      <a:pt x="1208" y="313"/>
                      <a:pt x="1205" y="312"/>
                      <a:pt x="1204" y="313"/>
                    </a:cubicBezTo>
                    <a:cubicBezTo>
                      <a:pt x="1204" y="313"/>
                      <a:pt x="1207" y="318"/>
                      <a:pt x="1206" y="320"/>
                    </a:cubicBezTo>
                    <a:cubicBezTo>
                      <a:pt x="1206" y="321"/>
                      <a:pt x="1204" y="320"/>
                      <a:pt x="1204" y="322"/>
                    </a:cubicBezTo>
                    <a:cubicBezTo>
                      <a:pt x="1204" y="323"/>
                      <a:pt x="1202" y="324"/>
                      <a:pt x="1202" y="326"/>
                    </a:cubicBezTo>
                    <a:cubicBezTo>
                      <a:pt x="1201" y="332"/>
                      <a:pt x="1205" y="342"/>
                      <a:pt x="1199" y="337"/>
                    </a:cubicBezTo>
                    <a:cubicBezTo>
                      <a:pt x="1200" y="353"/>
                      <a:pt x="1193" y="361"/>
                      <a:pt x="1189" y="372"/>
                    </a:cubicBezTo>
                    <a:cubicBezTo>
                      <a:pt x="1187" y="374"/>
                      <a:pt x="1186" y="373"/>
                      <a:pt x="1184" y="372"/>
                    </a:cubicBezTo>
                    <a:cubicBezTo>
                      <a:pt x="1183" y="374"/>
                      <a:pt x="1184" y="376"/>
                      <a:pt x="1184" y="378"/>
                    </a:cubicBezTo>
                    <a:cubicBezTo>
                      <a:pt x="1183" y="380"/>
                      <a:pt x="1180" y="378"/>
                      <a:pt x="1178" y="380"/>
                    </a:cubicBezTo>
                    <a:cubicBezTo>
                      <a:pt x="1177" y="380"/>
                      <a:pt x="1179" y="383"/>
                      <a:pt x="1178" y="383"/>
                    </a:cubicBezTo>
                    <a:cubicBezTo>
                      <a:pt x="1177" y="384"/>
                      <a:pt x="1175" y="383"/>
                      <a:pt x="1174" y="383"/>
                    </a:cubicBezTo>
                    <a:cubicBezTo>
                      <a:pt x="1173" y="385"/>
                      <a:pt x="1176" y="386"/>
                      <a:pt x="1176" y="385"/>
                    </a:cubicBezTo>
                    <a:cubicBezTo>
                      <a:pt x="1175" y="387"/>
                      <a:pt x="1172" y="387"/>
                      <a:pt x="1171" y="389"/>
                    </a:cubicBezTo>
                    <a:cubicBezTo>
                      <a:pt x="1170" y="390"/>
                      <a:pt x="1170" y="393"/>
                      <a:pt x="1169" y="395"/>
                    </a:cubicBezTo>
                    <a:cubicBezTo>
                      <a:pt x="1167" y="396"/>
                      <a:pt x="1165" y="395"/>
                      <a:pt x="1163" y="396"/>
                    </a:cubicBezTo>
                    <a:cubicBezTo>
                      <a:pt x="1161" y="398"/>
                      <a:pt x="1163" y="400"/>
                      <a:pt x="1161" y="402"/>
                    </a:cubicBezTo>
                    <a:cubicBezTo>
                      <a:pt x="1161" y="403"/>
                      <a:pt x="1158" y="401"/>
                      <a:pt x="1158" y="402"/>
                    </a:cubicBezTo>
                    <a:cubicBezTo>
                      <a:pt x="1157" y="402"/>
                      <a:pt x="1157" y="407"/>
                      <a:pt x="1156" y="406"/>
                    </a:cubicBezTo>
                    <a:cubicBezTo>
                      <a:pt x="1154" y="404"/>
                      <a:pt x="1152" y="404"/>
                      <a:pt x="1152" y="410"/>
                    </a:cubicBezTo>
                    <a:cubicBezTo>
                      <a:pt x="1143" y="411"/>
                      <a:pt x="1143" y="410"/>
                      <a:pt x="1133" y="410"/>
                    </a:cubicBezTo>
                    <a:cubicBezTo>
                      <a:pt x="1133" y="411"/>
                      <a:pt x="1126" y="414"/>
                      <a:pt x="1130" y="415"/>
                    </a:cubicBezTo>
                    <a:cubicBezTo>
                      <a:pt x="1131" y="419"/>
                      <a:pt x="1117" y="416"/>
                      <a:pt x="1124" y="419"/>
                    </a:cubicBezTo>
                    <a:cubicBezTo>
                      <a:pt x="1123" y="421"/>
                      <a:pt x="1120" y="421"/>
                      <a:pt x="1120" y="419"/>
                    </a:cubicBezTo>
                    <a:cubicBezTo>
                      <a:pt x="1115" y="423"/>
                      <a:pt x="1118" y="427"/>
                      <a:pt x="1118" y="434"/>
                    </a:cubicBezTo>
                    <a:cubicBezTo>
                      <a:pt x="1113" y="435"/>
                      <a:pt x="1115" y="435"/>
                      <a:pt x="1109" y="434"/>
                    </a:cubicBezTo>
                    <a:cubicBezTo>
                      <a:pt x="1111" y="436"/>
                      <a:pt x="1111" y="438"/>
                      <a:pt x="1107" y="438"/>
                    </a:cubicBezTo>
                    <a:cubicBezTo>
                      <a:pt x="1107" y="441"/>
                      <a:pt x="1109" y="457"/>
                      <a:pt x="1111" y="452"/>
                    </a:cubicBezTo>
                    <a:cubicBezTo>
                      <a:pt x="1115" y="452"/>
                      <a:pt x="1111" y="467"/>
                      <a:pt x="1117" y="467"/>
                    </a:cubicBezTo>
                    <a:cubicBezTo>
                      <a:pt x="1121" y="468"/>
                      <a:pt x="1115" y="473"/>
                      <a:pt x="1120" y="475"/>
                    </a:cubicBezTo>
                    <a:cubicBezTo>
                      <a:pt x="1119" y="475"/>
                      <a:pt x="1119" y="478"/>
                      <a:pt x="1118" y="479"/>
                    </a:cubicBezTo>
                    <a:cubicBezTo>
                      <a:pt x="1116" y="479"/>
                      <a:pt x="1114" y="477"/>
                      <a:pt x="1115" y="477"/>
                    </a:cubicBezTo>
                    <a:cubicBezTo>
                      <a:pt x="1113" y="478"/>
                      <a:pt x="1114" y="479"/>
                      <a:pt x="1113" y="480"/>
                    </a:cubicBezTo>
                    <a:cubicBezTo>
                      <a:pt x="1112" y="481"/>
                      <a:pt x="1109" y="480"/>
                      <a:pt x="1107" y="480"/>
                    </a:cubicBezTo>
                    <a:cubicBezTo>
                      <a:pt x="1103" y="482"/>
                      <a:pt x="1098" y="486"/>
                      <a:pt x="1094" y="482"/>
                    </a:cubicBezTo>
                    <a:cubicBezTo>
                      <a:pt x="1093" y="478"/>
                      <a:pt x="1096" y="477"/>
                      <a:pt x="1096" y="475"/>
                    </a:cubicBezTo>
                    <a:cubicBezTo>
                      <a:pt x="1097" y="471"/>
                      <a:pt x="1094" y="465"/>
                      <a:pt x="1098" y="464"/>
                    </a:cubicBezTo>
                    <a:cubicBezTo>
                      <a:pt x="1097" y="461"/>
                      <a:pt x="1092" y="462"/>
                      <a:pt x="1094" y="456"/>
                    </a:cubicBezTo>
                    <a:cubicBezTo>
                      <a:pt x="1090" y="454"/>
                      <a:pt x="1087" y="457"/>
                      <a:pt x="1083" y="452"/>
                    </a:cubicBezTo>
                    <a:cubicBezTo>
                      <a:pt x="1082" y="447"/>
                      <a:pt x="1089" y="450"/>
                      <a:pt x="1087" y="443"/>
                    </a:cubicBezTo>
                    <a:cubicBezTo>
                      <a:pt x="1086" y="441"/>
                      <a:pt x="1085" y="442"/>
                      <a:pt x="1085" y="443"/>
                    </a:cubicBezTo>
                    <a:cubicBezTo>
                      <a:pt x="1082" y="443"/>
                      <a:pt x="1082" y="441"/>
                      <a:pt x="1081" y="439"/>
                    </a:cubicBezTo>
                    <a:cubicBezTo>
                      <a:pt x="1080" y="438"/>
                      <a:pt x="1078" y="438"/>
                      <a:pt x="1077" y="436"/>
                    </a:cubicBezTo>
                    <a:cubicBezTo>
                      <a:pt x="1076" y="437"/>
                      <a:pt x="1074" y="438"/>
                      <a:pt x="1072" y="438"/>
                    </a:cubicBezTo>
                    <a:cubicBezTo>
                      <a:pt x="1070" y="438"/>
                      <a:pt x="1071" y="439"/>
                      <a:pt x="1072" y="439"/>
                    </a:cubicBezTo>
                    <a:cubicBezTo>
                      <a:pt x="1072" y="445"/>
                      <a:pt x="1067" y="435"/>
                      <a:pt x="1068" y="443"/>
                    </a:cubicBezTo>
                    <a:cubicBezTo>
                      <a:pt x="1063" y="439"/>
                      <a:pt x="1063" y="447"/>
                      <a:pt x="1057" y="443"/>
                    </a:cubicBezTo>
                    <a:cubicBezTo>
                      <a:pt x="1062" y="439"/>
                      <a:pt x="1057" y="436"/>
                      <a:pt x="1062" y="432"/>
                    </a:cubicBezTo>
                    <a:cubicBezTo>
                      <a:pt x="1066" y="430"/>
                      <a:pt x="1053" y="431"/>
                      <a:pt x="1053" y="434"/>
                    </a:cubicBezTo>
                    <a:cubicBezTo>
                      <a:pt x="1053" y="438"/>
                      <a:pt x="1050" y="432"/>
                      <a:pt x="1051" y="432"/>
                    </a:cubicBezTo>
                    <a:cubicBezTo>
                      <a:pt x="1048" y="433"/>
                      <a:pt x="1049" y="437"/>
                      <a:pt x="1046" y="438"/>
                    </a:cubicBezTo>
                    <a:cubicBezTo>
                      <a:pt x="1045" y="438"/>
                      <a:pt x="1041" y="440"/>
                      <a:pt x="1040" y="441"/>
                    </a:cubicBezTo>
                    <a:cubicBezTo>
                      <a:pt x="1039" y="442"/>
                      <a:pt x="1038" y="443"/>
                      <a:pt x="1038" y="445"/>
                    </a:cubicBezTo>
                    <a:cubicBezTo>
                      <a:pt x="1031" y="444"/>
                      <a:pt x="1033" y="444"/>
                      <a:pt x="1025" y="445"/>
                    </a:cubicBezTo>
                    <a:cubicBezTo>
                      <a:pt x="1027" y="445"/>
                      <a:pt x="1026" y="450"/>
                      <a:pt x="1027" y="451"/>
                    </a:cubicBezTo>
                    <a:cubicBezTo>
                      <a:pt x="1028" y="451"/>
                      <a:pt x="1031" y="450"/>
                      <a:pt x="1033" y="451"/>
                    </a:cubicBezTo>
                    <a:cubicBezTo>
                      <a:pt x="1033" y="451"/>
                      <a:pt x="1032" y="454"/>
                      <a:pt x="1033" y="454"/>
                    </a:cubicBezTo>
                    <a:cubicBezTo>
                      <a:pt x="1033" y="455"/>
                      <a:pt x="1037" y="454"/>
                      <a:pt x="1038" y="454"/>
                    </a:cubicBezTo>
                    <a:cubicBezTo>
                      <a:pt x="1039" y="455"/>
                      <a:pt x="1038" y="458"/>
                      <a:pt x="1038" y="458"/>
                    </a:cubicBezTo>
                    <a:cubicBezTo>
                      <a:pt x="1040" y="459"/>
                      <a:pt x="1043" y="458"/>
                      <a:pt x="1044" y="460"/>
                    </a:cubicBezTo>
                    <a:cubicBezTo>
                      <a:pt x="1046" y="459"/>
                      <a:pt x="1045" y="456"/>
                      <a:pt x="1048" y="456"/>
                    </a:cubicBezTo>
                    <a:cubicBezTo>
                      <a:pt x="1055" y="455"/>
                      <a:pt x="1061" y="457"/>
                      <a:pt x="1061" y="464"/>
                    </a:cubicBezTo>
                    <a:cubicBezTo>
                      <a:pt x="1058" y="466"/>
                      <a:pt x="1054" y="466"/>
                      <a:pt x="1051" y="464"/>
                    </a:cubicBezTo>
                    <a:cubicBezTo>
                      <a:pt x="1050" y="466"/>
                      <a:pt x="1049" y="469"/>
                      <a:pt x="1049" y="473"/>
                    </a:cubicBezTo>
                    <a:cubicBezTo>
                      <a:pt x="1046" y="472"/>
                      <a:pt x="1046" y="475"/>
                      <a:pt x="1048" y="475"/>
                    </a:cubicBezTo>
                    <a:cubicBezTo>
                      <a:pt x="1047" y="477"/>
                      <a:pt x="1043" y="476"/>
                      <a:pt x="1040" y="477"/>
                    </a:cubicBezTo>
                    <a:cubicBezTo>
                      <a:pt x="1043" y="483"/>
                      <a:pt x="1049" y="486"/>
                      <a:pt x="1049" y="495"/>
                    </a:cubicBezTo>
                    <a:cubicBezTo>
                      <a:pt x="1054" y="490"/>
                      <a:pt x="1051" y="494"/>
                      <a:pt x="1055" y="497"/>
                    </a:cubicBezTo>
                    <a:cubicBezTo>
                      <a:pt x="1054" y="504"/>
                      <a:pt x="1057" y="514"/>
                      <a:pt x="1053" y="518"/>
                    </a:cubicBezTo>
                    <a:cubicBezTo>
                      <a:pt x="1056" y="522"/>
                      <a:pt x="1058" y="528"/>
                      <a:pt x="1057" y="536"/>
                    </a:cubicBezTo>
                    <a:cubicBezTo>
                      <a:pt x="1051" y="532"/>
                      <a:pt x="1054" y="545"/>
                      <a:pt x="1051" y="542"/>
                    </a:cubicBezTo>
                    <a:cubicBezTo>
                      <a:pt x="1049" y="539"/>
                      <a:pt x="1051" y="542"/>
                      <a:pt x="1049" y="544"/>
                    </a:cubicBezTo>
                    <a:cubicBezTo>
                      <a:pt x="1048" y="545"/>
                      <a:pt x="1044" y="545"/>
                      <a:pt x="1046" y="551"/>
                    </a:cubicBezTo>
                    <a:cubicBezTo>
                      <a:pt x="1040" y="549"/>
                      <a:pt x="1044" y="557"/>
                      <a:pt x="1038" y="555"/>
                    </a:cubicBezTo>
                    <a:cubicBezTo>
                      <a:pt x="1043" y="559"/>
                      <a:pt x="1030" y="562"/>
                      <a:pt x="1033" y="564"/>
                    </a:cubicBezTo>
                    <a:cubicBezTo>
                      <a:pt x="1036" y="567"/>
                      <a:pt x="1032" y="565"/>
                      <a:pt x="1029" y="568"/>
                    </a:cubicBezTo>
                    <a:cubicBezTo>
                      <a:pt x="1028" y="569"/>
                      <a:pt x="1028" y="572"/>
                      <a:pt x="1027" y="574"/>
                    </a:cubicBezTo>
                    <a:cubicBezTo>
                      <a:pt x="1027" y="574"/>
                      <a:pt x="1024" y="573"/>
                      <a:pt x="1023" y="574"/>
                    </a:cubicBezTo>
                    <a:cubicBezTo>
                      <a:pt x="1023" y="574"/>
                      <a:pt x="1024" y="577"/>
                      <a:pt x="1023" y="577"/>
                    </a:cubicBezTo>
                    <a:cubicBezTo>
                      <a:pt x="1022" y="579"/>
                      <a:pt x="1016" y="576"/>
                      <a:pt x="1018" y="581"/>
                    </a:cubicBezTo>
                    <a:cubicBezTo>
                      <a:pt x="1006" y="582"/>
                      <a:pt x="1008" y="583"/>
                      <a:pt x="995" y="581"/>
                    </a:cubicBezTo>
                    <a:cubicBezTo>
                      <a:pt x="993" y="581"/>
                      <a:pt x="994" y="584"/>
                      <a:pt x="993" y="587"/>
                    </a:cubicBezTo>
                    <a:cubicBezTo>
                      <a:pt x="989" y="583"/>
                      <a:pt x="983" y="591"/>
                      <a:pt x="982" y="590"/>
                    </a:cubicBezTo>
                    <a:cubicBezTo>
                      <a:pt x="979" y="587"/>
                      <a:pt x="982" y="592"/>
                      <a:pt x="975" y="592"/>
                    </a:cubicBezTo>
                    <a:cubicBezTo>
                      <a:pt x="972" y="593"/>
                      <a:pt x="976" y="595"/>
                      <a:pt x="973" y="596"/>
                    </a:cubicBezTo>
                    <a:cubicBezTo>
                      <a:pt x="969" y="600"/>
                      <a:pt x="967" y="593"/>
                      <a:pt x="962" y="592"/>
                    </a:cubicBezTo>
                    <a:cubicBezTo>
                      <a:pt x="956" y="591"/>
                      <a:pt x="955" y="594"/>
                      <a:pt x="951" y="594"/>
                    </a:cubicBezTo>
                    <a:cubicBezTo>
                      <a:pt x="948" y="595"/>
                      <a:pt x="947" y="598"/>
                      <a:pt x="947" y="602"/>
                    </a:cubicBezTo>
                    <a:cubicBezTo>
                      <a:pt x="941" y="600"/>
                      <a:pt x="941" y="604"/>
                      <a:pt x="938" y="605"/>
                    </a:cubicBezTo>
                    <a:cubicBezTo>
                      <a:pt x="936" y="610"/>
                      <a:pt x="941" y="609"/>
                      <a:pt x="941" y="613"/>
                    </a:cubicBezTo>
                    <a:cubicBezTo>
                      <a:pt x="941" y="615"/>
                      <a:pt x="941" y="616"/>
                      <a:pt x="943" y="616"/>
                    </a:cubicBezTo>
                    <a:cubicBezTo>
                      <a:pt x="946" y="617"/>
                      <a:pt x="944" y="619"/>
                      <a:pt x="945" y="620"/>
                    </a:cubicBezTo>
                    <a:cubicBezTo>
                      <a:pt x="946" y="622"/>
                      <a:pt x="949" y="621"/>
                      <a:pt x="951" y="622"/>
                    </a:cubicBezTo>
                    <a:cubicBezTo>
                      <a:pt x="951" y="622"/>
                      <a:pt x="950" y="625"/>
                      <a:pt x="951" y="626"/>
                    </a:cubicBezTo>
                    <a:cubicBezTo>
                      <a:pt x="951" y="626"/>
                      <a:pt x="954" y="625"/>
                      <a:pt x="954" y="626"/>
                    </a:cubicBezTo>
                    <a:cubicBezTo>
                      <a:pt x="956" y="627"/>
                      <a:pt x="956" y="632"/>
                      <a:pt x="958" y="635"/>
                    </a:cubicBezTo>
                    <a:cubicBezTo>
                      <a:pt x="959" y="637"/>
                      <a:pt x="964" y="641"/>
                      <a:pt x="964" y="641"/>
                    </a:cubicBezTo>
                    <a:cubicBezTo>
                      <a:pt x="964" y="643"/>
                      <a:pt x="963" y="646"/>
                      <a:pt x="964" y="648"/>
                    </a:cubicBezTo>
                    <a:cubicBezTo>
                      <a:pt x="964" y="651"/>
                      <a:pt x="966" y="652"/>
                      <a:pt x="965" y="656"/>
                    </a:cubicBezTo>
                    <a:cubicBezTo>
                      <a:pt x="965" y="659"/>
                      <a:pt x="964" y="659"/>
                      <a:pt x="964" y="661"/>
                    </a:cubicBezTo>
                    <a:cubicBezTo>
                      <a:pt x="963" y="665"/>
                      <a:pt x="965" y="668"/>
                      <a:pt x="960" y="665"/>
                    </a:cubicBezTo>
                    <a:cubicBezTo>
                      <a:pt x="963" y="672"/>
                      <a:pt x="955" y="668"/>
                      <a:pt x="956" y="674"/>
                    </a:cubicBezTo>
                    <a:cubicBezTo>
                      <a:pt x="949" y="672"/>
                      <a:pt x="950" y="678"/>
                      <a:pt x="945" y="678"/>
                    </a:cubicBezTo>
                    <a:cubicBezTo>
                      <a:pt x="943" y="677"/>
                      <a:pt x="944" y="681"/>
                      <a:pt x="943" y="682"/>
                    </a:cubicBezTo>
                    <a:cubicBezTo>
                      <a:pt x="943" y="682"/>
                      <a:pt x="938" y="682"/>
                      <a:pt x="939" y="684"/>
                    </a:cubicBezTo>
                    <a:cubicBezTo>
                      <a:pt x="941" y="685"/>
                      <a:pt x="941" y="684"/>
                      <a:pt x="939" y="685"/>
                    </a:cubicBezTo>
                    <a:cubicBezTo>
                      <a:pt x="938" y="687"/>
                      <a:pt x="937" y="689"/>
                      <a:pt x="934" y="689"/>
                    </a:cubicBezTo>
                    <a:cubicBezTo>
                      <a:pt x="936" y="680"/>
                      <a:pt x="930" y="688"/>
                      <a:pt x="930" y="684"/>
                    </a:cubicBezTo>
                    <a:cubicBezTo>
                      <a:pt x="930" y="682"/>
                      <a:pt x="929" y="678"/>
                      <a:pt x="926" y="676"/>
                    </a:cubicBezTo>
                    <a:cubicBezTo>
                      <a:pt x="926" y="675"/>
                      <a:pt x="923" y="677"/>
                      <a:pt x="923" y="676"/>
                    </a:cubicBezTo>
                    <a:cubicBezTo>
                      <a:pt x="922" y="675"/>
                      <a:pt x="923" y="673"/>
                      <a:pt x="923" y="672"/>
                    </a:cubicBezTo>
                    <a:cubicBezTo>
                      <a:pt x="921" y="671"/>
                      <a:pt x="916" y="672"/>
                      <a:pt x="915" y="670"/>
                    </a:cubicBezTo>
                    <a:cubicBezTo>
                      <a:pt x="915" y="670"/>
                      <a:pt x="916" y="667"/>
                      <a:pt x="915" y="667"/>
                    </a:cubicBezTo>
                    <a:cubicBezTo>
                      <a:pt x="914" y="666"/>
                      <a:pt x="911" y="667"/>
                      <a:pt x="910" y="667"/>
                    </a:cubicBezTo>
                    <a:cubicBezTo>
                      <a:pt x="908" y="667"/>
                      <a:pt x="909" y="662"/>
                      <a:pt x="908" y="661"/>
                    </a:cubicBezTo>
                    <a:cubicBezTo>
                      <a:pt x="907" y="661"/>
                      <a:pt x="905" y="662"/>
                      <a:pt x="906" y="663"/>
                    </a:cubicBezTo>
                    <a:cubicBezTo>
                      <a:pt x="902" y="659"/>
                      <a:pt x="904" y="659"/>
                      <a:pt x="900" y="656"/>
                    </a:cubicBezTo>
                    <a:cubicBezTo>
                      <a:pt x="895" y="653"/>
                      <a:pt x="896" y="662"/>
                      <a:pt x="895" y="665"/>
                    </a:cubicBezTo>
                    <a:cubicBezTo>
                      <a:pt x="894" y="666"/>
                      <a:pt x="891" y="666"/>
                      <a:pt x="891" y="667"/>
                    </a:cubicBezTo>
                    <a:cubicBezTo>
                      <a:pt x="890" y="670"/>
                      <a:pt x="892" y="675"/>
                      <a:pt x="889" y="678"/>
                    </a:cubicBezTo>
                    <a:cubicBezTo>
                      <a:pt x="890" y="679"/>
                      <a:pt x="891" y="681"/>
                      <a:pt x="891" y="684"/>
                    </a:cubicBezTo>
                    <a:cubicBezTo>
                      <a:pt x="892" y="686"/>
                      <a:pt x="894" y="688"/>
                      <a:pt x="895" y="685"/>
                    </a:cubicBezTo>
                    <a:cubicBezTo>
                      <a:pt x="899" y="690"/>
                      <a:pt x="897" y="692"/>
                      <a:pt x="897" y="698"/>
                    </a:cubicBezTo>
                    <a:cubicBezTo>
                      <a:pt x="897" y="700"/>
                      <a:pt x="898" y="700"/>
                      <a:pt x="898" y="702"/>
                    </a:cubicBezTo>
                    <a:cubicBezTo>
                      <a:pt x="900" y="703"/>
                      <a:pt x="901" y="705"/>
                      <a:pt x="902" y="706"/>
                    </a:cubicBezTo>
                    <a:cubicBezTo>
                      <a:pt x="905" y="708"/>
                      <a:pt x="908" y="709"/>
                      <a:pt x="911" y="711"/>
                    </a:cubicBezTo>
                    <a:cubicBezTo>
                      <a:pt x="913" y="712"/>
                      <a:pt x="911" y="713"/>
                      <a:pt x="913" y="713"/>
                    </a:cubicBezTo>
                    <a:cubicBezTo>
                      <a:pt x="915" y="713"/>
                      <a:pt x="915" y="716"/>
                      <a:pt x="915" y="717"/>
                    </a:cubicBezTo>
                    <a:cubicBezTo>
                      <a:pt x="916" y="719"/>
                      <a:pt x="918" y="717"/>
                      <a:pt x="919" y="719"/>
                    </a:cubicBezTo>
                    <a:cubicBezTo>
                      <a:pt x="920" y="721"/>
                      <a:pt x="918" y="724"/>
                      <a:pt x="919" y="726"/>
                    </a:cubicBezTo>
                    <a:cubicBezTo>
                      <a:pt x="919" y="727"/>
                      <a:pt x="923" y="730"/>
                      <a:pt x="923" y="730"/>
                    </a:cubicBezTo>
                    <a:cubicBezTo>
                      <a:pt x="923" y="732"/>
                      <a:pt x="918" y="737"/>
                      <a:pt x="925" y="738"/>
                    </a:cubicBezTo>
                    <a:cubicBezTo>
                      <a:pt x="924" y="742"/>
                      <a:pt x="920" y="740"/>
                      <a:pt x="917" y="739"/>
                    </a:cubicBezTo>
                    <a:cubicBezTo>
                      <a:pt x="914" y="739"/>
                      <a:pt x="909" y="739"/>
                      <a:pt x="908" y="738"/>
                    </a:cubicBezTo>
                    <a:cubicBezTo>
                      <a:pt x="908" y="738"/>
                      <a:pt x="910" y="729"/>
                      <a:pt x="906" y="736"/>
                    </a:cubicBezTo>
                    <a:cubicBezTo>
                      <a:pt x="902" y="734"/>
                      <a:pt x="904" y="729"/>
                      <a:pt x="902" y="726"/>
                    </a:cubicBezTo>
                    <a:cubicBezTo>
                      <a:pt x="901" y="724"/>
                      <a:pt x="899" y="724"/>
                      <a:pt x="897" y="721"/>
                    </a:cubicBezTo>
                    <a:cubicBezTo>
                      <a:pt x="896" y="718"/>
                      <a:pt x="896" y="716"/>
                      <a:pt x="898" y="715"/>
                    </a:cubicBezTo>
                    <a:cubicBezTo>
                      <a:pt x="895" y="712"/>
                      <a:pt x="894" y="706"/>
                      <a:pt x="889" y="704"/>
                    </a:cubicBezTo>
                    <a:cubicBezTo>
                      <a:pt x="889" y="701"/>
                      <a:pt x="886" y="699"/>
                      <a:pt x="889" y="698"/>
                    </a:cubicBezTo>
                    <a:cubicBezTo>
                      <a:pt x="888" y="697"/>
                      <a:pt x="886" y="696"/>
                      <a:pt x="883" y="695"/>
                    </a:cubicBezTo>
                    <a:cubicBezTo>
                      <a:pt x="884" y="692"/>
                      <a:pt x="884" y="689"/>
                      <a:pt x="882" y="689"/>
                    </a:cubicBezTo>
                    <a:cubicBezTo>
                      <a:pt x="881" y="685"/>
                      <a:pt x="883" y="684"/>
                      <a:pt x="883" y="682"/>
                    </a:cubicBezTo>
                    <a:cubicBezTo>
                      <a:pt x="884" y="678"/>
                      <a:pt x="882" y="677"/>
                      <a:pt x="880" y="676"/>
                    </a:cubicBezTo>
                    <a:cubicBezTo>
                      <a:pt x="881" y="674"/>
                      <a:pt x="882" y="673"/>
                      <a:pt x="880" y="672"/>
                    </a:cubicBezTo>
                    <a:cubicBezTo>
                      <a:pt x="880" y="670"/>
                      <a:pt x="884" y="671"/>
                      <a:pt x="887" y="670"/>
                    </a:cubicBezTo>
                    <a:cubicBezTo>
                      <a:pt x="887" y="669"/>
                      <a:pt x="885" y="669"/>
                      <a:pt x="885" y="667"/>
                    </a:cubicBezTo>
                    <a:cubicBezTo>
                      <a:pt x="885" y="665"/>
                      <a:pt x="888" y="665"/>
                      <a:pt x="887" y="663"/>
                    </a:cubicBezTo>
                    <a:cubicBezTo>
                      <a:pt x="887" y="660"/>
                      <a:pt x="884" y="657"/>
                      <a:pt x="883" y="654"/>
                    </a:cubicBezTo>
                    <a:cubicBezTo>
                      <a:pt x="883" y="650"/>
                      <a:pt x="884" y="645"/>
                      <a:pt x="883" y="643"/>
                    </a:cubicBezTo>
                    <a:cubicBezTo>
                      <a:pt x="883" y="640"/>
                      <a:pt x="881" y="640"/>
                      <a:pt x="880" y="639"/>
                    </a:cubicBezTo>
                    <a:cubicBezTo>
                      <a:pt x="879" y="637"/>
                      <a:pt x="879" y="635"/>
                      <a:pt x="878" y="633"/>
                    </a:cubicBezTo>
                    <a:cubicBezTo>
                      <a:pt x="876" y="630"/>
                      <a:pt x="875" y="627"/>
                      <a:pt x="872" y="626"/>
                    </a:cubicBezTo>
                    <a:cubicBezTo>
                      <a:pt x="866" y="625"/>
                      <a:pt x="870" y="632"/>
                      <a:pt x="865" y="628"/>
                    </a:cubicBezTo>
                    <a:cubicBezTo>
                      <a:pt x="862" y="628"/>
                      <a:pt x="864" y="632"/>
                      <a:pt x="863" y="633"/>
                    </a:cubicBezTo>
                    <a:cubicBezTo>
                      <a:pt x="863" y="634"/>
                      <a:pt x="860" y="633"/>
                      <a:pt x="859" y="633"/>
                    </a:cubicBezTo>
                    <a:cubicBezTo>
                      <a:pt x="858" y="634"/>
                      <a:pt x="860" y="637"/>
                      <a:pt x="857" y="637"/>
                    </a:cubicBezTo>
                    <a:cubicBezTo>
                      <a:pt x="853" y="637"/>
                      <a:pt x="853" y="636"/>
                      <a:pt x="852" y="631"/>
                    </a:cubicBezTo>
                    <a:cubicBezTo>
                      <a:pt x="851" y="630"/>
                      <a:pt x="850" y="630"/>
                      <a:pt x="850" y="629"/>
                    </a:cubicBezTo>
                    <a:cubicBezTo>
                      <a:pt x="849" y="627"/>
                      <a:pt x="852" y="627"/>
                      <a:pt x="852" y="626"/>
                    </a:cubicBezTo>
                    <a:cubicBezTo>
                      <a:pt x="852" y="624"/>
                      <a:pt x="847" y="616"/>
                      <a:pt x="852" y="613"/>
                    </a:cubicBezTo>
                    <a:cubicBezTo>
                      <a:pt x="850" y="611"/>
                      <a:pt x="847" y="609"/>
                      <a:pt x="848" y="602"/>
                    </a:cubicBezTo>
                    <a:cubicBezTo>
                      <a:pt x="846" y="602"/>
                      <a:pt x="847" y="604"/>
                      <a:pt x="846" y="605"/>
                    </a:cubicBezTo>
                    <a:cubicBezTo>
                      <a:pt x="843" y="604"/>
                      <a:pt x="845" y="597"/>
                      <a:pt x="843" y="594"/>
                    </a:cubicBezTo>
                    <a:cubicBezTo>
                      <a:pt x="841" y="593"/>
                      <a:pt x="840" y="592"/>
                      <a:pt x="839" y="590"/>
                    </a:cubicBezTo>
                    <a:cubicBezTo>
                      <a:pt x="838" y="589"/>
                      <a:pt x="838" y="587"/>
                      <a:pt x="837" y="587"/>
                    </a:cubicBezTo>
                    <a:cubicBezTo>
                      <a:pt x="835" y="585"/>
                      <a:pt x="830" y="585"/>
                      <a:pt x="831" y="581"/>
                    </a:cubicBezTo>
                    <a:cubicBezTo>
                      <a:pt x="825" y="580"/>
                      <a:pt x="823" y="584"/>
                      <a:pt x="820" y="587"/>
                    </a:cubicBezTo>
                    <a:cubicBezTo>
                      <a:pt x="817" y="586"/>
                      <a:pt x="815" y="586"/>
                      <a:pt x="815" y="588"/>
                    </a:cubicBezTo>
                    <a:cubicBezTo>
                      <a:pt x="810" y="588"/>
                      <a:pt x="806" y="588"/>
                      <a:pt x="801" y="588"/>
                    </a:cubicBezTo>
                    <a:cubicBezTo>
                      <a:pt x="801" y="590"/>
                      <a:pt x="799" y="591"/>
                      <a:pt x="798" y="592"/>
                    </a:cubicBezTo>
                    <a:cubicBezTo>
                      <a:pt x="797" y="593"/>
                      <a:pt x="796" y="592"/>
                      <a:pt x="796" y="594"/>
                    </a:cubicBezTo>
                    <a:cubicBezTo>
                      <a:pt x="796" y="596"/>
                      <a:pt x="791" y="597"/>
                      <a:pt x="790" y="598"/>
                    </a:cubicBezTo>
                    <a:cubicBezTo>
                      <a:pt x="786" y="601"/>
                      <a:pt x="783" y="608"/>
                      <a:pt x="775" y="611"/>
                    </a:cubicBezTo>
                    <a:cubicBezTo>
                      <a:pt x="771" y="614"/>
                      <a:pt x="770" y="621"/>
                      <a:pt x="762" y="622"/>
                    </a:cubicBezTo>
                    <a:cubicBezTo>
                      <a:pt x="765" y="625"/>
                      <a:pt x="764" y="626"/>
                      <a:pt x="759" y="626"/>
                    </a:cubicBezTo>
                    <a:cubicBezTo>
                      <a:pt x="758" y="628"/>
                      <a:pt x="759" y="629"/>
                      <a:pt x="760" y="629"/>
                    </a:cubicBezTo>
                    <a:cubicBezTo>
                      <a:pt x="760" y="632"/>
                      <a:pt x="757" y="631"/>
                      <a:pt x="757" y="629"/>
                    </a:cubicBezTo>
                    <a:cubicBezTo>
                      <a:pt x="754" y="630"/>
                      <a:pt x="755" y="635"/>
                      <a:pt x="749" y="633"/>
                    </a:cubicBezTo>
                    <a:cubicBezTo>
                      <a:pt x="747" y="634"/>
                      <a:pt x="747" y="637"/>
                      <a:pt x="744" y="637"/>
                    </a:cubicBezTo>
                    <a:cubicBezTo>
                      <a:pt x="743" y="640"/>
                      <a:pt x="746" y="640"/>
                      <a:pt x="746" y="643"/>
                    </a:cubicBezTo>
                    <a:cubicBezTo>
                      <a:pt x="745" y="646"/>
                      <a:pt x="743" y="651"/>
                      <a:pt x="742" y="657"/>
                    </a:cubicBezTo>
                    <a:cubicBezTo>
                      <a:pt x="741" y="666"/>
                      <a:pt x="742" y="675"/>
                      <a:pt x="740" y="678"/>
                    </a:cubicBezTo>
                    <a:cubicBezTo>
                      <a:pt x="740" y="678"/>
                      <a:pt x="737" y="677"/>
                      <a:pt x="736" y="678"/>
                    </a:cubicBezTo>
                    <a:cubicBezTo>
                      <a:pt x="735" y="679"/>
                      <a:pt x="736" y="684"/>
                      <a:pt x="734" y="685"/>
                    </a:cubicBezTo>
                    <a:cubicBezTo>
                      <a:pt x="733" y="687"/>
                      <a:pt x="729" y="686"/>
                      <a:pt x="727" y="687"/>
                    </a:cubicBezTo>
                    <a:cubicBezTo>
                      <a:pt x="725" y="688"/>
                      <a:pt x="725" y="692"/>
                      <a:pt x="721" y="691"/>
                    </a:cubicBezTo>
                    <a:cubicBezTo>
                      <a:pt x="717" y="686"/>
                      <a:pt x="714" y="680"/>
                      <a:pt x="712" y="672"/>
                    </a:cubicBezTo>
                    <a:cubicBezTo>
                      <a:pt x="711" y="672"/>
                      <a:pt x="710" y="670"/>
                      <a:pt x="708" y="669"/>
                    </a:cubicBezTo>
                    <a:cubicBezTo>
                      <a:pt x="707" y="668"/>
                      <a:pt x="707" y="666"/>
                      <a:pt x="705" y="667"/>
                    </a:cubicBezTo>
                    <a:cubicBezTo>
                      <a:pt x="703" y="661"/>
                      <a:pt x="707" y="661"/>
                      <a:pt x="708" y="657"/>
                    </a:cubicBezTo>
                    <a:cubicBezTo>
                      <a:pt x="708" y="654"/>
                      <a:pt x="705" y="652"/>
                      <a:pt x="703" y="650"/>
                    </a:cubicBezTo>
                    <a:cubicBezTo>
                      <a:pt x="701" y="648"/>
                      <a:pt x="700" y="645"/>
                      <a:pt x="697" y="644"/>
                    </a:cubicBezTo>
                    <a:cubicBezTo>
                      <a:pt x="696" y="641"/>
                      <a:pt x="696" y="637"/>
                      <a:pt x="693" y="633"/>
                    </a:cubicBezTo>
                    <a:cubicBezTo>
                      <a:pt x="691" y="630"/>
                      <a:pt x="691" y="617"/>
                      <a:pt x="690" y="607"/>
                    </a:cubicBezTo>
                    <a:cubicBezTo>
                      <a:pt x="689" y="603"/>
                      <a:pt x="688" y="592"/>
                      <a:pt x="686" y="585"/>
                    </a:cubicBezTo>
                    <a:cubicBezTo>
                      <a:pt x="683" y="585"/>
                      <a:pt x="678" y="593"/>
                      <a:pt x="682" y="594"/>
                    </a:cubicBezTo>
                    <a:cubicBezTo>
                      <a:pt x="682" y="599"/>
                      <a:pt x="675" y="595"/>
                      <a:pt x="673" y="594"/>
                    </a:cubicBezTo>
                    <a:cubicBezTo>
                      <a:pt x="672" y="594"/>
                      <a:pt x="670" y="595"/>
                      <a:pt x="669" y="594"/>
                    </a:cubicBezTo>
                    <a:cubicBezTo>
                      <a:pt x="667" y="593"/>
                      <a:pt x="665" y="586"/>
                      <a:pt x="662" y="588"/>
                    </a:cubicBezTo>
                    <a:cubicBezTo>
                      <a:pt x="661" y="585"/>
                      <a:pt x="663" y="585"/>
                      <a:pt x="665" y="585"/>
                    </a:cubicBezTo>
                    <a:cubicBezTo>
                      <a:pt x="663" y="582"/>
                      <a:pt x="665" y="582"/>
                      <a:pt x="665" y="579"/>
                    </a:cubicBezTo>
                    <a:cubicBezTo>
                      <a:pt x="665" y="576"/>
                      <a:pt x="660" y="578"/>
                      <a:pt x="658" y="577"/>
                    </a:cubicBezTo>
                    <a:cubicBezTo>
                      <a:pt x="656" y="576"/>
                      <a:pt x="653" y="568"/>
                      <a:pt x="652" y="574"/>
                    </a:cubicBezTo>
                    <a:cubicBezTo>
                      <a:pt x="648" y="573"/>
                      <a:pt x="650" y="567"/>
                      <a:pt x="651" y="568"/>
                    </a:cubicBezTo>
                    <a:cubicBezTo>
                      <a:pt x="650" y="566"/>
                      <a:pt x="646" y="566"/>
                      <a:pt x="647" y="562"/>
                    </a:cubicBezTo>
                    <a:cubicBezTo>
                      <a:pt x="645" y="561"/>
                      <a:pt x="640" y="564"/>
                      <a:pt x="639" y="562"/>
                    </a:cubicBezTo>
                    <a:cubicBezTo>
                      <a:pt x="639" y="562"/>
                      <a:pt x="640" y="559"/>
                      <a:pt x="639" y="559"/>
                    </a:cubicBezTo>
                    <a:cubicBezTo>
                      <a:pt x="635" y="558"/>
                      <a:pt x="632" y="560"/>
                      <a:pt x="628" y="560"/>
                    </a:cubicBezTo>
                    <a:cubicBezTo>
                      <a:pt x="627" y="561"/>
                      <a:pt x="625" y="561"/>
                      <a:pt x="624" y="560"/>
                    </a:cubicBezTo>
                    <a:cubicBezTo>
                      <a:pt x="622" y="560"/>
                      <a:pt x="621" y="558"/>
                      <a:pt x="621" y="562"/>
                    </a:cubicBezTo>
                    <a:cubicBezTo>
                      <a:pt x="603" y="564"/>
                      <a:pt x="589" y="561"/>
                      <a:pt x="576" y="559"/>
                    </a:cubicBezTo>
                    <a:cubicBezTo>
                      <a:pt x="577" y="555"/>
                      <a:pt x="572" y="556"/>
                      <a:pt x="572" y="553"/>
                    </a:cubicBezTo>
                    <a:cubicBezTo>
                      <a:pt x="572" y="549"/>
                      <a:pt x="564" y="557"/>
                      <a:pt x="569" y="549"/>
                    </a:cubicBezTo>
                    <a:cubicBezTo>
                      <a:pt x="566" y="550"/>
                      <a:pt x="565" y="549"/>
                      <a:pt x="565" y="547"/>
                    </a:cubicBezTo>
                    <a:cubicBezTo>
                      <a:pt x="560" y="550"/>
                      <a:pt x="546" y="547"/>
                      <a:pt x="541" y="546"/>
                    </a:cubicBezTo>
                    <a:cubicBezTo>
                      <a:pt x="538" y="545"/>
                      <a:pt x="537" y="545"/>
                      <a:pt x="537" y="542"/>
                    </a:cubicBezTo>
                    <a:cubicBezTo>
                      <a:pt x="529" y="544"/>
                      <a:pt x="531" y="536"/>
                      <a:pt x="524" y="536"/>
                    </a:cubicBezTo>
                    <a:cubicBezTo>
                      <a:pt x="523" y="529"/>
                      <a:pt x="519" y="525"/>
                      <a:pt x="516" y="520"/>
                    </a:cubicBezTo>
                    <a:cubicBezTo>
                      <a:pt x="500" y="517"/>
                      <a:pt x="500" y="525"/>
                      <a:pt x="501" y="534"/>
                    </a:cubicBezTo>
                    <a:cubicBezTo>
                      <a:pt x="502" y="537"/>
                      <a:pt x="509" y="541"/>
                      <a:pt x="514" y="547"/>
                    </a:cubicBezTo>
                    <a:cubicBezTo>
                      <a:pt x="516" y="549"/>
                      <a:pt x="519" y="559"/>
                      <a:pt x="524" y="557"/>
                    </a:cubicBezTo>
                    <a:cubicBezTo>
                      <a:pt x="523" y="561"/>
                      <a:pt x="527" y="561"/>
                      <a:pt x="526" y="566"/>
                    </a:cubicBezTo>
                    <a:cubicBezTo>
                      <a:pt x="530" y="566"/>
                      <a:pt x="540" y="564"/>
                      <a:pt x="535" y="570"/>
                    </a:cubicBezTo>
                    <a:cubicBezTo>
                      <a:pt x="539" y="572"/>
                      <a:pt x="537" y="567"/>
                      <a:pt x="539" y="566"/>
                    </a:cubicBezTo>
                    <a:cubicBezTo>
                      <a:pt x="540" y="565"/>
                      <a:pt x="546" y="566"/>
                      <a:pt x="546" y="562"/>
                    </a:cubicBezTo>
                    <a:cubicBezTo>
                      <a:pt x="546" y="561"/>
                      <a:pt x="548" y="561"/>
                      <a:pt x="550" y="560"/>
                    </a:cubicBezTo>
                    <a:cubicBezTo>
                      <a:pt x="552" y="560"/>
                      <a:pt x="550" y="558"/>
                      <a:pt x="552" y="557"/>
                    </a:cubicBezTo>
                    <a:cubicBezTo>
                      <a:pt x="555" y="555"/>
                      <a:pt x="559" y="556"/>
                      <a:pt x="563" y="555"/>
                    </a:cubicBezTo>
                    <a:cubicBezTo>
                      <a:pt x="563" y="556"/>
                      <a:pt x="560" y="558"/>
                      <a:pt x="561" y="559"/>
                    </a:cubicBezTo>
                    <a:cubicBezTo>
                      <a:pt x="561" y="559"/>
                      <a:pt x="565" y="558"/>
                      <a:pt x="565" y="559"/>
                    </a:cubicBezTo>
                    <a:cubicBezTo>
                      <a:pt x="566" y="562"/>
                      <a:pt x="564" y="564"/>
                      <a:pt x="567" y="566"/>
                    </a:cubicBezTo>
                    <a:cubicBezTo>
                      <a:pt x="566" y="570"/>
                      <a:pt x="572" y="568"/>
                      <a:pt x="572" y="572"/>
                    </a:cubicBezTo>
                    <a:cubicBezTo>
                      <a:pt x="572" y="576"/>
                      <a:pt x="576" y="573"/>
                      <a:pt x="580" y="575"/>
                    </a:cubicBezTo>
                    <a:cubicBezTo>
                      <a:pt x="582" y="577"/>
                      <a:pt x="581" y="580"/>
                      <a:pt x="585" y="581"/>
                    </a:cubicBezTo>
                    <a:cubicBezTo>
                      <a:pt x="581" y="585"/>
                      <a:pt x="586" y="590"/>
                      <a:pt x="585" y="596"/>
                    </a:cubicBezTo>
                    <a:cubicBezTo>
                      <a:pt x="583" y="596"/>
                      <a:pt x="582" y="596"/>
                      <a:pt x="580" y="596"/>
                    </a:cubicBezTo>
                    <a:cubicBezTo>
                      <a:pt x="582" y="603"/>
                      <a:pt x="575" y="601"/>
                      <a:pt x="576" y="607"/>
                    </a:cubicBezTo>
                    <a:cubicBezTo>
                      <a:pt x="572" y="606"/>
                      <a:pt x="570" y="607"/>
                      <a:pt x="570" y="611"/>
                    </a:cubicBezTo>
                    <a:cubicBezTo>
                      <a:pt x="568" y="611"/>
                      <a:pt x="565" y="611"/>
                      <a:pt x="563" y="611"/>
                    </a:cubicBezTo>
                    <a:cubicBezTo>
                      <a:pt x="560" y="611"/>
                      <a:pt x="562" y="615"/>
                      <a:pt x="561" y="616"/>
                    </a:cubicBezTo>
                    <a:cubicBezTo>
                      <a:pt x="561" y="617"/>
                      <a:pt x="558" y="616"/>
                      <a:pt x="557" y="616"/>
                    </a:cubicBezTo>
                    <a:cubicBezTo>
                      <a:pt x="556" y="617"/>
                      <a:pt x="558" y="621"/>
                      <a:pt x="557" y="622"/>
                    </a:cubicBezTo>
                    <a:cubicBezTo>
                      <a:pt x="554" y="621"/>
                      <a:pt x="552" y="622"/>
                      <a:pt x="552" y="626"/>
                    </a:cubicBezTo>
                    <a:cubicBezTo>
                      <a:pt x="548" y="625"/>
                      <a:pt x="546" y="626"/>
                      <a:pt x="544" y="628"/>
                    </a:cubicBezTo>
                    <a:cubicBezTo>
                      <a:pt x="541" y="629"/>
                      <a:pt x="542" y="630"/>
                      <a:pt x="537" y="631"/>
                    </a:cubicBezTo>
                    <a:cubicBezTo>
                      <a:pt x="535" y="632"/>
                      <a:pt x="526" y="635"/>
                      <a:pt x="526" y="641"/>
                    </a:cubicBezTo>
                    <a:cubicBezTo>
                      <a:pt x="523" y="641"/>
                      <a:pt x="520" y="640"/>
                      <a:pt x="518" y="641"/>
                    </a:cubicBezTo>
                    <a:cubicBezTo>
                      <a:pt x="516" y="642"/>
                      <a:pt x="518" y="643"/>
                      <a:pt x="516" y="644"/>
                    </a:cubicBezTo>
                    <a:cubicBezTo>
                      <a:pt x="516" y="645"/>
                      <a:pt x="513" y="644"/>
                      <a:pt x="513" y="644"/>
                    </a:cubicBezTo>
                    <a:cubicBezTo>
                      <a:pt x="513" y="644"/>
                      <a:pt x="507" y="646"/>
                      <a:pt x="507" y="646"/>
                    </a:cubicBezTo>
                    <a:cubicBezTo>
                      <a:pt x="504" y="650"/>
                      <a:pt x="489" y="648"/>
                      <a:pt x="483" y="652"/>
                    </a:cubicBezTo>
                    <a:cubicBezTo>
                      <a:pt x="477" y="653"/>
                      <a:pt x="488" y="655"/>
                      <a:pt x="479" y="656"/>
                    </a:cubicBezTo>
                    <a:cubicBezTo>
                      <a:pt x="478" y="656"/>
                      <a:pt x="476" y="655"/>
                      <a:pt x="475" y="656"/>
                    </a:cubicBezTo>
                    <a:cubicBezTo>
                      <a:pt x="473" y="656"/>
                      <a:pt x="474" y="660"/>
                      <a:pt x="470" y="659"/>
                    </a:cubicBezTo>
                    <a:cubicBezTo>
                      <a:pt x="472" y="655"/>
                      <a:pt x="467" y="657"/>
                      <a:pt x="466" y="656"/>
                    </a:cubicBezTo>
                    <a:cubicBezTo>
                      <a:pt x="465" y="653"/>
                      <a:pt x="467" y="648"/>
                      <a:pt x="462" y="648"/>
                    </a:cubicBezTo>
                    <a:cubicBezTo>
                      <a:pt x="462" y="645"/>
                      <a:pt x="464" y="645"/>
                      <a:pt x="464" y="643"/>
                    </a:cubicBezTo>
                    <a:cubicBezTo>
                      <a:pt x="463" y="641"/>
                      <a:pt x="459" y="640"/>
                      <a:pt x="462" y="639"/>
                    </a:cubicBezTo>
                    <a:cubicBezTo>
                      <a:pt x="461" y="637"/>
                      <a:pt x="460" y="635"/>
                      <a:pt x="457" y="635"/>
                    </a:cubicBezTo>
                    <a:cubicBezTo>
                      <a:pt x="459" y="630"/>
                      <a:pt x="453" y="624"/>
                      <a:pt x="457" y="624"/>
                    </a:cubicBezTo>
                    <a:cubicBezTo>
                      <a:pt x="457" y="622"/>
                      <a:pt x="454" y="623"/>
                      <a:pt x="453" y="622"/>
                    </a:cubicBezTo>
                    <a:cubicBezTo>
                      <a:pt x="451" y="620"/>
                      <a:pt x="452" y="615"/>
                      <a:pt x="453" y="616"/>
                    </a:cubicBezTo>
                    <a:cubicBezTo>
                      <a:pt x="452" y="615"/>
                      <a:pt x="450" y="613"/>
                      <a:pt x="449" y="613"/>
                    </a:cubicBezTo>
                    <a:cubicBezTo>
                      <a:pt x="448" y="612"/>
                      <a:pt x="449" y="611"/>
                      <a:pt x="447" y="611"/>
                    </a:cubicBezTo>
                    <a:cubicBezTo>
                      <a:pt x="446" y="611"/>
                      <a:pt x="444" y="604"/>
                      <a:pt x="444" y="605"/>
                    </a:cubicBezTo>
                    <a:cubicBezTo>
                      <a:pt x="444" y="605"/>
                      <a:pt x="444" y="607"/>
                      <a:pt x="444" y="607"/>
                    </a:cubicBezTo>
                    <a:cubicBezTo>
                      <a:pt x="440" y="604"/>
                      <a:pt x="440" y="598"/>
                      <a:pt x="434" y="598"/>
                    </a:cubicBezTo>
                    <a:cubicBezTo>
                      <a:pt x="439" y="590"/>
                      <a:pt x="430" y="588"/>
                      <a:pt x="431" y="579"/>
                    </a:cubicBezTo>
                    <a:cubicBezTo>
                      <a:pt x="430" y="577"/>
                      <a:pt x="427" y="578"/>
                      <a:pt x="427" y="575"/>
                    </a:cubicBezTo>
                    <a:cubicBezTo>
                      <a:pt x="427" y="572"/>
                      <a:pt x="421" y="574"/>
                      <a:pt x="419" y="572"/>
                    </a:cubicBezTo>
                    <a:cubicBezTo>
                      <a:pt x="421" y="569"/>
                      <a:pt x="421" y="568"/>
                      <a:pt x="418" y="568"/>
                    </a:cubicBezTo>
                    <a:cubicBezTo>
                      <a:pt x="420" y="565"/>
                      <a:pt x="419" y="564"/>
                      <a:pt x="418" y="559"/>
                    </a:cubicBezTo>
                    <a:cubicBezTo>
                      <a:pt x="417" y="558"/>
                      <a:pt x="418" y="555"/>
                      <a:pt x="418" y="555"/>
                    </a:cubicBezTo>
                    <a:cubicBezTo>
                      <a:pt x="417" y="555"/>
                      <a:pt x="416" y="555"/>
                      <a:pt x="416" y="555"/>
                    </a:cubicBezTo>
                    <a:cubicBezTo>
                      <a:pt x="415" y="550"/>
                      <a:pt x="419" y="552"/>
                      <a:pt x="416" y="547"/>
                    </a:cubicBezTo>
                    <a:cubicBezTo>
                      <a:pt x="414" y="545"/>
                      <a:pt x="412" y="557"/>
                      <a:pt x="412" y="547"/>
                    </a:cubicBezTo>
                    <a:cubicBezTo>
                      <a:pt x="412" y="540"/>
                      <a:pt x="406" y="536"/>
                      <a:pt x="399" y="529"/>
                    </a:cubicBezTo>
                    <a:cubicBezTo>
                      <a:pt x="394" y="533"/>
                      <a:pt x="398" y="534"/>
                      <a:pt x="395" y="540"/>
                    </a:cubicBezTo>
                    <a:cubicBezTo>
                      <a:pt x="391" y="541"/>
                      <a:pt x="392" y="536"/>
                      <a:pt x="390" y="536"/>
                    </a:cubicBezTo>
                    <a:cubicBezTo>
                      <a:pt x="387" y="537"/>
                      <a:pt x="386" y="535"/>
                      <a:pt x="384" y="534"/>
                    </a:cubicBezTo>
                    <a:cubicBezTo>
                      <a:pt x="388" y="537"/>
                      <a:pt x="385" y="546"/>
                      <a:pt x="391" y="546"/>
                    </a:cubicBezTo>
                    <a:cubicBezTo>
                      <a:pt x="389" y="550"/>
                      <a:pt x="392" y="555"/>
                      <a:pt x="395" y="562"/>
                    </a:cubicBezTo>
                    <a:cubicBezTo>
                      <a:pt x="395" y="563"/>
                      <a:pt x="395" y="566"/>
                      <a:pt x="395" y="566"/>
                    </a:cubicBezTo>
                    <a:cubicBezTo>
                      <a:pt x="398" y="568"/>
                      <a:pt x="399" y="577"/>
                      <a:pt x="401" y="581"/>
                    </a:cubicBezTo>
                    <a:cubicBezTo>
                      <a:pt x="403" y="581"/>
                      <a:pt x="406" y="581"/>
                      <a:pt x="408" y="581"/>
                    </a:cubicBezTo>
                    <a:cubicBezTo>
                      <a:pt x="407" y="583"/>
                      <a:pt x="406" y="584"/>
                      <a:pt x="406" y="587"/>
                    </a:cubicBezTo>
                    <a:cubicBezTo>
                      <a:pt x="409" y="587"/>
                      <a:pt x="410" y="586"/>
                      <a:pt x="410" y="585"/>
                    </a:cubicBezTo>
                    <a:cubicBezTo>
                      <a:pt x="414" y="587"/>
                      <a:pt x="412" y="590"/>
                      <a:pt x="414" y="594"/>
                    </a:cubicBezTo>
                    <a:cubicBezTo>
                      <a:pt x="414" y="595"/>
                      <a:pt x="417" y="595"/>
                      <a:pt x="418" y="596"/>
                    </a:cubicBezTo>
                    <a:cubicBezTo>
                      <a:pt x="418" y="597"/>
                      <a:pt x="417" y="599"/>
                      <a:pt x="418" y="600"/>
                    </a:cubicBezTo>
                    <a:cubicBezTo>
                      <a:pt x="418" y="600"/>
                      <a:pt x="419" y="599"/>
                      <a:pt x="419" y="600"/>
                    </a:cubicBezTo>
                    <a:cubicBezTo>
                      <a:pt x="420" y="602"/>
                      <a:pt x="418" y="603"/>
                      <a:pt x="418" y="603"/>
                    </a:cubicBezTo>
                    <a:cubicBezTo>
                      <a:pt x="418" y="606"/>
                      <a:pt x="420" y="606"/>
                      <a:pt x="421" y="607"/>
                    </a:cubicBezTo>
                    <a:cubicBezTo>
                      <a:pt x="422" y="608"/>
                      <a:pt x="421" y="610"/>
                      <a:pt x="421" y="611"/>
                    </a:cubicBezTo>
                    <a:cubicBezTo>
                      <a:pt x="421" y="611"/>
                      <a:pt x="423" y="611"/>
                      <a:pt x="423" y="611"/>
                    </a:cubicBezTo>
                    <a:cubicBezTo>
                      <a:pt x="424" y="613"/>
                      <a:pt x="421" y="620"/>
                      <a:pt x="427" y="618"/>
                    </a:cubicBezTo>
                    <a:cubicBezTo>
                      <a:pt x="427" y="622"/>
                      <a:pt x="427" y="626"/>
                      <a:pt x="429" y="629"/>
                    </a:cubicBezTo>
                    <a:cubicBezTo>
                      <a:pt x="429" y="631"/>
                      <a:pt x="432" y="632"/>
                      <a:pt x="432" y="633"/>
                    </a:cubicBezTo>
                    <a:cubicBezTo>
                      <a:pt x="433" y="635"/>
                      <a:pt x="433" y="637"/>
                      <a:pt x="434" y="639"/>
                    </a:cubicBezTo>
                    <a:cubicBezTo>
                      <a:pt x="435" y="640"/>
                      <a:pt x="437" y="640"/>
                      <a:pt x="438" y="641"/>
                    </a:cubicBezTo>
                    <a:cubicBezTo>
                      <a:pt x="440" y="643"/>
                      <a:pt x="436" y="646"/>
                      <a:pt x="440" y="646"/>
                    </a:cubicBezTo>
                    <a:cubicBezTo>
                      <a:pt x="442" y="646"/>
                      <a:pt x="441" y="651"/>
                      <a:pt x="442" y="654"/>
                    </a:cubicBezTo>
                    <a:cubicBezTo>
                      <a:pt x="449" y="650"/>
                      <a:pt x="447" y="657"/>
                      <a:pt x="457" y="656"/>
                    </a:cubicBezTo>
                    <a:cubicBezTo>
                      <a:pt x="457" y="661"/>
                      <a:pt x="460" y="663"/>
                      <a:pt x="460" y="669"/>
                    </a:cubicBezTo>
                    <a:cubicBezTo>
                      <a:pt x="467" y="679"/>
                      <a:pt x="489" y="676"/>
                      <a:pt x="503" y="674"/>
                    </a:cubicBezTo>
                    <a:cubicBezTo>
                      <a:pt x="505" y="675"/>
                      <a:pt x="504" y="671"/>
                      <a:pt x="505" y="670"/>
                    </a:cubicBezTo>
                    <a:cubicBezTo>
                      <a:pt x="509" y="669"/>
                      <a:pt x="518" y="674"/>
                      <a:pt x="516" y="667"/>
                    </a:cubicBezTo>
                    <a:cubicBezTo>
                      <a:pt x="520" y="669"/>
                      <a:pt x="520" y="672"/>
                      <a:pt x="518" y="676"/>
                    </a:cubicBezTo>
                    <a:cubicBezTo>
                      <a:pt x="518" y="677"/>
                      <a:pt x="516" y="678"/>
                      <a:pt x="516" y="678"/>
                    </a:cubicBezTo>
                    <a:cubicBezTo>
                      <a:pt x="516" y="681"/>
                      <a:pt x="517" y="686"/>
                      <a:pt x="516" y="689"/>
                    </a:cubicBezTo>
                    <a:cubicBezTo>
                      <a:pt x="516" y="690"/>
                      <a:pt x="513" y="689"/>
                      <a:pt x="513" y="689"/>
                    </a:cubicBezTo>
                    <a:cubicBezTo>
                      <a:pt x="512" y="690"/>
                      <a:pt x="512" y="698"/>
                      <a:pt x="511" y="700"/>
                    </a:cubicBezTo>
                    <a:cubicBezTo>
                      <a:pt x="510" y="702"/>
                      <a:pt x="505" y="703"/>
                      <a:pt x="507" y="710"/>
                    </a:cubicBezTo>
                    <a:cubicBezTo>
                      <a:pt x="501" y="710"/>
                      <a:pt x="505" y="720"/>
                      <a:pt x="498" y="719"/>
                    </a:cubicBezTo>
                    <a:cubicBezTo>
                      <a:pt x="499" y="725"/>
                      <a:pt x="496" y="726"/>
                      <a:pt x="496" y="730"/>
                    </a:cubicBezTo>
                    <a:cubicBezTo>
                      <a:pt x="489" y="728"/>
                      <a:pt x="493" y="737"/>
                      <a:pt x="486" y="736"/>
                    </a:cubicBezTo>
                    <a:cubicBezTo>
                      <a:pt x="486" y="738"/>
                      <a:pt x="486" y="739"/>
                      <a:pt x="486" y="741"/>
                    </a:cubicBezTo>
                    <a:cubicBezTo>
                      <a:pt x="485" y="741"/>
                      <a:pt x="484" y="739"/>
                      <a:pt x="483" y="739"/>
                    </a:cubicBezTo>
                    <a:cubicBezTo>
                      <a:pt x="479" y="741"/>
                      <a:pt x="481" y="743"/>
                      <a:pt x="475" y="745"/>
                    </a:cubicBezTo>
                    <a:cubicBezTo>
                      <a:pt x="475" y="745"/>
                      <a:pt x="470" y="747"/>
                      <a:pt x="470" y="747"/>
                    </a:cubicBezTo>
                    <a:cubicBezTo>
                      <a:pt x="470" y="747"/>
                      <a:pt x="470" y="749"/>
                      <a:pt x="470" y="749"/>
                    </a:cubicBezTo>
                    <a:cubicBezTo>
                      <a:pt x="468" y="750"/>
                      <a:pt x="464" y="751"/>
                      <a:pt x="462" y="753"/>
                    </a:cubicBezTo>
                    <a:cubicBezTo>
                      <a:pt x="458" y="756"/>
                      <a:pt x="456" y="762"/>
                      <a:pt x="449" y="762"/>
                    </a:cubicBezTo>
                    <a:cubicBezTo>
                      <a:pt x="451" y="767"/>
                      <a:pt x="447" y="767"/>
                      <a:pt x="447" y="771"/>
                    </a:cubicBezTo>
                    <a:cubicBezTo>
                      <a:pt x="445" y="773"/>
                      <a:pt x="444" y="772"/>
                      <a:pt x="442" y="771"/>
                    </a:cubicBezTo>
                    <a:cubicBezTo>
                      <a:pt x="443" y="773"/>
                      <a:pt x="439" y="776"/>
                      <a:pt x="440" y="777"/>
                    </a:cubicBezTo>
                    <a:cubicBezTo>
                      <a:pt x="444" y="780"/>
                      <a:pt x="438" y="777"/>
                      <a:pt x="438" y="782"/>
                    </a:cubicBezTo>
                    <a:cubicBezTo>
                      <a:pt x="438" y="785"/>
                      <a:pt x="435" y="783"/>
                      <a:pt x="434" y="784"/>
                    </a:cubicBezTo>
                    <a:cubicBezTo>
                      <a:pt x="434" y="785"/>
                      <a:pt x="435" y="787"/>
                      <a:pt x="434" y="788"/>
                    </a:cubicBezTo>
                    <a:cubicBezTo>
                      <a:pt x="434" y="790"/>
                      <a:pt x="430" y="804"/>
                      <a:pt x="431" y="808"/>
                    </a:cubicBezTo>
                    <a:cubicBezTo>
                      <a:pt x="431" y="812"/>
                      <a:pt x="432" y="813"/>
                      <a:pt x="434" y="816"/>
                    </a:cubicBezTo>
                    <a:cubicBezTo>
                      <a:pt x="435" y="821"/>
                      <a:pt x="434" y="823"/>
                      <a:pt x="434" y="827"/>
                    </a:cubicBezTo>
                    <a:cubicBezTo>
                      <a:pt x="434" y="828"/>
                      <a:pt x="436" y="834"/>
                      <a:pt x="438" y="835"/>
                    </a:cubicBezTo>
                    <a:cubicBezTo>
                      <a:pt x="443" y="835"/>
                      <a:pt x="432" y="843"/>
                      <a:pt x="442" y="844"/>
                    </a:cubicBezTo>
                    <a:cubicBezTo>
                      <a:pt x="441" y="853"/>
                      <a:pt x="443" y="860"/>
                      <a:pt x="442" y="868"/>
                    </a:cubicBezTo>
                    <a:cubicBezTo>
                      <a:pt x="441" y="873"/>
                      <a:pt x="436" y="878"/>
                      <a:pt x="436" y="883"/>
                    </a:cubicBezTo>
                    <a:cubicBezTo>
                      <a:pt x="432" y="883"/>
                      <a:pt x="425" y="888"/>
                      <a:pt x="423" y="890"/>
                    </a:cubicBezTo>
                    <a:cubicBezTo>
                      <a:pt x="422" y="892"/>
                      <a:pt x="421" y="892"/>
                      <a:pt x="423" y="892"/>
                    </a:cubicBezTo>
                    <a:cubicBezTo>
                      <a:pt x="423" y="895"/>
                      <a:pt x="419" y="893"/>
                      <a:pt x="418" y="894"/>
                    </a:cubicBezTo>
                    <a:cubicBezTo>
                      <a:pt x="416" y="895"/>
                      <a:pt x="417" y="897"/>
                      <a:pt x="416" y="898"/>
                    </a:cubicBezTo>
                    <a:cubicBezTo>
                      <a:pt x="415" y="898"/>
                      <a:pt x="412" y="894"/>
                      <a:pt x="412" y="898"/>
                    </a:cubicBezTo>
                    <a:cubicBezTo>
                      <a:pt x="412" y="900"/>
                      <a:pt x="410" y="899"/>
                      <a:pt x="408" y="900"/>
                    </a:cubicBezTo>
                    <a:cubicBezTo>
                      <a:pt x="406" y="901"/>
                      <a:pt x="406" y="906"/>
                      <a:pt x="401" y="905"/>
                    </a:cubicBezTo>
                    <a:cubicBezTo>
                      <a:pt x="398" y="916"/>
                      <a:pt x="401" y="931"/>
                      <a:pt x="403" y="946"/>
                    </a:cubicBezTo>
                    <a:cubicBezTo>
                      <a:pt x="401" y="948"/>
                      <a:pt x="399" y="949"/>
                      <a:pt x="399" y="946"/>
                    </a:cubicBezTo>
                    <a:cubicBezTo>
                      <a:pt x="397" y="946"/>
                      <a:pt x="398" y="949"/>
                      <a:pt x="397" y="950"/>
                    </a:cubicBezTo>
                    <a:cubicBezTo>
                      <a:pt x="395" y="952"/>
                      <a:pt x="392" y="949"/>
                      <a:pt x="391" y="952"/>
                    </a:cubicBezTo>
                    <a:cubicBezTo>
                      <a:pt x="391" y="955"/>
                      <a:pt x="384" y="954"/>
                      <a:pt x="382" y="958"/>
                    </a:cubicBezTo>
                    <a:cubicBezTo>
                      <a:pt x="382" y="961"/>
                      <a:pt x="382" y="965"/>
                      <a:pt x="382" y="969"/>
                    </a:cubicBezTo>
                    <a:cubicBezTo>
                      <a:pt x="378" y="969"/>
                      <a:pt x="380" y="975"/>
                      <a:pt x="378" y="978"/>
                    </a:cubicBezTo>
                    <a:cubicBezTo>
                      <a:pt x="378" y="979"/>
                      <a:pt x="375" y="979"/>
                      <a:pt x="375" y="980"/>
                    </a:cubicBezTo>
                    <a:cubicBezTo>
                      <a:pt x="373" y="983"/>
                      <a:pt x="374" y="987"/>
                      <a:pt x="371" y="989"/>
                    </a:cubicBezTo>
                    <a:cubicBezTo>
                      <a:pt x="370" y="990"/>
                      <a:pt x="371" y="992"/>
                      <a:pt x="371" y="993"/>
                    </a:cubicBezTo>
                    <a:cubicBezTo>
                      <a:pt x="371" y="993"/>
                      <a:pt x="368" y="992"/>
                      <a:pt x="367" y="993"/>
                    </a:cubicBezTo>
                    <a:cubicBezTo>
                      <a:pt x="367" y="994"/>
                      <a:pt x="368" y="997"/>
                      <a:pt x="367" y="999"/>
                    </a:cubicBezTo>
                    <a:cubicBezTo>
                      <a:pt x="367" y="999"/>
                      <a:pt x="364" y="998"/>
                      <a:pt x="363" y="999"/>
                    </a:cubicBezTo>
                    <a:cubicBezTo>
                      <a:pt x="363" y="999"/>
                      <a:pt x="364" y="1002"/>
                      <a:pt x="363" y="1002"/>
                    </a:cubicBezTo>
                    <a:cubicBezTo>
                      <a:pt x="363" y="1003"/>
                      <a:pt x="360" y="1002"/>
                      <a:pt x="360" y="1002"/>
                    </a:cubicBezTo>
                    <a:cubicBezTo>
                      <a:pt x="359" y="1003"/>
                      <a:pt x="356" y="1006"/>
                      <a:pt x="356" y="1008"/>
                    </a:cubicBezTo>
                    <a:cubicBezTo>
                      <a:pt x="356" y="1010"/>
                      <a:pt x="354" y="1009"/>
                      <a:pt x="352" y="1010"/>
                    </a:cubicBezTo>
                    <a:cubicBezTo>
                      <a:pt x="352" y="1010"/>
                      <a:pt x="353" y="1013"/>
                      <a:pt x="352" y="1013"/>
                    </a:cubicBezTo>
                    <a:cubicBezTo>
                      <a:pt x="352" y="1014"/>
                      <a:pt x="349" y="1013"/>
                      <a:pt x="349" y="1013"/>
                    </a:cubicBezTo>
                    <a:cubicBezTo>
                      <a:pt x="347" y="1015"/>
                      <a:pt x="346" y="1016"/>
                      <a:pt x="345" y="1017"/>
                    </a:cubicBezTo>
                    <a:cubicBezTo>
                      <a:pt x="344" y="1018"/>
                      <a:pt x="342" y="1021"/>
                      <a:pt x="341" y="1021"/>
                    </a:cubicBezTo>
                    <a:cubicBezTo>
                      <a:pt x="340" y="1021"/>
                      <a:pt x="335" y="1023"/>
                      <a:pt x="335" y="1023"/>
                    </a:cubicBezTo>
                    <a:cubicBezTo>
                      <a:pt x="334" y="1022"/>
                      <a:pt x="334" y="1021"/>
                      <a:pt x="332" y="1023"/>
                    </a:cubicBezTo>
                    <a:cubicBezTo>
                      <a:pt x="329" y="1024"/>
                      <a:pt x="328" y="1024"/>
                      <a:pt x="324" y="1025"/>
                    </a:cubicBezTo>
                    <a:cubicBezTo>
                      <a:pt x="323" y="1025"/>
                      <a:pt x="311" y="1030"/>
                      <a:pt x="308" y="1025"/>
                    </a:cubicBezTo>
                    <a:cubicBezTo>
                      <a:pt x="305" y="1025"/>
                      <a:pt x="307" y="1027"/>
                      <a:pt x="308" y="1027"/>
                    </a:cubicBezTo>
                    <a:cubicBezTo>
                      <a:pt x="305" y="1031"/>
                      <a:pt x="301" y="1027"/>
                      <a:pt x="295" y="1028"/>
                    </a:cubicBezTo>
                    <a:cubicBezTo>
                      <a:pt x="292" y="1029"/>
                      <a:pt x="293" y="1030"/>
                      <a:pt x="295" y="1030"/>
                    </a:cubicBezTo>
                    <a:cubicBezTo>
                      <a:pt x="293" y="1033"/>
                      <a:pt x="283" y="1028"/>
                      <a:pt x="278" y="1028"/>
                    </a:cubicBezTo>
                    <a:cubicBezTo>
                      <a:pt x="278" y="1019"/>
                      <a:pt x="269" y="1014"/>
                      <a:pt x="274" y="1006"/>
                    </a:cubicBezTo>
                    <a:cubicBezTo>
                      <a:pt x="270" y="1003"/>
                      <a:pt x="265" y="1000"/>
                      <a:pt x="267" y="991"/>
                    </a:cubicBezTo>
                    <a:cubicBezTo>
                      <a:pt x="261" y="997"/>
                      <a:pt x="265" y="994"/>
                      <a:pt x="263" y="985"/>
                    </a:cubicBezTo>
                    <a:cubicBezTo>
                      <a:pt x="260" y="977"/>
                      <a:pt x="249" y="970"/>
                      <a:pt x="252" y="959"/>
                    </a:cubicBezTo>
                    <a:cubicBezTo>
                      <a:pt x="250" y="958"/>
                      <a:pt x="250" y="963"/>
                      <a:pt x="250" y="963"/>
                    </a:cubicBezTo>
                    <a:cubicBezTo>
                      <a:pt x="246" y="962"/>
                      <a:pt x="250" y="950"/>
                      <a:pt x="246" y="956"/>
                    </a:cubicBezTo>
                    <a:cubicBezTo>
                      <a:pt x="243" y="953"/>
                      <a:pt x="244" y="947"/>
                      <a:pt x="244" y="943"/>
                    </a:cubicBezTo>
                    <a:cubicBezTo>
                      <a:pt x="245" y="937"/>
                      <a:pt x="245" y="933"/>
                      <a:pt x="242" y="926"/>
                    </a:cubicBezTo>
                    <a:cubicBezTo>
                      <a:pt x="243" y="923"/>
                      <a:pt x="238" y="925"/>
                      <a:pt x="237" y="924"/>
                    </a:cubicBezTo>
                    <a:cubicBezTo>
                      <a:pt x="236" y="923"/>
                      <a:pt x="242" y="919"/>
                      <a:pt x="233" y="920"/>
                    </a:cubicBezTo>
                    <a:cubicBezTo>
                      <a:pt x="232" y="919"/>
                      <a:pt x="234" y="915"/>
                      <a:pt x="233" y="915"/>
                    </a:cubicBezTo>
                    <a:cubicBezTo>
                      <a:pt x="233" y="914"/>
                      <a:pt x="229" y="915"/>
                      <a:pt x="229" y="915"/>
                    </a:cubicBezTo>
                    <a:cubicBezTo>
                      <a:pt x="229" y="914"/>
                      <a:pt x="235" y="907"/>
                      <a:pt x="227" y="909"/>
                    </a:cubicBezTo>
                    <a:cubicBezTo>
                      <a:pt x="227" y="906"/>
                      <a:pt x="230" y="905"/>
                      <a:pt x="229" y="902"/>
                    </a:cubicBezTo>
                    <a:cubicBezTo>
                      <a:pt x="226" y="900"/>
                      <a:pt x="230" y="892"/>
                      <a:pt x="224" y="894"/>
                    </a:cubicBezTo>
                    <a:cubicBezTo>
                      <a:pt x="223" y="877"/>
                      <a:pt x="225" y="871"/>
                      <a:pt x="233" y="861"/>
                    </a:cubicBezTo>
                    <a:cubicBezTo>
                      <a:pt x="232" y="858"/>
                      <a:pt x="235" y="851"/>
                      <a:pt x="231" y="851"/>
                    </a:cubicBezTo>
                    <a:cubicBezTo>
                      <a:pt x="231" y="848"/>
                      <a:pt x="235" y="851"/>
                      <a:pt x="237" y="849"/>
                    </a:cubicBezTo>
                    <a:cubicBezTo>
                      <a:pt x="238" y="849"/>
                      <a:pt x="236" y="845"/>
                      <a:pt x="239" y="846"/>
                    </a:cubicBezTo>
                    <a:cubicBezTo>
                      <a:pt x="238" y="843"/>
                      <a:pt x="237" y="826"/>
                      <a:pt x="235" y="831"/>
                    </a:cubicBezTo>
                    <a:cubicBezTo>
                      <a:pt x="231" y="827"/>
                      <a:pt x="233" y="823"/>
                      <a:pt x="233" y="820"/>
                    </a:cubicBezTo>
                    <a:cubicBezTo>
                      <a:pt x="233" y="815"/>
                      <a:pt x="234" y="810"/>
                      <a:pt x="233" y="807"/>
                    </a:cubicBezTo>
                    <a:cubicBezTo>
                      <a:pt x="233" y="804"/>
                      <a:pt x="230" y="806"/>
                      <a:pt x="229" y="805"/>
                    </a:cubicBezTo>
                    <a:cubicBezTo>
                      <a:pt x="229" y="804"/>
                      <a:pt x="231" y="802"/>
                      <a:pt x="231" y="801"/>
                    </a:cubicBezTo>
                    <a:cubicBezTo>
                      <a:pt x="231" y="801"/>
                      <a:pt x="229" y="800"/>
                      <a:pt x="229" y="799"/>
                    </a:cubicBezTo>
                    <a:cubicBezTo>
                      <a:pt x="229" y="795"/>
                      <a:pt x="227" y="796"/>
                      <a:pt x="226" y="794"/>
                    </a:cubicBezTo>
                    <a:cubicBezTo>
                      <a:pt x="225" y="793"/>
                      <a:pt x="226" y="790"/>
                      <a:pt x="226" y="790"/>
                    </a:cubicBezTo>
                    <a:cubicBezTo>
                      <a:pt x="225" y="790"/>
                      <a:pt x="220" y="789"/>
                      <a:pt x="222" y="788"/>
                    </a:cubicBezTo>
                    <a:cubicBezTo>
                      <a:pt x="222" y="788"/>
                      <a:pt x="224" y="788"/>
                      <a:pt x="224" y="788"/>
                    </a:cubicBezTo>
                    <a:cubicBezTo>
                      <a:pt x="221" y="784"/>
                      <a:pt x="219" y="783"/>
                      <a:pt x="214" y="780"/>
                    </a:cubicBezTo>
                    <a:cubicBezTo>
                      <a:pt x="213" y="780"/>
                      <a:pt x="215" y="779"/>
                      <a:pt x="213" y="779"/>
                    </a:cubicBezTo>
                    <a:cubicBezTo>
                      <a:pt x="211" y="779"/>
                      <a:pt x="211" y="773"/>
                      <a:pt x="207" y="775"/>
                    </a:cubicBezTo>
                    <a:cubicBezTo>
                      <a:pt x="203" y="759"/>
                      <a:pt x="207" y="746"/>
                      <a:pt x="207" y="728"/>
                    </a:cubicBezTo>
                    <a:cubicBezTo>
                      <a:pt x="206" y="725"/>
                      <a:pt x="202" y="731"/>
                      <a:pt x="203" y="723"/>
                    </a:cubicBezTo>
                    <a:cubicBezTo>
                      <a:pt x="192" y="724"/>
                      <a:pt x="184" y="722"/>
                      <a:pt x="177" y="719"/>
                    </a:cubicBezTo>
                    <a:cubicBezTo>
                      <a:pt x="179" y="709"/>
                      <a:pt x="172" y="720"/>
                      <a:pt x="173" y="710"/>
                    </a:cubicBezTo>
                    <a:cubicBezTo>
                      <a:pt x="165" y="707"/>
                      <a:pt x="163" y="705"/>
                      <a:pt x="153" y="708"/>
                    </a:cubicBezTo>
                    <a:cubicBezTo>
                      <a:pt x="151" y="708"/>
                      <a:pt x="148" y="709"/>
                      <a:pt x="145" y="710"/>
                    </a:cubicBezTo>
                    <a:cubicBezTo>
                      <a:pt x="144" y="710"/>
                      <a:pt x="140" y="713"/>
                      <a:pt x="134" y="711"/>
                    </a:cubicBezTo>
                    <a:cubicBezTo>
                      <a:pt x="137" y="716"/>
                      <a:pt x="140" y="713"/>
                      <a:pt x="130" y="715"/>
                    </a:cubicBezTo>
                    <a:cubicBezTo>
                      <a:pt x="124" y="717"/>
                      <a:pt x="120" y="718"/>
                      <a:pt x="110" y="719"/>
                    </a:cubicBezTo>
                    <a:cubicBezTo>
                      <a:pt x="107" y="719"/>
                      <a:pt x="107" y="717"/>
                      <a:pt x="104" y="717"/>
                    </a:cubicBezTo>
                    <a:cubicBezTo>
                      <a:pt x="92" y="716"/>
                      <a:pt x="79" y="723"/>
                      <a:pt x="69" y="721"/>
                    </a:cubicBezTo>
                    <a:cubicBezTo>
                      <a:pt x="70" y="714"/>
                      <a:pt x="62" y="716"/>
                      <a:pt x="60" y="715"/>
                    </a:cubicBezTo>
                    <a:cubicBezTo>
                      <a:pt x="59" y="715"/>
                      <a:pt x="60" y="712"/>
                      <a:pt x="60" y="711"/>
                    </a:cubicBezTo>
                    <a:cubicBezTo>
                      <a:pt x="59" y="711"/>
                      <a:pt x="55" y="712"/>
                      <a:pt x="54" y="711"/>
                    </a:cubicBezTo>
                    <a:cubicBezTo>
                      <a:pt x="53" y="711"/>
                      <a:pt x="55" y="708"/>
                      <a:pt x="54" y="708"/>
                    </a:cubicBezTo>
                    <a:cubicBezTo>
                      <a:pt x="53" y="707"/>
                      <a:pt x="50" y="709"/>
                      <a:pt x="50" y="706"/>
                    </a:cubicBezTo>
                    <a:cubicBezTo>
                      <a:pt x="50" y="705"/>
                      <a:pt x="47" y="702"/>
                      <a:pt x="47" y="702"/>
                    </a:cubicBezTo>
                    <a:cubicBezTo>
                      <a:pt x="46" y="701"/>
                      <a:pt x="47" y="700"/>
                      <a:pt x="45" y="700"/>
                    </a:cubicBezTo>
                    <a:cubicBezTo>
                      <a:pt x="43" y="700"/>
                      <a:pt x="43" y="698"/>
                      <a:pt x="43" y="697"/>
                    </a:cubicBezTo>
                    <a:cubicBezTo>
                      <a:pt x="42" y="694"/>
                      <a:pt x="40" y="696"/>
                      <a:pt x="39" y="695"/>
                    </a:cubicBezTo>
                    <a:cubicBezTo>
                      <a:pt x="39" y="694"/>
                      <a:pt x="40" y="692"/>
                      <a:pt x="39" y="691"/>
                    </a:cubicBezTo>
                    <a:cubicBezTo>
                      <a:pt x="38" y="689"/>
                      <a:pt x="35" y="692"/>
                      <a:pt x="35" y="689"/>
                    </a:cubicBezTo>
                    <a:cubicBezTo>
                      <a:pt x="35" y="688"/>
                      <a:pt x="37" y="686"/>
                      <a:pt x="37" y="687"/>
                    </a:cubicBezTo>
                    <a:cubicBezTo>
                      <a:pt x="35" y="681"/>
                      <a:pt x="26" y="682"/>
                      <a:pt x="28" y="676"/>
                    </a:cubicBezTo>
                    <a:cubicBezTo>
                      <a:pt x="19" y="679"/>
                      <a:pt x="23" y="668"/>
                      <a:pt x="15" y="670"/>
                    </a:cubicBezTo>
                    <a:cubicBezTo>
                      <a:pt x="16" y="669"/>
                      <a:pt x="17" y="667"/>
                      <a:pt x="17" y="665"/>
                    </a:cubicBezTo>
                    <a:cubicBezTo>
                      <a:pt x="16" y="662"/>
                      <a:pt x="12" y="663"/>
                      <a:pt x="9" y="663"/>
                    </a:cubicBezTo>
                    <a:cubicBezTo>
                      <a:pt x="11" y="660"/>
                      <a:pt x="6" y="659"/>
                      <a:pt x="6" y="657"/>
                    </a:cubicBezTo>
                    <a:cubicBezTo>
                      <a:pt x="5" y="654"/>
                      <a:pt x="9" y="655"/>
                      <a:pt x="6" y="650"/>
                    </a:cubicBezTo>
                    <a:cubicBezTo>
                      <a:pt x="5" y="649"/>
                      <a:pt x="4" y="650"/>
                      <a:pt x="4" y="648"/>
                    </a:cubicBezTo>
                    <a:cubicBezTo>
                      <a:pt x="4" y="647"/>
                      <a:pt x="2" y="642"/>
                      <a:pt x="0" y="641"/>
                    </a:cubicBezTo>
                    <a:cubicBezTo>
                      <a:pt x="0" y="638"/>
                      <a:pt x="4" y="640"/>
                      <a:pt x="6" y="639"/>
                    </a:cubicBezTo>
                    <a:cubicBezTo>
                      <a:pt x="7" y="638"/>
                      <a:pt x="6" y="632"/>
                      <a:pt x="9" y="633"/>
                    </a:cubicBezTo>
                    <a:cubicBezTo>
                      <a:pt x="9" y="623"/>
                      <a:pt x="9" y="612"/>
                      <a:pt x="9" y="602"/>
                    </a:cubicBezTo>
                    <a:cubicBezTo>
                      <a:pt x="10" y="599"/>
                      <a:pt x="6" y="601"/>
                      <a:pt x="6" y="600"/>
                    </a:cubicBezTo>
                    <a:cubicBezTo>
                      <a:pt x="5" y="599"/>
                      <a:pt x="7" y="597"/>
                      <a:pt x="7" y="596"/>
                    </a:cubicBezTo>
                    <a:cubicBezTo>
                      <a:pt x="8" y="593"/>
                      <a:pt x="5" y="592"/>
                      <a:pt x="6" y="588"/>
                    </a:cubicBezTo>
                    <a:cubicBezTo>
                      <a:pt x="13" y="596"/>
                      <a:pt x="6" y="575"/>
                      <a:pt x="13" y="583"/>
                    </a:cubicBezTo>
                    <a:cubicBezTo>
                      <a:pt x="14" y="581"/>
                      <a:pt x="13" y="574"/>
                      <a:pt x="15" y="572"/>
                    </a:cubicBezTo>
                    <a:cubicBezTo>
                      <a:pt x="15" y="571"/>
                      <a:pt x="19" y="572"/>
                      <a:pt x="19" y="572"/>
                    </a:cubicBezTo>
                    <a:cubicBezTo>
                      <a:pt x="19" y="571"/>
                      <a:pt x="16" y="568"/>
                      <a:pt x="17" y="566"/>
                    </a:cubicBezTo>
                    <a:cubicBezTo>
                      <a:pt x="24" y="564"/>
                      <a:pt x="23" y="554"/>
                      <a:pt x="30" y="553"/>
                    </a:cubicBezTo>
                    <a:cubicBezTo>
                      <a:pt x="30" y="547"/>
                      <a:pt x="36" y="547"/>
                      <a:pt x="35" y="540"/>
                    </a:cubicBezTo>
                    <a:cubicBezTo>
                      <a:pt x="39" y="541"/>
                      <a:pt x="39" y="539"/>
                      <a:pt x="39" y="536"/>
                    </a:cubicBezTo>
                    <a:cubicBezTo>
                      <a:pt x="50" y="535"/>
                      <a:pt x="59" y="531"/>
                      <a:pt x="58" y="518"/>
                    </a:cubicBezTo>
                    <a:cubicBezTo>
                      <a:pt x="65" y="519"/>
                      <a:pt x="59" y="507"/>
                      <a:pt x="65" y="508"/>
                    </a:cubicBezTo>
                    <a:cubicBezTo>
                      <a:pt x="65" y="505"/>
                      <a:pt x="65" y="501"/>
                      <a:pt x="65" y="497"/>
                    </a:cubicBezTo>
                    <a:cubicBezTo>
                      <a:pt x="69" y="497"/>
                      <a:pt x="69" y="495"/>
                      <a:pt x="73" y="495"/>
                    </a:cubicBezTo>
                    <a:cubicBezTo>
                      <a:pt x="76" y="492"/>
                      <a:pt x="79" y="489"/>
                      <a:pt x="82" y="484"/>
                    </a:cubicBezTo>
                    <a:cubicBezTo>
                      <a:pt x="83" y="483"/>
                      <a:pt x="84" y="484"/>
                      <a:pt x="84" y="482"/>
                    </a:cubicBezTo>
                    <a:cubicBezTo>
                      <a:pt x="84" y="480"/>
                      <a:pt x="89" y="480"/>
                      <a:pt x="88" y="477"/>
                    </a:cubicBezTo>
                    <a:cubicBezTo>
                      <a:pt x="96" y="478"/>
                      <a:pt x="97" y="472"/>
                      <a:pt x="104" y="473"/>
                    </a:cubicBezTo>
                    <a:cubicBezTo>
                      <a:pt x="102" y="480"/>
                      <a:pt x="113" y="473"/>
                      <a:pt x="110" y="480"/>
                    </a:cubicBezTo>
                    <a:cubicBezTo>
                      <a:pt x="114" y="476"/>
                      <a:pt x="129" y="483"/>
                      <a:pt x="129" y="475"/>
                    </a:cubicBezTo>
                    <a:cubicBezTo>
                      <a:pt x="137" y="474"/>
                      <a:pt x="145" y="471"/>
                      <a:pt x="149" y="465"/>
                    </a:cubicBezTo>
                    <a:cubicBezTo>
                      <a:pt x="152" y="466"/>
                      <a:pt x="154" y="466"/>
                      <a:pt x="155" y="464"/>
                    </a:cubicBezTo>
                    <a:cubicBezTo>
                      <a:pt x="158" y="464"/>
                      <a:pt x="159" y="465"/>
                      <a:pt x="162" y="465"/>
                    </a:cubicBezTo>
                    <a:cubicBezTo>
                      <a:pt x="166" y="466"/>
                      <a:pt x="170" y="463"/>
                      <a:pt x="173" y="464"/>
                    </a:cubicBezTo>
                    <a:cubicBezTo>
                      <a:pt x="173" y="464"/>
                      <a:pt x="174" y="465"/>
                      <a:pt x="175" y="465"/>
                    </a:cubicBezTo>
                    <a:cubicBezTo>
                      <a:pt x="179" y="466"/>
                      <a:pt x="187" y="469"/>
                      <a:pt x="196" y="467"/>
                    </a:cubicBezTo>
                    <a:cubicBezTo>
                      <a:pt x="199" y="467"/>
                      <a:pt x="205" y="461"/>
                      <a:pt x="209" y="465"/>
                    </a:cubicBezTo>
                    <a:cubicBezTo>
                      <a:pt x="212" y="468"/>
                      <a:pt x="211" y="466"/>
                      <a:pt x="216" y="465"/>
                    </a:cubicBezTo>
                    <a:cubicBezTo>
                      <a:pt x="216" y="467"/>
                      <a:pt x="219" y="467"/>
                      <a:pt x="218" y="469"/>
                    </a:cubicBezTo>
                    <a:cubicBezTo>
                      <a:pt x="218" y="470"/>
                      <a:pt x="214" y="471"/>
                      <a:pt x="214" y="471"/>
                    </a:cubicBezTo>
                    <a:cubicBezTo>
                      <a:pt x="214" y="473"/>
                      <a:pt x="216" y="472"/>
                      <a:pt x="216" y="473"/>
                    </a:cubicBezTo>
                    <a:cubicBezTo>
                      <a:pt x="217" y="475"/>
                      <a:pt x="214" y="475"/>
                      <a:pt x="214" y="475"/>
                    </a:cubicBezTo>
                    <a:cubicBezTo>
                      <a:pt x="215" y="476"/>
                      <a:pt x="216" y="477"/>
                      <a:pt x="216" y="479"/>
                    </a:cubicBezTo>
                    <a:cubicBezTo>
                      <a:pt x="216" y="484"/>
                      <a:pt x="213" y="486"/>
                      <a:pt x="218" y="493"/>
                    </a:cubicBezTo>
                    <a:cubicBezTo>
                      <a:pt x="219" y="498"/>
                      <a:pt x="221" y="491"/>
                      <a:pt x="224" y="495"/>
                    </a:cubicBezTo>
                    <a:cubicBezTo>
                      <a:pt x="223" y="498"/>
                      <a:pt x="227" y="496"/>
                      <a:pt x="227" y="497"/>
                    </a:cubicBezTo>
                    <a:cubicBezTo>
                      <a:pt x="228" y="498"/>
                      <a:pt x="227" y="500"/>
                      <a:pt x="227" y="501"/>
                    </a:cubicBezTo>
                    <a:cubicBezTo>
                      <a:pt x="229" y="502"/>
                      <a:pt x="233" y="500"/>
                      <a:pt x="233" y="503"/>
                    </a:cubicBezTo>
                    <a:cubicBezTo>
                      <a:pt x="239" y="500"/>
                      <a:pt x="243" y="508"/>
                      <a:pt x="246" y="503"/>
                    </a:cubicBezTo>
                    <a:cubicBezTo>
                      <a:pt x="248" y="502"/>
                      <a:pt x="247" y="506"/>
                      <a:pt x="248" y="506"/>
                    </a:cubicBezTo>
                    <a:cubicBezTo>
                      <a:pt x="251" y="508"/>
                      <a:pt x="253" y="506"/>
                      <a:pt x="257" y="508"/>
                    </a:cubicBezTo>
                    <a:cubicBezTo>
                      <a:pt x="258" y="509"/>
                      <a:pt x="258" y="511"/>
                      <a:pt x="259" y="512"/>
                    </a:cubicBezTo>
                    <a:cubicBezTo>
                      <a:pt x="260" y="513"/>
                      <a:pt x="262" y="511"/>
                      <a:pt x="263" y="512"/>
                    </a:cubicBezTo>
                    <a:cubicBezTo>
                      <a:pt x="265" y="514"/>
                      <a:pt x="266" y="513"/>
                      <a:pt x="268" y="514"/>
                    </a:cubicBezTo>
                    <a:cubicBezTo>
                      <a:pt x="269" y="514"/>
                      <a:pt x="270" y="518"/>
                      <a:pt x="270" y="518"/>
                    </a:cubicBezTo>
                    <a:cubicBezTo>
                      <a:pt x="271" y="518"/>
                      <a:pt x="274" y="516"/>
                      <a:pt x="276" y="516"/>
                    </a:cubicBezTo>
                    <a:cubicBezTo>
                      <a:pt x="275" y="516"/>
                      <a:pt x="277" y="517"/>
                      <a:pt x="278" y="518"/>
                    </a:cubicBezTo>
                    <a:cubicBezTo>
                      <a:pt x="279" y="518"/>
                      <a:pt x="280" y="517"/>
                      <a:pt x="281" y="518"/>
                    </a:cubicBezTo>
                    <a:cubicBezTo>
                      <a:pt x="282" y="516"/>
                      <a:pt x="284" y="515"/>
                      <a:pt x="285" y="514"/>
                    </a:cubicBezTo>
                    <a:cubicBezTo>
                      <a:pt x="285" y="514"/>
                      <a:pt x="288" y="513"/>
                      <a:pt x="287" y="512"/>
                    </a:cubicBezTo>
                    <a:cubicBezTo>
                      <a:pt x="282" y="508"/>
                      <a:pt x="292" y="509"/>
                      <a:pt x="293" y="503"/>
                    </a:cubicBezTo>
                    <a:cubicBezTo>
                      <a:pt x="298" y="504"/>
                      <a:pt x="298" y="499"/>
                      <a:pt x="304" y="501"/>
                    </a:cubicBezTo>
                    <a:cubicBezTo>
                      <a:pt x="305" y="501"/>
                      <a:pt x="305" y="503"/>
                      <a:pt x="306" y="503"/>
                    </a:cubicBezTo>
                    <a:cubicBezTo>
                      <a:pt x="308" y="503"/>
                      <a:pt x="311" y="502"/>
                      <a:pt x="313" y="503"/>
                    </a:cubicBezTo>
                    <a:cubicBezTo>
                      <a:pt x="314" y="503"/>
                      <a:pt x="317" y="506"/>
                      <a:pt x="317" y="506"/>
                    </a:cubicBezTo>
                    <a:cubicBezTo>
                      <a:pt x="318" y="507"/>
                      <a:pt x="320" y="504"/>
                      <a:pt x="322" y="505"/>
                    </a:cubicBezTo>
                    <a:cubicBezTo>
                      <a:pt x="323" y="505"/>
                      <a:pt x="322" y="508"/>
                      <a:pt x="322" y="508"/>
                    </a:cubicBezTo>
                    <a:cubicBezTo>
                      <a:pt x="324" y="509"/>
                      <a:pt x="327" y="505"/>
                      <a:pt x="330" y="506"/>
                    </a:cubicBezTo>
                    <a:cubicBezTo>
                      <a:pt x="331" y="508"/>
                      <a:pt x="326" y="508"/>
                      <a:pt x="326" y="508"/>
                    </a:cubicBezTo>
                    <a:cubicBezTo>
                      <a:pt x="327" y="512"/>
                      <a:pt x="339" y="512"/>
                      <a:pt x="345" y="512"/>
                    </a:cubicBezTo>
                    <a:cubicBezTo>
                      <a:pt x="344" y="519"/>
                      <a:pt x="360" y="517"/>
                      <a:pt x="363" y="512"/>
                    </a:cubicBezTo>
                    <a:cubicBezTo>
                      <a:pt x="365" y="514"/>
                      <a:pt x="373" y="510"/>
                      <a:pt x="375" y="512"/>
                    </a:cubicBezTo>
                    <a:cubicBezTo>
                      <a:pt x="377" y="514"/>
                      <a:pt x="375" y="512"/>
                      <a:pt x="378" y="512"/>
                    </a:cubicBezTo>
                    <a:cubicBezTo>
                      <a:pt x="382" y="512"/>
                      <a:pt x="384" y="514"/>
                      <a:pt x="388" y="514"/>
                    </a:cubicBezTo>
                    <a:cubicBezTo>
                      <a:pt x="391" y="513"/>
                      <a:pt x="393" y="511"/>
                      <a:pt x="397" y="510"/>
                    </a:cubicBezTo>
                    <a:cubicBezTo>
                      <a:pt x="398" y="506"/>
                      <a:pt x="398" y="500"/>
                      <a:pt x="403" y="499"/>
                    </a:cubicBezTo>
                    <a:cubicBezTo>
                      <a:pt x="403" y="496"/>
                      <a:pt x="400" y="495"/>
                      <a:pt x="401" y="492"/>
                    </a:cubicBezTo>
                    <a:cubicBezTo>
                      <a:pt x="407" y="492"/>
                      <a:pt x="406" y="480"/>
                      <a:pt x="412" y="486"/>
                    </a:cubicBezTo>
                    <a:cubicBezTo>
                      <a:pt x="413" y="479"/>
                      <a:pt x="410" y="477"/>
                      <a:pt x="404" y="477"/>
                    </a:cubicBezTo>
                    <a:cubicBezTo>
                      <a:pt x="406" y="475"/>
                      <a:pt x="406" y="472"/>
                      <a:pt x="406" y="469"/>
                    </a:cubicBezTo>
                    <a:cubicBezTo>
                      <a:pt x="404" y="464"/>
                      <a:pt x="393" y="467"/>
                      <a:pt x="391" y="462"/>
                    </a:cubicBezTo>
                    <a:cubicBezTo>
                      <a:pt x="388" y="464"/>
                      <a:pt x="382" y="463"/>
                      <a:pt x="380" y="467"/>
                    </a:cubicBezTo>
                    <a:cubicBezTo>
                      <a:pt x="378" y="468"/>
                      <a:pt x="379" y="464"/>
                      <a:pt x="378" y="464"/>
                    </a:cubicBezTo>
                    <a:cubicBezTo>
                      <a:pt x="375" y="462"/>
                      <a:pt x="369" y="465"/>
                      <a:pt x="365" y="464"/>
                    </a:cubicBezTo>
                    <a:cubicBezTo>
                      <a:pt x="363" y="465"/>
                      <a:pt x="363" y="468"/>
                      <a:pt x="360" y="467"/>
                    </a:cubicBezTo>
                    <a:cubicBezTo>
                      <a:pt x="354" y="468"/>
                      <a:pt x="356" y="460"/>
                      <a:pt x="347" y="462"/>
                    </a:cubicBezTo>
                    <a:cubicBezTo>
                      <a:pt x="347" y="458"/>
                      <a:pt x="344" y="458"/>
                      <a:pt x="345" y="454"/>
                    </a:cubicBezTo>
                    <a:cubicBezTo>
                      <a:pt x="343" y="455"/>
                      <a:pt x="342" y="454"/>
                      <a:pt x="341" y="452"/>
                    </a:cubicBezTo>
                    <a:cubicBezTo>
                      <a:pt x="340" y="450"/>
                      <a:pt x="337" y="449"/>
                      <a:pt x="334" y="449"/>
                    </a:cubicBezTo>
                    <a:cubicBezTo>
                      <a:pt x="337" y="444"/>
                      <a:pt x="335" y="433"/>
                      <a:pt x="334" y="428"/>
                    </a:cubicBezTo>
                    <a:cubicBezTo>
                      <a:pt x="329" y="431"/>
                      <a:pt x="323" y="425"/>
                      <a:pt x="322" y="434"/>
                    </a:cubicBezTo>
                    <a:cubicBezTo>
                      <a:pt x="317" y="431"/>
                      <a:pt x="316" y="435"/>
                      <a:pt x="311" y="432"/>
                    </a:cubicBezTo>
                    <a:cubicBezTo>
                      <a:pt x="312" y="434"/>
                      <a:pt x="311" y="435"/>
                      <a:pt x="309" y="436"/>
                    </a:cubicBezTo>
                    <a:cubicBezTo>
                      <a:pt x="311" y="437"/>
                      <a:pt x="312" y="438"/>
                      <a:pt x="313" y="439"/>
                    </a:cubicBezTo>
                    <a:cubicBezTo>
                      <a:pt x="314" y="441"/>
                      <a:pt x="313" y="444"/>
                      <a:pt x="317" y="443"/>
                    </a:cubicBezTo>
                    <a:cubicBezTo>
                      <a:pt x="315" y="449"/>
                      <a:pt x="315" y="447"/>
                      <a:pt x="319" y="451"/>
                    </a:cubicBezTo>
                    <a:cubicBezTo>
                      <a:pt x="320" y="455"/>
                      <a:pt x="316" y="453"/>
                      <a:pt x="315" y="454"/>
                    </a:cubicBezTo>
                    <a:cubicBezTo>
                      <a:pt x="315" y="455"/>
                      <a:pt x="312" y="461"/>
                      <a:pt x="311" y="460"/>
                    </a:cubicBezTo>
                    <a:cubicBezTo>
                      <a:pt x="307" y="456"/>
                      <a:pt x="311" y="465"/>
                      <a:pt x="304" y="464"/>
                    </a:cubicBezTo>
                    <a:cubicBezTo>
                      <a:pt x="303" y="462"/>
                      <a:pt x="302" y="460"/>
                      <a:pt x="300" y="460"/>
                    </a:cubicBezTo>
                    <a:cubicBezTo>
                      <a:pt x="299" y="457"/>
                      <a:pt x="302" y="456"/>
                      <a:pt x="304" y="456"/>
                    </a:cubicBezTo>
                    <a:cubicBezTo>
                      <a:pt x="301" y="453"/>
                      <a:pt x="295" y="451"/>
                      <a:pt x="300" y="447"/>
                    </a:cubicBezTo>
                    <a:cubicBezTo>
                      <a:pt x="298" y="446"/>
                      <a:pt x="294" y="448"/>
                      <a:pt x="293" y="447"/>
                    </a:cubicBezTo>
                    <a:cubicBezTo>
                      <a:pt x="291" y="446"/>
                      <a:pt x="296" y="445"/>
                      <a:pt x="296" y="445"/>
                    </a:cubicBezTo>
                    <a:cubicBezTo>
                      <a:pt x="296" y="445"/>
                      <a:pt x="292" y="440"/>
                      <a:pt x="287" y="438"/>
                    </a:cubicBezTo>
                    <a:cubicBezTo>
                      <a:pt x="288" y="429"/>
                      <a:pt x="283" y="427"/>
                      <a:pt x="283" y="419"/>
                    </a:cubicBezTo>
                    <a:cubicBezTo>
                      <a:pt x="284" y="416"/>
                      <a:pt x="279" y="418"/>
                      <a:pt x="278" y="417"/>
                    </a:cubicBezTo>
                    <a:cubicBezTo>
                      <a:pt x="277" y="416"/>
                      <a:pt x="281" y="414"/>
                      <a:pt x="280" y="413"/>
                    </a:cubicBezTo>
                    <a:cubicBezTo>
                      <a:pt x="276" y="410"/>
                      <a:pt x="275" y="414"/>
                      <a:pt x="272" y="411"/>
                    </a:cubicBezTo>
                    <a:cubicBezTo>
                      <a:pt x="272" y="411"/>
                      <a:pt x="274" y="409"/>
                      <a:pt x="274" y="408"/>
                    </a:cubicBezTo>
                    <a:cubicBezTo>
                      <a:pt x="273" y="406"/>
                      <a:pt x="272" y="410"/>
                      <a:pt x="272" y="410"/>
                    </a:cubicBezTo>
                    <a:cubicBezTo>
                      <a:pt x="270" y="410"/>
                      <a:pt x="271" y="407"/>
                      <a:pt x="270" y="406"/>
                    </a:cubicBezTo>
                    <a:cubicBezTo>
                      <a:pt x="263" y="407"/>
                      <a:pt x="263" y="401"/>
                      <a:pt x="255" y="402"/>
                    </a:cubicBezTo>
                    <a:cubicBezTo>
                      <a:pt x="255" y="400"/>
                      <a:pt x="253" y="400"/>
                      <a:pt x="252" y="398"/>
                    </a:cubicBezTo>
                    <a:cubicBezTo>
                      <a:pt x="251" y="398"/>
                      <a:pt x="252" y="395"/>
                      <a:pt x="252" y="395"/>
                    </a:cubicBezTo>
                    <a:cubicBezTo>
                      <a:pt x="251" y="394"/>
                      <a:pt x="248" y="395"/>
                      <a:pt x="248" y="395"/>
                    </a:cubicBezTo>
                    <a:cubicBezTo>
                      <a:pt x="248" y="394"/>
                      <a:pt x="248" y="387"/>
                      <a:pt x="246" y="389"/>
                    </a:cubicBezTo>
                    <a:cubicBezTo>
                      <a:pt x="245" y="391"/>
                      <a:pt x="244" y="389"/>
                      <a:pt x="242" y="387"/>
                    </a:cubicBezTo>
                    <a:cubicBezTo>
                      <a:pt x="242" y="386"/>
                      <a:pt x="240" y="386"/>
                      <a:pt x="240" y="383"/>
                    </a:cubicBezTo>
                    <a:cubicBezTo>
                      <a:pt x="234" y="384"/>
                      <a:pt x="235" y="386"/>
                      <a:pt x="229" y="383"/>
                    </a:cubicBezTo>
                    <a:cubicBezTo>
                      <a:pt x="227" y="384"/>
                      <a:pt x="228" y="387"/>
                      <a:pt x="226" y="387"/>
                    </a:cubicBezTo>
                    <a:cubicBezTo>
                      <a:pt x="224" y="392"/>
                      <a:pt x="229" y="391"/>
                      <a:pt x="229" y="395"/>
                    </a:cubicBezTo>
                    <a:cubicBezTo>
                      <a:pt x="229" y="396"/>
                      <a:pt x="232" y="399"/>
                      <a:pt x="233" y="400"/>
                    </a:cubicBezTo>
                    <a:cubicBezTo>
                      <a:pt x="234" y="401"/>
                      <a:pt x="235" y="402"/>
                      <a:pt x="237" y="402"/>
                    </a:cubicBezTo>
                    <a:cubicBezTo>
                      <a:pt x="234" y="408"/>
                      <a:pt x="240" y="407"/>
                      <a:pt x="242" y="410"/>
                    </a:cubicBezTo>
                    <a:cubicBezTo>
                      <a:pt x="243" y="410"/>
                      <a:pt x="244" y="417"/>
                      <a:pt x="246" y="415"/>
                    </a:cubicBezTo>
                    <a:cubicBezTo>
                      <a:pt x="249" y="412"/>
                      <a:pt x="246" y="416"/>
                      <a:pt x="248" y="417"/>
                    </a:cubicBezTo>
                    <a:cubicBezTo>
                      <a:pt x="250" y="419"/>
                      <a:pt x="254" y="418"/>
                      <a:pt x="255" y="423"/>
                    </a:cubicBezTo>
                    <a:cubicBezTo>
                      <a:pt x="258" y="421"/>
                      <a:pt x="259" y="424"/>
                      <a:pt x="259" y="424"/>
                    </a:cubicBezTo>
                    <a:cubicBezTo>
                      <a:pt x="260" y="425"/>
                      <a:pt x="262" y="423"/>
                      <a:pt x="261" y="423"/>
                    </a:cubicBezTo>
                    <a:cubicBezTo>
                      <a:pt x="263" y="423"/>
                      <a:pt x="264" y="428"/>
                      <a:pt x="265" y="424"/>
                    </a:cubicBezTo>
                    <a:cubicBezTo>
                      <a:pt x="269" y="424"/>
                      <a:pt x="264" y="433"/>
                      <a:pt x="270" y="430"/>
                    </a:cubicBezTo>
                    <a:cubicBezTo>
                      <a:pt x="270" y="434"/>
                      <a:pt x="262" y="431"/>
                      <a:pt x="259" y="432"/>
                    </a:cubicBezTo>
                    <a:cubicBezTo>
                      <a:pt x="260" y="434"/>
                      <a:pt x="262" y="433"/>
                      <a:pt x="263" y="436"/>
                    </a:cubicBezTo>
                    <a:cubicBezTo>
                      <a:pt x="264" y="439"/>
                      <a:pt x="260" y="445"/>
                      <a:pt x="263" y="445"/>
                    </a:cubicBezTo>
                    <a:cubicBezTo>
                      <a:pt x="261" y="448"/>
                      <a:pt x="257" y="448"/>
                      <a:pt x="253" y="449"/>
                    </a:cubicBezTo>
                    <a:cubicBezTo>
                      <a:pt x="256" y="448"/>
                      <a:pt x="254" y="441"/>
                      <a:pt x="257" y="441"/>
                    </a:cubicBezTo>
                    <a:cubicBezTo>
                      <a:pt x="256" y="440"/>
                      <a:pt x="256" y="436"/>
                      <a:pt x="253" y="436"/>
                    </a:cubicBezTo>
                    <a:cubicBezTo>
                      <a:pt x="251" y="435"/>
                      <a:pt x="255" y="433"/>
                      <a:pt x="250" y="430"/>
                    </a:cubicBezTo>
                    <a:cubicBezTo>
                      <a:pt x="248" y="429"/>
                      <a:pt x="244" y="429"/>
                      <a:pt x="244" y="424"/>
                    </a:cubicBezTo>
                    <a:cubicBezTo>
                      <a:pt x="236" y="426"/>
                      <a:pt x="235" y="421"/>
                      <a:pt x="229" y="421"/>
                    </a:cubicBezTo>
                    <a:cubicBezTo>
                      <a:pt x="228" y="416"/>
                      <a:pt x="225" y="414"/>
                      <a:pt x="222" y="410"/>
                    </a:cubicBezTo>
                    <a:cubicBezTo>
                      <a:pt x="221" y="408"/>
                      <a:pt x="220" y="410"/>
                      <a:pt x="220" y="408"/>
                    </a:cubicBezTo>
                    <a:cubicBezTo>
                      <a:pt x="220" y="405"/>
                      <a:pt x="217" y="407"/>
                      <a:pt x="216" y="406"/>
                    </a:cubicBezTo>
                    <a:cubicBezTo>
                      <a:pt x="216" y="405"/>
                      <a:pt x="217" y="402"/>
                      <a:pt x="216" y="402"/>
                    </a:cubicBezTo>
                    <a:cubicBezTo>
                      <a:pt x="214" y="401"/>
                      <a:pt x="211" y="403"/>
                      <a:pt x="209" y="402"/>
                    </a:cubicBezTo>
                    <a:cubicBezTo>
                      <a:pt x="208" y="401"/>
                      <a:pt x="212" y="400"/>
                      <a:pt x="213" y="400"/>
                    </a:cubicBezTo>
                    <a:cubicBezTo>
                      <a:pt x="210" y="396"/>
                      <a:pt x="199" y="396"/>
                      <a:pt x="194" y="398"/>
                    </a:cubicBezTo>
                    <a:cubicBezTo>
                      <a:pt x="193" y="400"/>
                      <a:pt x="197" y="401"/>
                      <a:pt x="198" y="400"/>
                    </a:cubicBezTo>
                    <a:cubicBezTo>
                      <a:pt x="196" y="403"/>
                      <a:pt x="195" y="401"/>
                      <a:pt x="192" y="402"/>
                    </a:cubicBezTo>
                    <a:cubicBezTo>
                      <a:pt x="188" y="404"/>
                      <a:pt x="188" y="410"/>
                      <a:pt x="185" y="410"/>
                    </a:cubicBezTo>
                    <a:cubicBezTo>
                      <a:pt x="177" y="409"/>
                      <a:pt x="175" y="403"/>
                      <a:pt x="166" y="404"/>
                    </a:cubicBezTo>
                    <a:cubicBezTo>
                      <a:pt x="163" y="405"/>
                      <a:pt x="164" y="410"/>
                      <a:pt x="158" y="408"/>
                    </a:cubicBezTo>
                    <a:cubicBezTo>
                      <a:pt x="158" y="412"/>
                      <a:pt x="158" y="416"/>
                      <a:pt x="158" y="421"/>
                    </a:cubicBezTo>
                    <a:cubicBezTo>
                      <a:pt x="153" y="423"/>
                      <a:pt x="141" y="421"/>
                      <a:pt x="144" y="432"/>
                    </a:cubicBezTo>
                    <a:cubicBezTo>
                      <a:pt x="131" y="429"/>
                      <a:pt x="141" y="439"/>
                      <a:pt x="130" y="439"/>
                    </a:cubicBezTo>
                    <a:cubicBezTo>
                      <a:pt x="130" y="442"/>
                      <a:pt x="137" y="446"/>
                      <a:pt x="132" y="447"/>
                    </a:cubicBezTo>
                    <a:cubicBezTo>
                      <a:pt x="132" y="453"/>
                      <a:pt x="129" y="447"/>
                      <a:pt x="125" y="452"/>
                    </a:cubicBezTo>
                    <a:cubicBezTo>
                      <a:pt x="125" y="455"/>
                      <a:pt x="125" y="456"/>
                      <a:pt x="127" y="456"/>
                    </a:cubicBezTo>
                    <a:cubicBezTo>
                      <a:pt x="127" y="460"/>
                      <a:pt x="120" y="457"/>
                      <a:pt x="117" y="458"/>
                    </a:cubicBezTo>
                    <a:cubicBezTo>
                      <a:pt x="115" y="458"/>
                      <a:pt x="115" y="463"/>
                      <a:pt x="114" y="464"/>
                    </a:cubicBezTo>
                    <a:cubicBezTo>
                      <a:pt x="108" y="466"/>
                      <a:pt x="98" y="462"/>
                      <a:pt x="93" y="469"/>
                    </a:cubicBezTo>
                    <a:cubicBezTo>
                      <a:pt x="91" y="467"/>
                      <a:pt x="89" y="464"/>
                      <a:pt x="88" y="462"/>
                    </a:cubicBezTo>
                    <a:cubicBezTo>
                      <a:pt x="79" y="460"/>
                      <a:pt x="70" y="464"/>
                      <a:pt x="67" y="462"/>
                    </a:cubicBezTo>
                    <a:cubicBezTo>
                      <a:pt x="68" y="455"/>
                      <a:pt x="71" y="447"/>
                      <a:pt x="65" y="443"/>
                    </a:cubicBezTo>
                    <a:cubicBezTo>
                      <a:pt x="64" y="440"/>
                      <a:pt x="68" y="439"/>
                      <a:pt x="69" y="436"/>
                    </a:cubicBezTo>
                    <a:cubicBezTo>
                      <a:pt x="70" y="430"/>
                      <a:pt x="67" y="425"/>
                      <a:pt x="71" y="421"/>
                    </a:cubicBezTo>
                    <a:cubicBezTo>
                      <a:pt x="69" y="417"/>
                      <a:pt x="70" y="411"/>
                      <a:pt x="65" y="410"/>
                    </a:cubicBezTo>
                    <a:cubicBezTo>
                      <a:pt x="66" y="408"/>
                      <a:pt x="70" y="408"/>
                      <a:pt x="69" y="404"/>
                    </a:cubicBezTo>
                    <a:cubicBezTo>
                      <a:pt x="74" y="405"/>
                      <a:pt x="85" y="400"/>
                      <a:pt x="84" y="408"/>
                    </a:cubicBezTo>
                    <a:cubicBezTo>
                      <a:pt x="88" y="404"/>
                      <a:pt x="106" y="412"/>
                      <a:pt x="110" y="408"/>
                    </a:cubicBezTo>
                    <a:cubicBezTo>
                      <a:pt x="112" y="406"/>
                      <a:pt x="111" y="407"/>
                      <a:pt x="114" y="408"/>
                    </a:cubicBezTo>
                    <a:cubicBezTo>
                      <a:pt x="113" y="408"/>
                      <a:pt x="115" y="405"/>
                      <a:pt x="116" y="406"/>
                    </a:cubicBezTo>
                    <a:cubicBezTo>
                      <a:pt x="116" y="406"/>
                      <a:pt x="116" y="408"/>
                      <a:pt x="116" y="408"/>
                    </a:cubicBezTo>
                    <a:cubicBezTo>
                      <a:pt x="121" y="406"/>
                      <a:pt x="124" y="404"/>
                      <a:pt x="125" y="398"/>
                    </a:cubicBezTo>
                    <a:cubicBezTo>
                      <a:pt x="125" y="396"/>
                      <a:pt x="130" y="386"/>
                      <a:pt x="125" y="382"/>
                    </a:cubicBezTo>
                    <a:cubicBezTo>
                      <a:pt x="122" y="379"/>
                      <a:pt x="126" y="379"/>
                      <a:pt x="123" y="374"/>
                    </a:cubicBezTo>
                    <a:cubicBezTo>
                      <a:pt x="123" y="372"/>
                      <a:pt x="120" y="373"/>
                      <a:pt x="117" y="372"/>
                    </a:cubicBezTo>
                    <a:cubicBezTo>
                      <a:pt x="118" y="371"/>
                      <a:pt x="119" y="369"/>
                      <a:pt x="119" y="367"/>
                    </a:cubicBezTo>
                    <a:cubicBezTo>
                      <a:pt x="117" y="365"/>
                      <a:pt x="116" y="369"/>
                      <a:pt x="116" y="369"/>
                    </a:cubicBezTo>
                    <a:cubicBezTo>
                      <a:pt x="113" y="368"/>
                      <a:pt x="115" y="366"/>
                      <a:pt x="114" y="365"/>
                    </a:cubicBezTo>
                    <a:cubicBezTo>
                      <a:pt x="112" y="364"/>
                      <a:pt x="107" y="364"/>
                      <a:pt x="104" y="363"/>
                    </a:cubicBezTo>
                    <a:cubicBezTo>
                      <a:pt x="104" y="363"/>
                      <a:pt x="104" y="361"/>
                      <a:pt x="102" y="361"/>
                    </a:cubicBezTo>
                    <a:cubicBezTo>
                      <a:pt x="100" y="361"/>
                      <a:pt x="99" y="361"/>
                      <a:pt x="99" y="359"/>
                    </a:cubicBezTo>
                    <a:cubicBezTo>
                      <a:pt x="97" y="354"/>
                      <a:pt x="103" y="357"/>
                      <a:pt x="102" y="357"/>
                    </a:cubicBezTo>
                    <a:cubicBezTo>
                      <a:pt x="108" y="356"/>
                      <a:pt x="112" y="352"/>
                      <a:pt x="123" y="354"/>
                    </a:cubicBezTo>
                    <a:cubicBezTo>
                      <a:pt x="124" y="350"/>
                      <a:pt x="122" y="350"/>
                      <a:pt x="119" y="350"/>
                    </a:cubicBezTo>
                    <a:cubicBezTo>
                      <a:pt x="121" y="345"/>
                      <a:pt x="127" y="350"/>
                      <a:pt x="130" y="350"/>
                    </a:cubicBezTo>
                    <a:cubicBezTo>
                      <a:pt x="132" y="350"/>
                      <a:pt x="136" y="346"/>
                      <a:pt x="136" y="350"/>
                    </a:cubicBezTo>
                    <a:cubicBezTo>
                      <a:pt x="140" y="347"/>
                      <a:pt x="140" y="341"/>
                      <a:pt x="147" y="341"/>
                    </a:cubicBezTo>
                    <a:cubicBezTo>
                      <a:pt x="145" y="334"/>
                      <a:pt x="152" y="337"/>
                      <a:pt x="151" y="331"/>
                    </a:cubicBezTo>
                    <a:cubicBezTo>
                      <a:pt x="155" y="331"/>
                      <a:pt x="158" y="331"/>
                      <a:pt x="162" y="331"/>
                    </a:cubicBezTo>
                    <a:cubicBezTo>
                      <a:pt x="162" y="329"/>
                      <a:pt x="160" y="330"/>
                      <a:pt x="158" y="329"/>
                    </a:cubicBezTo>
                    <a:cubicBezTo>
                      <a:pt x="159" y="326"/>
                      <a:pt x="164" y="328"/>
                      <a:pt x="162" y="322"/>
                    </a:cubicBezTo>
                    <a:cubicBezTo>
                      <a:pt x="167" y="322"/>
                      <a:pt x="166" y="325"/>
                      <a:pt x="170" y="322"/>
                    </a:cubicBezTo>
                    <a:cubicBezTo>
                      <a:pt x="165" y="312"/>
                      <a:pt x="173" y="316"/>
                      <a:pt x="173" y="307"/>
                    </a:cubicBezTo>
                    <a:cubicBezTo>
                      <a:pt x="176" y="307"/>
                      <a:pt x="178" y="308"/>
                      <a:pt x="181" y="307"/>
                    </a:cubicBezTo>
                    <a:cubicBezTo>
                      <a:pt x="183" y="306"/>
                      <a:pt x="183" y="304"/>
                      <a:pt x="185" y="303"/>
                    </a:cubicBezTo>
                    <a:cubicBezTo>
                      <a:pt x="187" y="302"/>
                      <a:pt x="186" y="305"/>
                      <a:pt x="186" y="305"/>
                    </a:cubicBezTo>
                    <a:cubicBezTo>
                      <a:pt x="189" y="306"/>
                      <a:pt x="188" y="303"/>
                      <a:pt x="188" y="303"/>
                    </a:cubicBezTo>
                    <a:cubicBezTo>
                      <a:pt x="190" y="303"/>
                      <a:pt x="194" y="304"/>
                      <a:pt x="196" y="303"/>
                    </a:cubicBezTo>
                    <a:cubicBezTo>
                      <a:pt x="198" y="303"/>
                      <a:pt x="199" y="297"/>
                      <a:pt x="203" y="300"/>
                    </a:cubicBezTo>
                    <a:cubicBezTo>
                      <a:pt x="203" y="295"/>
                      <a:pt x="197" y="296"/>
                      <a:pt x="198" y="290"/>
                    </a:cubicBezTo>
                    <a:cubicBezTo>
                      <a:pt x="203" y="289"/>
                      <a:pt x="200" y="288"/>
                      <a:pt x="199" y="281"/>
                    </a:cubicBezTo>
                    <a:cubicBezTo>
                      <a:pt x="199" y="276"/>
                      <a:pt x="202" y="273"/>
                      <a:pt x="201" y="268"/>
                    </a:cubicBezTo>
                    <a:cubicBezTo>
                      <a:pt x="204" y="268"/>
                      <a:pt x="206" y="268"/>
                      <a:pt x="209" y="268"/>
                    </a:cubicBezTo>
                    <a:cubicBezTo>
                      <a:pt x="214" y="268"/>
                      <a:pt x="204" y="263"/>
                      <a:pt x="213" y="264"/>
                    </a:cubicBezTo>
                    <a:cubicBezTo>
                      <a:pt x="213" y="266"/>
                      <a:pt x="215" y="266"/>
                      <a:pt x="216" y="266"/>
                    </a:cubicBezTo>
                    <a:cubicBezTo>
                      <a:pt x="213" y="270"/>
                      <a:pt x="213" y="266"/>
                      <a:pt x="214" y="272"/>
                    </a:cubicBezTo>
                    <a:cubicBezTo>
                      <a:pt x="215" y="275"/>
                      <a:pt x="214" y="278"/>
                      <a:pt x="218" y="277"/>
                    </a:cubicBezTo>
                    <a:cubicBezTo>
                      <a:pt x="218" y="280"/>
                      <a:pt x="218" y="282"/>
                      <a:pt x="216" y="283"/>
                    </a:cubicBezTo>
                    <a:cubicBezTo>
                      <a:pt x="216" y="286"/>
                      <a:pt x="224" y="280"/>
                      <a:pt x="227" y="285"/>
                    </a:cubicBezTo>
                    <a:cubicBezTo>
                      <a:pt x="226" y="290"/>
                      <a:pt x="215" y="286"/>
                      <a:pt x="214" y="292"/>
                    </a:cubicBezTo>
                    <a:cubicBezTo>
                      <a:pt x="213" y="296"/>
                      <a:pt x="219" y="297"/>
                      <a:pt x="220" y="298"/>
                    </a:cubicBezTo>
                    <a:cubicBezTo>
                      <a:pt x="222" y="299"/>
                      <a:pt x="222" y="302"/>
                      <a:pt x="226" y="301"/>
                    </a:cubicBezTo>
                    <a:cubicBezTo>
                      <a:pt x="224" y="298"/>
                      <a:pt x="219" y="298"/>
                      <a:pt x="227" y="298"/>
                    </a:cubicBezTo>
                    <a:cubicBezTo>
                      <a:pt x="230" y="298"/>
                      <a:pt x="233" y="297"/>
                      <a:pt x="235" y="298"/>
                    </a:cubicBezTo>
                    <a:cubicBezTo>
                      <a:pt x="238" y="298"/>
                      <a:pt x="239" y="300"/>
                      <a:pt x="242" y="300"/>
                    </a:cubicBezTo>
                    <a:cubicBezTo>
                      <a:pt x="247" y="300"/>
                      <a:pt x="248" y="296"/>
                      <a:pt x="253" y="298"/>
                    </a:cubicBezTo>
                    <a:cubicBezTo>
                      <a:pt x="254" y="298"/>
                      <a:pt x="260" y="301"/>
                      <a:pt x="263" y="298"/>
                    </a:cubicBezTo>
                    <a:cubicBezTo>
                      <a:pt x="263" y="298"/>
                      <a:pt x="263" y="296"/>
                      <a:pt x="263" y="296"/>
                    </a:cubicBezTo>
                    <a:cubicBezTo>
                      <a:pt x="268" y="294"/>
                      <a:pt x="274" y="296"/>
                      <a:pt x="276" y="292"/>
                    </a:cubicBezTo>
                    <a:cubicBezTo>
                      <a:pt x="283" y="300"/>
                      <a:pt x="288" y="286"/>
                      <a:pt x="293" y="290"/>
                    </a:cubicBezTo>
                    <a:cubicBezTo>
                      <a:pt x="293" y="288"/>
                      <a:pt x="293" y="285"/>
                      <a:pt x="293" y="283"/>
                    </a:cubicBezTo>
                    <a:cubicBezTo>
                      <a:pt x="296" y="284"/>
                      <a:pt x="296" y="281"/>
                      <a:pt x="296" y="279"/>
                    </a:cubicBezTo>
                    <a:cubicBezTo>
                      <a:pt x="296" y="279"/>
                      <a:pt x="298" y="274"/>
                      <a:pt x="298" y="273"/>
                    </a:cubicBezTo>
                    <a:cubicBezTo>
                      <a:pt x="300" y="272"/>
                      <a:pt x="298" y="272"/>
                      <a:pt x="298" y="268"/>
                    </a:cubicBezTo>
                    <a:cubicBezTo>
                      <a:pt x="302" y="268"/>
                      <a:pt x="305" y="267"/>
                      <a:pt x="306" y="264"/>
                    </a:cubicBezTo>
                    <a:cubicBezTo>
                      <a:pt x="308" y="264"/>
                      <a:pt x="307" y="266"/>
                      <a:pt x="308" y="268"/>
                    </a:cubicBezTo>
                    <a:cubicBezTo>
                      <a:pt x="309" y="266"/>
                      <a:pt x="312" y="266"/>
                      <a:pt x="315" y="266"/>
                    </a:cubicBezTo>
                    <a:cubicBezTo>
                      <a:pt x="317" y="266"/>
                      <a:pt x="316" y="262"/>
                      <a:pt x="319" y="262"/>
                    </a:cubicBezTo>
                    <a:cubicBezTo>
                      <a:pt x="319" y="258"/>
                      <a:pt x="318" y="255"/>
                      <a:pt x="315" y="255"/>
                    </a:cubicBezTo>
                    <a:cubicBezTo>
                      <a:pt x="316" y="253"/>
                      <a:pt x="317" y="251"/>
                      <a:pt x="317" y="247"/>
                    </a:cubicBezTo>
                    <a:cubicBezTo>
                      <a:pt x="321" y="248"/>
                      <a:pt x="323" y="247"/>
                      <a:pt x="322" y="244"/>
                    </a:cubicBezTo>
                    <a:cubicBezTo>
                      <a:pt x="327" y="248"/>
                      <a:pt x="328" y="241"/>
                      <a:pt x="335" y="244"/>
                    </a:cubicBezTo>
                    <a:cubicBezTo>
                      <a:pt x="336" y="244"/>
                      <a:pt x="338" y="246"/>
                      <a:pt x="337" y="246"/>
                    </a:cubicBezTo>
                    <a:cubicBezTo>
                      <a:pt x="339" y="246"/>
                      <a:pt x="339" y="244"/>
                      <a:pt x="341" y="244"/>
                    </a:cubicBezTo>
                    <a:cubicBezTo>
                      <a:pt x="343" y="243"/>
                      <a:pt x="345" y="245"/>
                      <a:pt x="345" y="246"/>
                    </a:cubicBezTo>
                    <a:cubicBezTo>
                      <a:pt x="347" y="245"/>
                      <a:pt x="345" y="243"/>
                      <a:pt x="347" y="242"/>
                    </a:cubicBezTo>
                    <a:cubicBezTo>
                      <a:pt x="348" y="241"/>
                      <a:pt x="350" y="242"/>
                      <a:pt x="350" y="242"/>
                    </a:cubicBezTo>
                    <a:cubicBezTo>
                      <a:pt x="353" y="240"/>
                      <a:pt x="353" y="236"/>
                      <a:pt x="358" y="238"/>
                    </a:cubicBezTo>
                    <a:cubicBezTo>
                      <a:pt x="355" y="236"/>
                      <a:pt x="357" y="229"/>
                      <a:pt x="352" y="229"/>
                    </a:cubicBezTo>
                    <a:cubicBezTo>
                      <a:pt x="349" y="226"/>
                      <a:pt x="349" y="232"/>
                      <a:pt x="349" y="232"/>
                    </a:cubicBezTo>
                    <a:cubicBezTo>
                      <a:pt x="347" y="233"/>
                      <a:pt x="346" y="230"/>
                      <a:pt x="345" y="231"/>
                    </a:cubicBezTo>
                    <a:cubicBezTo>
                      <a:pt x="344" y="231"/>
                      <a:pt x="342" y="232"/>
                      <a:pt x="343" y="232"/>
                    </a:cubicBezTo>
                    <a:cubicBezTo>
                      <a:pt x="341" y="232"/>
                      <a:pt x="341" y="230"/>
                      <a:pt x="339" y="231"/>
                    </a:cubicBezTo>
                    <a:cubicBezTo>
                      <a:pt x="336" y="231"/>
                      <a:pt x="334" y="234"/>
                      <a:pt x="330" y="232"/>
                    </a:cubicBezTo>
                    <a:cubicBezTo>
                      <a:pt x="328" y="232"/>
                      <a:pt x="328" y="235"/>
                      <a:pt x="328" y="236"/>
                    </a:cubicBezTo>
                    <a:cubicBezTo>
                      <a:pt x="320" y="235"/>
                      <a:pt x="312" y="237"/>
                      <a:pt x="306" y="234"/>
                    </a:cubicBezTo>
                    <a:cubicBezTo>
                      <a:pt x="305" y="234"/>
                      <a:pt x="306" y="231"/>
                      <a:pt x="306" y="231"/>
                    </a:cubicBezTo>
                    <a:cubicBezTo>
                      <a:pt x="304" y="229"/>
                      <a:pt x="299" y="231"/>
                      <a:pt x="298" y="229"/>
                    </a:cubicBezTo>
                    <a:cubicBezTo>
                      <a:pt x="303" y="218"/>
                      <a:pt x="300" y="213"/>
                      <a:pt x="298" y="201"/>
                    </a:cubicBezTo>
                    <a:cubicBezTo>
                      <a:pt x="303" y="200"/>
                      <a:pt x="311" y="193"/>
                      <a:pt x="313" y="197"/>
                    </a:cubicBezTo>
                    <a:cubicBezTo>
                      <a:pt x="316" y="195"/>
                      <a:pt x="313" y="194"/>
                      <a:pt x="315" y="190"/>
                    </a:cubicBezTo>
                    <a:cubicBezTo>
                      <a:pt x="321" y="190"/>
                      <a:pt x="321" y="179"/>
                      <a:pt x="322" y="177"/>
                    </a:cubicBezTo>
                    <a:cubicBezTo>
                      <a:pt x="323" y="176"/>
                      <a:pt x="326" y="177"/>
                      <a:pt x="326" y="177"/>
                    </a:cubicBezTo>
                    <a:cubicBezTo>
                      <a:pt x="326" y="173"/>
                      <a:pt x="319" y="171"/>
                      <a:pt x="322" y="167"/>
                    </a:cubicBezTo>
                    <a:cubicBezTo>
                      <a:pt x="320" y="169"/>
                      <a:pt x="315" y="167"/>
                      <a:pt x="311" y="167"/>
                    </a:cubicBezTo>
                    <a:cubicBezTo>
                      <a:pt x="307" y="168"/>
                      <a:pt x="303" y="172"/>
                      <a:pt x="298" y="171"/>
                    </a:cubicBezTo>
                    <a:cubicBezTo>
                      <a:pt x="295" y="168"/>
                      <a:pt x="295" y="182"/>
                      <a:pt x="296" y="178"/>
                    </a:cubicBezTo>
                    <a:cubicBezTo>
                      <a:pt x="295" y="182"/>
                      <a:pt x="294" y="177"/>
                      <a:pt x="293" y="178"/>
                    </a:cubicBezTo>
                    <a:cubicBezTo>
                      <a:pt x="291" y="180"/>
                      <a:pt x="294" y="184"/>
                      <a:pt x="293" y="186"/>
                    </a:cubicBezTo>
                    <a:cubicBezTo>
                      <a:pt x="292" y="187"/>
                      <a:pt x="288" y="191"/>
                      <a:pt x="285" y="193"/>
                    </a:cubicBezTo>
                    <a:cubicBezTo>
                      <a:pt x="280" y="199"/>
                      <a:pt x="280" y="203"/>
                      <a:pt x="272" y="203"/>
                    </a:cubicBezTo>
                    <a:cubicBezTo>
                      <a:pt x="272" y="205"/>
                      <a:pt x="275" y="208"/>
                      <a:pt x="272" y="208"/>
                    </a:cubicBezTo>
                    <a:cubicBezTo>
                      <a:pt x="270" y="208"/>
                      <a:pt x="272" y="211"/>
                      <a:pt x="270" y="212"/>
                    </a:cubicBezTo>
                    <a:cubicBezTo>
                      <a:pt x="270" y="212"/>
                      <a:pt x="267" y="211"/>
                      <a:pt x="267" y="212"/>
                    </a:cubicBezTo>
                    <a:cubicBezTo>
                      <a:pt x="266" y="213"/>
                      <a:pt x="267" y="215"/>
                      <a:pt x="267" y="216"/>
                    </a:cubicBezTo>
                    <a:cubicBezTo>
                      <a:pt x="266" y="216"/>
                      <a:pt x="265" y="215"/>
                      <a:pt x="265" y="216"/>
                    </a:cubicBezTo>
                    <a:cubicBezTo>
                      <a:pt x="264" y="218"/>
                      <a:pt x="266" y="223"/>
                      <a:pt x="263" y="223"/>
                    </a:cubicBezTo>
                    <a:cubicBezTo>
                      <a:pt x="264" y="225"/>
                      <a:pt x="268" y="226"/>
                      <a:pt x="265" y="227"/>
                    </a:cubicBezTo>
                    <a:cubicBezTo>
                      <a:pt x="267" y="229"/>
                      <a:pt x="269" y="232"/>
                      <a:pt x="274" y="232"/>
                    </a:cubicBezTo>
                    <a:cubicBezTo>
                      <a:pt x="274" y="236"/>
                      <a:pt x="275" y="237"/>
                      <a:pt x="278" y="238"/>
                    </a:cubicBezTo>
                    <a:cubicBezTo>
                      <a:pt x="276" y="240"/>
                      <a:pt x="275" y="240"/>
                      <a:pt x="274" y="242"/>
                    </a:cubicBezTo>
                    <a:cubicBezTo>
                      <a:pt x="273" y="244"/>
                      <a:pt x="274" y="246"/>
                      <a:pt x="272" y="247"/>
                    </a:cubicBezTo>
                    <a:cubicBezTo>
                      <a:pt x="270" y="249"/>
                      <a:pt x="268" y="249"/>
                      <a:pt x="265" y="249"/>
                    </a:cubicBezTo>
                    <a:cubicBezTo>
                      <a:pt x="264" y="257"/>
                      <a:pt x="257" y="259"/>
                      <a:pt x="259" y="270"/>
                    </a:cubicBezTo>
                    <a:cubicBezTo>
                      <a:pt x="252" y="267"/>
                      <a:pt x="253" y="279"/>
                      <a:pt x="248" y="279"/>
                    </a:cubicBezTo>
                    <a:cubicBezTo>
                      <a:pt x="247" y="279"/>
                      <a:pt x="247" y="279"/>
                      <a:pt x="246" y="279"/>
                    </a:cubicBezTo>
                    <a:cubicBezTo>
                      <a:pt x="244" y="280"/>
                      <a:pt x="245" y="282"/>
                      <a:pt x="244" y="283"/>
                    </a:cubicBezTo>
                    <a:cubicBezTo>
                      <a:pt x="241" y="284"/>
                      <a:pt x="237" y="280"/>
                      <a:pt x="235" y="285"/>
                    </a:cubicBezTo>
                    <a:cubicBezTo>
                      <a:pt x="231" y="284"/>
                      <a:pt x="234" y="277"/>
                      <a:pt x="233" y="273"/>
                    </a:cubicBezTo>
                    <a:cubicBezTo>
                      <a:pt x="231" y="272"/>
                      <a:pt x="232" y="268"/>
                      <a:pt x="229" y="268"/>
                    </a:cubicBezTo>
                    <a:cubicBezTo>
                      <a:pt x="224" y="268"/>
                      <a:pt x="231" y="262"/>
                      <a:pt x="224" y="262"/>
                    </a:cubicBezTo>
                    <a:cubicBezTo>
                      <a:pt x="227" y="258"/>
                      <a:pt x="220" y="257"/>
                      <a:pt x="220" y="255"/>
                    </a:cubicBezTo>
                    <a:cubicBezTo>
                      <a:pt x="220" y="254"/>
                      <a:pt x="222" y="253"/>
                      <a:pt x="222" y="251"/>
                    </a:cubicBezTo>
                    <a:cubicBezTo>
                      <a:pt x="221" y="246"/>
                      <a:pt x="217" y="243"/>
                      <a:pt x="213" y="240"/>
                    </a:cubicBezTo>
                    <a:cubicBezTo>
                      <a:pt x="207" y="242"/>
                      <a:pt x="209" y="251"/>
                      <a:pt x="199" y="249"/>
                    </a:cubicBezTo>
                    <a:cubicBezTo>
                      <a:pt x="200" y="251"/>
                      <a:pt x="202" y="251"/>
                      <a:pt x="203" y="251"/>
                    </a:cubicBezTo>
                    <a:cubicBezTo>
                      <a:pt x="203" y="253"/>
                      <a:pt x="201" y="253"/>
                      <a:pt x="199" y="253"/>
                    </a:cubicBezTo>
                    <a:cubicBezTo>
                      <a:pt x="196" y="253"/>
                      <a:pt x="198" y="259"/>
                      <a:pt x="194" y="259"/>
                    </a:cubicBezTo>
                    <a:cubicBezTo>
                      <a:pt x="185" y="260"/>
                      <a:pt x="188" y="251"/>
                      <a:pt x="179" y="253"/>
                    </a:cubicBezTo>
                    <a:cubicBezTo>
                      <a:pt x="179" y="251"/>
                      <a:pt x="181" y="252"/>
                      <a:pt x="183" y="251"/>
                    </a:cubicBezTo>
                    <a:cubicBezTo>
                      <a:pt x="185" y="246"/>
                      <a:pt x="178" y="242"/>
                      <a:pt x="183" y="240"/>
                    </a:cubicBezTo>
                    <a:cubicBezTo>
                      <a:pt x="181" y="238"/>
                      <a:pt x="179" y="237"/>
                      <a:pt x="177" y="236"/>
                    </a:cubicBezTo>
                    <a:cubicBezTo>
                      <a:pt x="176" y="234"/>
                      <a:pt x="179" y="233"/>
                      <a:pt x="179" y="232"/>
                    </a:cubicBezTo>
                    <a:cubicBezTo>
                      <a:pt x="179" y="231"/>
                      <a:pt x="175" y="229"/>
                      <a:pt x="175" y="229"/>
                    </a:cubicBezTo>
                    <a:cubicBezTo>
                      <a:pt x="175" y="227"/>
                      <a:pt x="178" y="216"/>
                      <a:pt x="175" y="223"/>
                    </a:cubicBezTo>
                    <a:cubicBezTo>
                      <a:pt x="172" y="222"/>
                      <a:pt x="174" y="219"/>
                      <a:pt x="177" y="219"/>
                    </a:cubicBezTo>
                    <a:cubicBezTo>
                      <a:pt x="173" y="213"/>
                      <a:pt x="183" y="211"/>
                      <a:pt x="179" y="210"/>
                    </a:cubicBezTo>
                    <a:cubicBezTo>
                      <a:pt x="179" y="207"/>
                      <a:pt x="184" y="209"/>
                      <a:pt x="185" y="206"/>
                    </a:cubicBezTo>
                    <a:cubicBezTo>
                      <a:pt x="185" y="204"/>
                      <a:pt x="187" y="206"/>
                      <a:pt x="186" y="206"/>
                    </a:cubicBezTo>
                    <a:cubicBezTo>
                      <a:pt x="188" y="205"/>
                      <a:pt x="188" y="203"/>
                      <a:pt x="190" y="203"/>
                    </a:cubicBezTo>
                    <a:cubicBezTo>
                      <a:pt x="192" y="202"/>
                      <a:pt x="192" y="199"/>
                      <a:pt x="192" y="197"/>
                    </a:cubicBezTo>
                    <a:cubicBezTo>
                      <a:pt x="196" y="198"/>
                      <a:pt x="198" y="197"/>
                      <a:pt x="198" y="193"/>
                    </a:cubicBezTo>
                    <a:cubicBezTo>
                      <a:pt x="203" y="192"/>
                      <a:pt x="200" y="200"/>
                      <a:pt x="207" y="197"/>
                    </a:cubicBezTo>
                    <a:cubicBezTo>
                      <a:pt x="207" y="195"/>
                      <a:pt x="205" y="196"/>
                      <a:pt x="203" y="195"/>
                    </a:cubicBezTo>
                    <a:cubicBezTo>
                      <a:pt x="208" y="191"/>
                      <a:pt x="214" y="193"/>
                      <a:pt x="218" y="188"/>
                    </a:cubicBezTo>
                    <a:cubicBezTo>
                      <a:pt x="219" y="187"/>
                      <a:pt x="217" y="185"/>
                      <a:pt x="218" y="184"/>
                    </a:cubicBezTo>
                    <a:cubicBezTo>
                      <a:pt x="219" y="183"/>
                      <a:pt x="221" y="185"/>
                      <a:pt x="222" y="184"/>
                    </a:cubicBezTo>
                    <a:cubicBezTo>
                      <a:pt x="223" y="183"/>
                      <a:pt x="221" y="180"/>
                      <a:pt x="222" y="178"/>
                    </a:cubicBezTo>
                    <a:cubicBezTo>
                      <a:pt x="222" y="177"/>
                      <a:pt x="227" y="176"/>
                      <a:pt x="227" y="175"/>
                    </a:cubicBezTo>
                    <a:cubicBezTo>
                      <a:pt x="228" y="173"/>
                      <a:pt x="226" y="169"/>
                      <a:pt x="227" y="167"/>
                    </a:cubicBezTo>
                    <a:cubicBezTo>
                      <a:pt x="228" y="167"/>
                      <a:pt x="230" y="170"/>
                      <a:pt x="231" y="169"/>
                    </a:cubicBezTo>
                    <a:cubicBezTo>
                      <a:pt x="229" y="170"/>
                      <a:pt x="234" y="160"/>
                      <a:pt x="233" y="160"/>
                    </a:cubicBezTo>
                    <a:cubicBezTo>
                      <a:pt x="237" y="164"/>
                      <a:pt x="238" y="157"/>
                      <a:pt x="242" y="156"/>
                    </a:cubicBezTo>
                    <a:cubicBezTo>
                      <a:pt x="242" y="153"/>
                      <a:pt x="245" y="151"/>
                      <a:pt x="242" y="150"/>
                    </a:cubicBezTo>
                    <a:cubicBezTo>
                      <a:pt x="243" y="147"/>
                      <a:pt x="248" y="150"/>
                      <a:pt x="248" y="145"/>
                    </a:cubicBezTo>
                    <a:cubicBezTo>
                      <a:pt x="248" y="143"/>
                      <a:pt x="251" y="143"/>
                      <a:pt x="253" y="143"/>
                    </a:cubicBezTo>
                    <a:cubicBezTo>
                      <a:pt x="254" y="141"/>
                      <a:pt x="253" y="140"/>
                      <a:pt x="252" y="139"/>
                    </a:cubicBezTo>
                    <a:cubicBezTo>
                      <a:pt x="257" y="135"/>
                      <a:pt x="260" y="135"/>
                      <a:pt x="265" y="134"/>
                    </a:cubicBezTo>
                    <a:cubicBezTo>
                      <a:pt x="267" y="132"/>
                      <a:pt x="264" y="131"/>
                      <a:pt x="267" y="126"/>
                    </a:cubicBezTo>
                    <a:cubicBezTo>
                      <a:pt x="268" y="125"/>
                      <a:pt x="272" y="124"/>
                      <a:pt x="272" y="121"/>
                    </a:cubicBezTo>
                    <a:cubicBezTo>
                      <a:pt x="272" y="116"/>
                      <a:pt x="278" y="123"/>
                      <a:pt x="278" y="115"/>
                    </a:cubicBezTo>
                    <a:cubicBezTo>
                      <a:pt x="285" y="112"/>
                      <a:pt x="292" y="119"/>
                      <a:pt x="293" y="108"/>
                    </a:cubicBezTo>
                    <a:cubicBezTo>
                      <a:pt x="296" y="110"/>
                      <a:pt x="304" y="106"/>
                      <a:pt x="309" y="109"/>
                    </a:cubicBezTo>
                    <a:cubicBezTo>
                      <a:pt x="311" y="108"/>
                      <a:pt x="312" y="106"/>
                      <a:pt x="313" y="104"/>
                    </a:cubicBezTo>
                    <a:cubicBezTo>
                      <a:pt x="318" y="101"/>
                      <a:pt x="323" y="110"/>
                      <a:pt x="322" y="102"/>
                    </a:cubicBezTo>
                    <a:cubicBezTo>
                      <a:pt x="326" y="103"/>
                      <a:pt x="326" y="107"/>
                      <a:pt x="330" y="108"/>
                    </a:cubicBezTo>
                    <a:cubicBezTo>
                      <a:pt x="333" y="107"/>
                      <a:pt x="332" y="102"/>
                      <a:pt x="337" y="104"/>
                    </a:cubicBezTo>
                    <a:cubicBezTo>
                      <a:pt x="338" y="107"/>
                      <a:pt x="336" y="107"/>
                      <a:pt x="335" y="109"/>
                    </a:cubicBezTo>
                    <a:cubicBezTo>
                      <a:pt x="337" y="110"/>
                      <a:pt x="346" y="101"/>
                      <a:pt x="350" y="106"/>
                    </a:cubicBezTo>
                    <a:cubicBezTo>
                      <a:pt x="353" y="108"/>
                      <a:pt x="351" y="105"/>
                      <a:pt x="354" y="106"/>
                    </a:cubicBezTo>
                    <a:cubicBezTo>
                      <a:pt x="358" y="106"/>
                      <a:pt x="362" y="109"/>
                      <a:pt x="367" y="108"/>
                    </a:cubicBezTo>
                    <a:cubicBezTo>
                      <a:pt x="366" y="109"/>
                      <a:pt x="368" y="112"/>
                      <a:pt x="367" y="113"/>
                    </a:cubicBezTo>
                    <a:cubicBezTo>
                      <a:pt x="367" y="114"/>
                      <a:pt x="364" y="113"/>
                      <a:pt x="363" y="113"/>
                    </a:cubicBezTo>
                    <a:cubicBezTo>
                      <a:pt x="362" y="115"/>
                      <a:pt x="364" y="118"/>
                      <a:pt x="360" y="117"/>
                    </a:cubicBezTo>
                    <a:cubicBezTo>
                      <a:pt x="363" y="121"/>
                      <a:pt x="374" y="118"/>
                      <a:pt x="378" y="117"/>
                    </a:cubicBezTo>
                    <a:cubicBezTo>
                      <a:pt x="382" y="115"/>
                      <a:pt x="381" y="120"/>
                      <a:pt x="382" y="121"/>
                    </a:cubicBezTo>
                    <a:cubicBezTo>
                      <a:pt x="384" y="122"/>
                      <a:pt x="388" y="119"/>
                      <a:pt x="388" y="122"/>
                    </a:cubicBezTo>
                    <a:cubicBezTo>
                      <a:pt x="401" y="119"/>
                      <a:pt x="404" y="130"/>
                      <a:pt x="412" y="126"/>
                    </a:cubicBezTo>
                    <a:cubicBezTo>
                      <a:pt x="410" y="132"/>
                      <a:pt x="418" y="129"/>
                      <a:pt x="418" y="134"/>
                    </a:cubicBezTo>
                    <a:cubicBezTo>
                      <a:pt x="422" y="134"/>
                      <a:pt x="430" y="133"/>
                      <a:pt x="425" y="137"/>
                    </a:cubicBezTo>
                    <a:cubicBezTo>
                      <a:pt x="429" y="139"/>
                      <a:pt x="433" y="138"/>
                      <a:pt x="436" y="139"/>
                    </a:cubicBezTo>
                    <a:cubicBezTo>
                      <a:pt x="437" y="139"/>
                      <a:pt x="436" y="143"/>
                      <a:pt x="436" y="143"/>
                    </a:cubicBezTo>
                    <a:cubicBezTo>
                      <a:pt x="437" y="144"/>
                      <a:pt x="441" y="142"/>
                      <a:pt x="442" y="143"/>
                    </a:cubicBezTo>
                    <a:cubicBezTo>
                      <a:pt x="443" y="150"/>
                      <a:pt x="443" y="152"/>
                      <a:pt x="442" y="160"/>
                    </a:cubicBezTo>
                    <a:cubicBezTo>
                      <a:pt x="439" y="155"/>
                      <a:pt x="435" y="161"/>
                      <a:pt x="431" y="162"/>
                    </a:cubicBezTo>
                    <a:cubicBezTo>
                      <a:pt x="425" y="162"/>
                      <a:pt x="419" y="156"/>
                      <a:pt x="414" y="162"/>
                    </a:cubicBezTo>
                    <a:cubicBezTo>
                      <a:pt x="412" y="162"/>
                      <a:pt x="413" y="158"/>
                      <a:pt x="412" y="158"/>
                    </a:cubicBezTo>
                    <a:cubicBezTo>
                      <a:pt x="409" y="157"/>
                      <a:pt x="409" y="160"/>
                      <a:pt x="408" y="160"/>
                    </a:cubicBezTo>
                    <a:cubicBezTo>
                      <a:pt x="406" y="160"/>
                      <a:pt x="405" y="156"/>
                      <a:pt x="404" y="156"/>
                    </a:cubicBezTo>
                    <a:cubicBezTo>
                      <a:pt x="401" y="156"/>
                      <a:pt x="396" y="161"/>
                      <a:pt x="397" y="154"/>
                    </a:cubicBezTo>
                    <a:cubicBezTo>
                      <a:pt x="391" y="156"/>
                      <a:pt x="393" y="154"/>
                      <a:pt x="386" y="154"/>
                    </a:cubicBezTo>
                    <a:cubicBezTo>
                      <a:pt x="385" y="157"/>
                      <a:pt x="387" y="158"/>
                      <a:pt x="390" y="158"/>
                    </a:cubicBezTo>
                    <a:cubicBezTo>
                      <a:pt x="393" y="157"/>
                      <a:pt x="393" y="160"/>
                      <a:pt x="395" y="160"/>
                    </a:cubicBezTo>
                    <a:cubicBezTo>
                      <a:pt x="392" y="163"/>
                      <a:pt x="395" y="162"/>
                      <a:pt x="397" y="163"/>
                    </a:cubicBezTo>
                    <a:cubicBezTo>
                      <a:pt x="398" y="164"/>
                      <a:pt x="397" y="166"/>
                      <a:pt x="397" y="167"/>
                    </a:cubicBezTo>
                    <a:cubicBezTo>
                      <a:pt x="398" y="169"/>
                      <a:pt x="401" y="169"/>
                      <a:pt x="401" y="171"/>
                    </a:cubicBezTo>
                    <a:cubicBezTo>
                      <a:pt x="401" y="173"/>
                      <a:pt x="405" y="178"/>
                      <a:pt x="404" y="184"/>
                    </a:cubicBezTo>
                    <a:cubicBezTo>
                      <a:pt x="405" y="190"/>
                      <a:pt x="416" y="186"/>
                      <a:pt x="418" y="191"/>
                    </a:cubicBezTo>
                    <a:cubicBezTo>
                      <a:pt x="419" y="190"/>
                      <a:pt x="419" y="187"/>
                      <a:pt x="423" y="188"/>
                    </a:cubicBezTo>
                    <a:cubicBezTo>
                      <a:pt x="422" y="182"/>
                      <a:pt x="414" y="184"/>
                      <a:pt x="412" y="180"/>
                    </a:cubicBezTo>
                    <a:cubicBezTo>
                      <a:pt x="411" y="173"/>
                      <a:pt x="422" y="178"/>
                      <a:pt x="427" y="177"/>
                    </a:cubicBezTo>
                    <a:cubicBezTo>
                      <a:pt x="426" y="181"/>
                      <a:pt x="435" y="176"/>
                      <a:pt x="432" y="182"/>
                    </a:cubicBezTo>
                    <a:cubicBezTo>
                      <a:pt x="437" y="184"/>
                      <a:pt x="440" y="176"/>
                      <a:pt x="440" y="184"/>
                    </a:cubicBezTo>
                    <a:cubicBezTo>
                      <a:pt x="445" y="181"/>
                      <a:pt x="440" y="174"/>
                      <a:pt x="436" y="175"/>
                    </a:cubicBezTo>
                    <a:cubicBezTo>
                      <a:pt x="437" y="171"/>
                      <a:pt x="441" y="170"/>
                      <a:pt x="445" y="169"/>
                    </a:cubicBezTo>
                    <a:cubicBezTo>
                      <a:pt x="448" y="167"/>
                      <a:pt x="448" y="162"/>
                      <a:pt x="451" y="160"/>
                    </a:cubicBezTo>
                    <a:cubicBezTo>
                      <a:pt x="459" y="159"/>
                      <a:pt x="463" y="162"/>
                      <a:pt x="468" y="163"/>
                    </a:cubicBezTo>
                    <a:cubicBezTo>
                      <a:pt x="470" y="163"/>
                      <a:pt x="469" y="160"/>
                      <a:pt x="472" y="160"/>
                    </a:cubicBezTo>
                    <a:cubicBezTo>
                      <a:pt x="472" y="157"/>
                      <a:pt x="470" y="155"/>
                      <a:pt x="468" y="154"/>
                    </a:cubicBezTo>
                    <a:cubicBezTo>
                      <a:pt x="471" y="147"/>
                      <a:pt x="471" y="140"/>
                      <a:pt x="470" y="134"/>
                    </a:cubicBezTo>
                    <a:cubicBezTo>
                      <a:pt x="476" y="134"/>
                      <a:pt x="481" y="133"/>
                      <a:pt x="485" y="136"/>
                    </a:cubicBezTo>
                    <a:cubicBezTo>
                      <a:pt x="486" y="136"/>
                      <a:pt x="491" y="136"/>
                      <a:pt x="490" y="141"/>
                    </a:cubicBezTo>
                    <a:cubicBezTo>
                      <a:pt x="486" y="141"/>
                      <a:pt x="483" y="141"/>
                      <a:pt x="479" y="141"/>
                    </a:cubicBezTo>
                    <a:cubicBezTo>
                      <a:pt x="479" y="143"/>
                      <a:pt x="479" y="145"/>
                      <a:pt x="479" y="147"/>
                    </a:cubicBezTo>
                    <a:cubicBezTo>
                      <a:pt x="483" y="152"/>
                      <a:pt x="485" y="146"/>
                      <a:pt x="488" y="149"/>
                    </a:cubicBezTo>
                    <a:cubicBezTo>
                      <a:pt x="490" y="150"/>
                      <a:pt x="483" y="151"/>
                      <a:pt x="483" y="150"/>
                    </a:cubicBezTo>
                    <a:cubicBezTo>
                      <a:pt x="481" y="154"/>
                      <a:pt x="488" y="150"/>
                      <a:pt x="490" y="154"/>
                    </a:cubicBezTo>
                    <a:cubicBezTo>
                      <a:pt x="493" y="152"/>
                      <a:pt x="497" y="150"/>
                      <a:pt x="500" y="147"/>
                    </a:cubicBezTo>
                    <a:cubicBezTo>
                      <a:pt x="500" y="146"/>
                      <a:pt x="502" y="145"/>
                      <a:pt x="501" y="143"/>
                    </a:cubicBezTo>
                    <a:cubicBezTo>
                      <a:pt x="510" y="145"/>
                      <a:pt x="509" y="138"/>
                      <a:pt x="516" y="139"/>
                    </a:cubicBezTo>
                    <a:cubicBezTo>
                      <a:pt x="519" y="138"/>
                      <a:pt x="520" y="137"/>
                      <a:pt x="520" y="134"/>
                    </a:cubicBezTo>
                    <a:cubicBezTo>
                      <a:pt x="523" y="134"/>
                      <a:pt x="525" y="132"/>
                      <a:pt x="526" y="130"/>
                    </a:cubicBezTo>
                    <a:cubicBezTo>
                      <a:pt x="533" y="136"/>
                      <a:pt x="539" y="127"/>
                      <a:pt x="546" y="126"/>
                    </a:cubicBezTo>
                    <a:cubicBezTo>
                      <a:pt x="546" y="129"/>
                      <a:pt x="546" y="131"/>
                      <a:pt x="546" y="134"/>
                    </a:cubicBezTo>
                    <a:cubicBezTo>
                      <a:pt x="553" y="134"/>
                      <a:pt x="559" y="134"/>
                      <a:pt x="563" y="132"/>
                    </a:cubicBezTo>
                    <a:cubicBezTo>
                      <a:pt x="564" y="132"/>
                      <a:pt x="566" y="132"/>
                      <a:pt x="567" y="132"/>
                    </a:cubicBezTo>
                    <a:cubicBezTo>
                      <a:pt x="567" y="132"/>
                      <a:pt x="566" y="130"/>
                      <a:pt x="567" y="130"/>
                    </a:cubicBezTo>
                    <a:cubicBezTo>
                      <a:pt x="570" y="129"/>
                      <a:pt x="576" y="130"/>
                      <a:pt x="576" y="124"/>
                    </a:cubicBezTo>
                    <a:cubicBezTo>
                      <a:pt x="581" y="127"/>
                      <a:pt x="588" y="127"/>
                      <a:pt x="591" y="132"/>
                    </a:cubicBezTo>
                    <a:cubicBezTo>
                      <a:pt x="594" y="131"/>
                      <a:pt x="595" y="129"/>
                      <a:pt x="596" y="126"/>
                    </a:cubicBezTo>
                    <a:cubicBezTo>
                      <a:pt x="597" y="124"/>
                      <a:pt x="588" y="122"/>
                      <a:pt x="595" y="121"/>
                    </a:cubicBezTo>
                    <a:cubicBezTo>
                      <a:pt x="592" y="116"/>
                      <a:pt x="583" y="118"/>
                      <a:pt x="585" y="108"/>
                    </a:cubicBezTo>
                    <a:cubicBezTo>
                      <a:pt x="588" y="109"/>
                      <a:pt x="589" y="112"/>
                      <a:pt x="595" y="113"/>
                    </a:cubicBezTo>
                    <a:cubicBezTo>
                      <a:pt x="597" y="114"/>
                      <a:pt x="600" y="118"/>
                      <a:pt x="606" y="117"/>
                    </a:cubicBezTo>
                    <a:cubicBezTo>
                      <a:pt x="607" y="117"/>
                      <a:pt x="608" y="115"/>
                      <a:pt x="608" y="115"/>
                    </a:cubicBezTo>
                    <a:cubicBezTo>
                      <a:pt x="609" y="115"/>
                      <a:pt x="611" y="118"/>
                      <a:pt x="611" y="115"/>
                    </a:cubicBezTo>
                    <a:cubicBezTo>
                      <a:pt x="614" y="115"/>
                      <a:pt x="614" y="118"/>
                      <a:pt x="615" y="119"/>
                    </a:cubicBezTo>
                    <a:cubicBezTo>
                      <a:pt x="618" y="120"/>
                      <a:pt x="621" y="118"/>
                      <a:pt x="621" y="122"/>
                    </a:cubicBezTo>
                    <a:cubicBezTo>
                      <a:pt x="627" y="120"/>
                      <a:pt x="629" y="124"/>
                      <a:pt x="636" y="121"/>
                    </a:cubicBezTo>
                    <a:cubicBezTo>
                      <a:pt x="633" y="127"/>
                      <a:pt x="642" y="122"/>
                      <a:pt x="639" y="128"/>
                    </a:cubicBezTo>
                    <a:cubicBezTo>
                      <a:pt x="643" y="128"/>
                      <a:pt x="644" y="129"/>
                      <a:pt x="645" y="132"/>
                    </a:cubicBezTo>
                    <a:cubicBezTo>
                      <a:pt x="651" y="131"/>
                      <a:pt x="652" y="135"/>
                      <a:pt x="658" y="134"/>
                    </a:cubicBezTo>
                    <a:cubicBezTo>
                      <a:pt x="661" y="122"/>
                      <a:pt x="647" y="128"/>
                      <a:pt x="651" y="117"/>
                    </a:cubicBezTo>
                    <a:cubicBezTo>
                      <a:pt x="650" y="114"/>
                      <a:pt x="648" y="118"/>
                      <a:pt x="645" y="117"/>
                    </a:cubicBezTo>
                    <a:cubicBezTo>
                      <a:pt x="645" y="113"/>
                      <a:pt x="648" y="111"/>
                      <a:pt x="647" y="106"/>
                    </a:cubicBezTo>
                    <a:cubicBezTo>
                      <a:pt x="647" y="103"/>
                      <a:pt x="644" y="105"/>
                      <a:pt x="643" y="104"/>
                    </a:cubicBezTo>
                    <a:cubicBezTo>
                      <a:pt x="643" y="103"/>
                      <a:pt x="647" y="100"/>
                      <a:pt x="643" y="100"/>
                    </a:cubicBezTo>
                    <a:cubicBezTo>
                      <a:pt x="643" y="96"/>
                      <a:pt x="648" y="98"/>
                      <a:pt x="647" y="93"/>
                    </a:cubicBezTo>
                    <a:cubicBezTo>
                      <a:pt x="651" y="93"/>
                      <a:pt x="649" y="88"/>
                      <a:pt x="654" y="89"/>
                    </a:cubicBezTo>
                    <a:cubicBezTo>
                      <a:pt x="654" y="85"/>
                      <a:pt x="656" y="83"/>
                      <a:pt x="660" y="83"/>
                    </a:cubicBezTo>
                    <a:cubicBezTo>
                      <a:pt x="658" y="75"/>
                      <a:pt x="666" y="77"/>
                      <a:pt x="665" y="70"/>
                    </a:cubicBezTo>
                    <a:cubicBezTo>
                      <a:pt x="674" y="69"/>
                      <a:pt x="678" y="73"/>
                      <a:pt x="684" y="74"/>
                    </a:cubicBezTo>
                    <a:cubicBezTo>
                      <a:pt x="684" y="77"/>
                      <a:pt x="684" y="79"/>
                      <a:pt x="686" y="80"/>
                    </a:cubicBezTo>
                    <a:cubicBezTo>
                      <a:pt x="686" y="82"/>
                      <a:pt x="682" y="81"/>
                      <a:pt x="680" y="81"/>
                    </a:cubicBezTo>
                    <a:cubicBezTo>
                      <a:pt x="680" y="89"/>
                      <a:pt x="684" y="92"/>
                      <a:pt x="680" y="98"/>
                    </a:cubicBezTo>
                    <a:cubicBezTo>
                      <a:pt x="682" y="99"/>
                      <a:pt x="683" y="101"/>
                      <a:pt x="684" y="102"/>
                    </a:cubicBezTo>
                    <a:cubicBezTo>
                      <a:pt x="685" y="103"/>
                      <a:pt x="686" y="104"/>
                      <a:pt x="688" y="104"/>
                    </a:cubicBezTo>
                    <a:cubicBezTo>
                      <a:pt x="685" y="108"/>
                      <a:pt x="687" y="118"/>
                      <a:pt x="684" y="122"/>
                    </a:cubicBezTo>
                    <a:cubicBezTo>
                      <a:pt x="682" y="128"/>
                      <a:pt x="689" y="126"/>
                      <a:pt x="690" y="130"/>
                    </a:cubicBezTo>
                    <a:cubicBezTo>
                      <a:pt x="688" y="145"/>
                      <a:pt x="682" y="154"/>
                      <a:pt x="669" y="158"/>
                    </a:cubicBezTo>
                    <a:cubicBezTo>
                      <a:pt x="670" y="162"/>
                      <a:pt x="677" y="158"/>
                      <a:pt x="678" y="162"/>
                    </a:cubicBezTo>
                    <a:cubicBezTo>
                      <a:pt x="683" y="161"/>
                      <a:pt x="682" y="155"/>
                      <a:pt x="688" y="156"/>
                    </a:cubicBezTo>
                    <a:cubicBezTo>
                      <a:pt x="687" y="158"/>
                      <a:pt x="686" y="159"/>
                      <a:pt x="686" y="162"/>
                    </a:cubicBezTo>
                    <a:cubicBezTo>
                      <a:pt x="688" y="161"/>
                      <a:pt x="687" y="158"/>
                      <a:pt x="690" y="158"/>
                    </a:cubicBezTo>
                    <a:cubicBezTo>
                      <a:pt x="692" y="158"/>
                      <a:pt x="691" y="155"/>
                      <a:pt x="692" y="154"/>
                    </a:cubicBezTo>
                    <a:cubicBezTo>
                      <a:pt x="692" y="154"/>
                      <a:pt x="695" y="155"/>
                      <a:pt x="695" y="154"/>
                    </a:cubicBezTo>
                    <a:cubicBezTo>
                      <a:pt x="696" y="153"/>
                      <a:pt x="695" y="150"/>
                      <a:pt x="695" y="149"/>
                    </a:cubicBezTo>
                    <a:cubicBezTo>
                      <a:pt x="697" y="149"/>
                      <a:pt x="699" y="149"/>
                      <a:pt x="701" y="149"/>
                    </a:cubicBezTo>
                    <a:cubicBezTo>
                      <a:pt x="699" y="143"/>
                      <a:pt x="707" y="137"/>
                      <a:pt x="701" y="134"/>
                    </a:cubicBezTo>
                    <a:cubicBezTo>
                      <a:pt x="701" y="132"/>
                      <a:pt x="705" y="132"/>
                      <a:pt x="705" y="130"/>
                    </a:cubicBezTo>
                    <a:cubicBezTo>
                      <a:pt x="705" y="128"/>
                      <a:pt x="702" y="128"/>
                      <a:pt x="701" y="128"/>
                    </a:cubicBezTo>
                    <a:cubicBezTo>
                      <a:pt x="701" y="124"/>
                      <a:pt x="707" y="127"/>
                      <a:pt x="710" y="126"/>
                    </a:cubicBezTo>
                    <a:cubicBezTo>
                      <a:pt x="708" y="124"/>
                      <a:pt x="710" y="119"/>
                      <a:pt x="705" y="121"/>
                    </a:cubicBezTo>
                    <a:cubicBezTo>
                      <a:pt x="700" y="123"/>
                      <a:pt x="698" y="116"/>
                      <a:pt x="697" y="121"/>
                    </a:cubicBezTo>
                    <a:cubicBezTo>
                      <a:pt x="694" y="117"/>
                      <a:pt x="694" y="113"/>
                      <a:pt x="695" y="109"/>
                    </a:cubicBezTo>
                    <a:cubicBezTo>
                      <a:pt x="695" y="109"/>
                      <a:pt x="699" y="110"/>
                      <a:pt x="699" y="109"/>
                    </a:cubicBezTo>
                    <a:cubicBezTo>
                      <a:pt x="701" y="108"/>
                      <a:pt x="698" y="102"/>
                      <a:pt x="699" y="100"/>
                    </a:cubicBezTo>
                    <a:cubicBezTo>
                      <a:pt x="699" y="97"/>
                      <a:pt x="697" y="100"/>
                      <a:pt x="697" y="100"/>
                    </a:cubicBezTo>
                    <a:cubicBezTo>
                      <a:pt x="693" y="97"/>
                      <a:pt x="696" y="93"/>
                      <a:pt x="693" y="89"/>
                    </a:cubicBezTo>
                    <a:cubicBezTo>
                      <a:pt x="701" y="91"/>
                      <a:pt x="698" y="84"/>
                      <a:pt x="703" y="83"/>
                    </a:cubicBezTo>
                    <a:cubicBezTo>
                      <a:pt x="703" y="80"/>
                      <a:pt x="703" y="77"/>
                      <a:pt x="703" y="74"/>
                    </a:cubicBezTo>
                    <a:cubicBezTo>
                      <a:pt x="709" y="72"/>
                      <a:pt x="706" y="80"/>
                      <a:pt x="706" y="83"/>
                    </a:cubicBezTo>
                    <a:cubicBezTo>
                      <a:pt x="707" y="86"/>
                      <a:pt x="710" y="82"/>
                      <a:pt x="710" y="85"/>
                    </a:cubicBezTo>
                    <a:cubicBezTo>
                      <a:pt x="710" y="86"/>
                      <a:pt x="708" y="88"/>
                      <a:pt x="708" y="87"/>
                    </a:cubicBezTo>
                    <a:cubicBezTo>
                      <a:pt x="710" y="92"/>
                      <a:pt x="714" y="93"/>
                      <a:pt x="719" y="96"/>
                    </a:cubicBezTo>
                    <a:cubicBezTo>
                      <a:pt x="723" y="97"/>
                      <a:pt x="719" y="91"/>
                      <a:pt x="718" y="91"/>
                    </a:cubicBezTo>
                    <a:cubicBezTo>
                      <a:pt x="720" y="88"/>
                      <a:pt x="726" y="88"/>
                      <a:pt x="731" y="87"/>
                    </a:cubicBezTo>
                    <a:cubicBezTo>
                      <a:pt x="730" y="85"/>
                      <a:pt x="727" y="85"/>
                      <a:pt x="725" y="85"/>
                    </a:cubicBezTo>
                    <a:cubicBezTo>
                      <a:pt x="727" y="80"/>
                      <a:pt x="722" y="80"/>
                      <a:pt x="723" y="76"/>
                    </a:cubicBezTo>
                    <a:cubicBezTo>
                      <a:pt x="725" y="80"/>
                      <a:pt x="736" y="74"/>
                      <a:pt x="734" y="81"/>
                    </a:cubicBezTo>
                    <a:cubicBezTo>
                      <a:pt x="736" y="83"/>
                      <a:pt x="738" y="80"/>
                      <a:pt x="738" y="80"/>
                    </a:cubicBezTo>
                    <a:cubicBezTo>
                      <a:pt x="741" y="80"/>
                      <a:pt x="739" y="82"/>
                      <a:pt x="740" y="83"/>
                    </a:cubicBezTo>
                    <a:cubicBezTo>
                      <a:pt x="741" y="84"/>
                      <a:pt x="743" y="83"/>
                      <a:pt x="744" y="83"/>
                    </a:cubicBezTo>
                    <a:cubicBezTo>
                      <a:pt x="747" y="87"/>
                      <a:pt x="754" y="83"/>
                      <a:pt x="749" y="89"/>
                    </a:cubicBezTo>
                    <a:cubicBezTo>
                      <a:pt x="752" y="89"/>
                      <a:pt x="756" y="89"/>
                      <a:pt x="759" y="89"/>
                    </a:cubicBezTo>
                    <a:cubicBezTo>
                      <a:pt x="759" y="87"/>
                      <a:pt x="751" y="85"/>
                      <a:pt x="757" y="83"/>
                    </a:cubicBezTo>
                    <a:cubicBezTo>
                      <a:pt x="755" y="82"/>
                      <a:pt x="753" y="81"/>
                      <a:pt x="751" y="80"/>
                    </a:cubicBezTo>
                    <a:cubicBezTo>
                      <a:pt x="750" y="70"/>
                      <a:pt x="751" y="70"/>
                      <a:pt x="751" y="59"/>
                    </a:cubicBezTo>
                    <a:cubicBezTo>
                      <a:pt x="761" y="58"/>
                      <a:pt x="775" y="61"/>
                      <a:pt x="783" y="59"/>
                    </a:cubicBezTo>
                    <a:cubicBezTo>
                      <a:pt x="786" y="58"/>
                      <a:pt x="784" y="53"/>
                      <a:pt x="788" y="57"/>
                    </a:cubicBezTo>
                    <a:cubicBezTo>
                      <a:pt x="794" y="53"/>
                      <a:pt x="790" y="50"/>
                      <a:pt x="792" y="44"/>
                    </a:cubicBezTo>
                    <a:cubicBezTo>
                      <a:pt x="797" y="45"/>
                      <a:pt x="799" y="44"/>
                      <a:pt x="801" y="42"/>
                    </a:cubicBezTo>
                    <a:cubicBezTo>
                      <a:pt x="804" y="38"/>
                      <a:pt x="809" y="37"/>
                      <a:pt x="813" y="33"/>
                    </a:cubicBezTo>
                    <a:cubicBezTo>
                      <a:pt x="832" y="30"/>
                      <a:pt x="851" y="28"/>
                      <a:pt x="867" y="22"/>
                    </a:cubicBezTo>
                    <a:cubicBezTo>
                      <a:pt x="870" y="19"/>
                      <a:pt x="870" y="26"/>
                      <a:pt x="870" y="26"/>
                    </a:cubicBezTo>
                    <a:cubicBezTo>
                      <a:pt x="871" y="25"/>
                      <a:pt x="874" y="21"/>
                      <a:pt x="872" y="20"/>
                    </a:cubicBezTo>
                    <a:cubicBezTo>
                      <a:pt x="875" y="21"/>
                      <a:pt x="872" y="23"/>
                      <a:pt x="874" y="26"/>
                    </a:cubicBezTo>
                    <a:cubicBezTo>
                      <a:pt x="875" y="26"/>
                      <a:pt x="879" y="25"/>
                      <a:pt x="878" y="27"/>
                    </a:cubicBezTo>
                    <a:cubicBezTo>
                      <a:pt x="881" y="26"/>
                      <a:pt x="876" y="25"/>
                      <a:pt x="880" y="24"/>
                    </a:cubicBezTo>
                    <a:cubicBezTo>
                      <a:pt x="883" y="23"/>
                      <a:pt x="889" y="24"/>
                      <a:pt x="889" y="18"/>
                    </a:cubicBezTo>
                    <a:cubicBezTo>
                      <a:pt x="893" y="19"/>
                      <a:pt x="895" y="18"/>
                      <a:pt x="895" y="14"/>
                    </a:cubicBezTo>
                    <a:cubicBezTo>
                      <a:pt x="897" y="15"/>
                      <a:pt x="898" y="18"/>
                      <a:pt x="900" y="18"/>
                    </a:cubicBezTo>
                    <a:cubicBezTo>
                      <a:pt x="905" y="18"/>
                      <a:pt x="904" y="12"/>
                      <a:pt x="904" y="7"/>
                    </a:cubicBezTo>
                    <a:cubicBezTo>
                      <a:pt x="913" y="4"/>
                      <a:pt x="922" y="0"/>
                      <a:pt x="936" y="1"/>
                    </a:cubicBezTo>
                    <a:cubicBezTo>
                      <a:pt x="934" y="3"/>
                      <a:pt x="934" y="6"/>
                      <a:pt x="934" y="9"/>
                    </a:cubicBezTo>
                    <a:cubicBezTo>
                      <a:pt x="937" y="13"/>
                      <a:pt x="945" y="13"/>
                      <a:pt x="949" y="9"/>
                    </a:cubicBezTo>
                    <a:cubicBezTo>
                      <a:pt x="951" y="9"/>
                      <a:pt x="950" y="11"/>
                      <a:pt x="949" y="11"/>
                    </a:cubicBezTo>
                    <a:close/>
                    <a:moveTo>
                      <a:pt x="1396" y="238"/>
                    </a:moveTo>
                    <a:cubicBezTo>
                      <a:pt x="1396" y="236"/>
                      <a:pt x="1393" y="236"/>
                      <a:pt x="1392" y="234"/>
                    </a:cubicBezTo>
                    <a:cubicBezTo>
                      <a:pt x="1386" y="233"/>
                      <a:pt x="1386" y="238"/>
                      <a:pt x="1392" y="236"/>
                    </a:cubicBezTo>
                    <a:cubicBezTo>
                      <a:pt x="1393" y="238"/>
                      <a:pt x="1394" y="238"/>
                      <a:pt x="1396" y="238"/>
                    </a:cubicBezTo>
                    <a:close/>
                    <a:moveTo>
                      <a:pt x="403" y="378"/>
                    </a:moveTo>
                    <a:cubicBezTo>
                      <a:pt x="401" y="384"/>
                      <a:pt x="409" y="380"/>
                      <a:pt x="406" y="387"/>
                    </a:cubicBezTo>
                    <a:cubicBezTo>
                      <a:pt x="410" y="388"/>
                      <a:pt x="411" y="384"/>
                      <a:pt x="412" y="387"/>
                    </a:cubicBezTo>
                    <a:cubicBezTo>
                      <a:pt x="412" y="389"/>
                      <a:pt x="411" y="389"/>
                      <a:pt x="410" y="389"/>
                    </a:cubicBezTo>
                    <a:cubicBezTo>
                      <a:pt x="407" y="390"/>
                      <a:pt x="399" y="393"/>
                      <a:pt x="397" y="393"/>
                    </a:cubicBezTo>
                    <a:cubicBezTo>
                      <a:pt x="392" y="392"/>
                      <a:pt x="391" y="388"/>
                      <a:pt x="388" y="385"/>
                    </a:cubicBezTo>
                    <a:cubicBezTo>
                      <a:pt x="388" y="382"/>
                      <a:pt x="393" y="384"/>
                      <a:pt x="393" y="382"/>
                    </a:cubicBezTo>
                    <a:cubicBezTo>
                      <a:pt x="389" y="378"/>
                      <a:pt x="388" y="377"/>
                      <a:pt x="382" y="380"/>
                    </a:cubicBezTo>
                    <a:cubicBezTo>
                      <a:pt x="380" y="376"/>
                      <a:pt x="379" y="373"/>
                      <a:pt x="373" y="374"/>
                    </a:cubicBezTo>
                    <a:cubicBezTo>
                      <a:pt x="370" y="374"/>
                      <a:pt x="372" y="377"/>
                      <a:pt x="371" y="378"/>
                    </a:cubicBezTo>
                    <a:cubicBezTo>
                      <a:pt x="370" y="379"/>
                      <a:pt x="367" y="379"/>
                      <a:pt x="365" y="380"/>
                    </a:cubicBezTo>
                    <a:cubicBezTo>
                      <a:pt x="363" y="381"/>
                      <a:pt x="362" y="387"/>
                      <a:pt x="358" y="385"/>
                    </a:cubicBezTo>
                    <a:cubicBezTo>
                      <a:pt x="360" y="392"/>
                      <a:pt x="354" y="394"/>
                      <a:pt x="354" y="395"/>
                    </a:cubicBezTo>
                    <a:cubicBezTo>
                      <a:pt x="353" y="399"/>
                      <a:pt x="354" y="403"/>
                      <a:pt x="352" y="408"/>
                    </a:cubicBezTo>
                    <a:cubicBezTo>
                      <a:pt x="350" y="408"/>
                      <a:pt x="350" y="406"/>
                      <a:pt x="349" y="406"/>
                    </a:cubicBezTo>
                    <a:cubicBezTo>
                      <a:pt x="347" y="412"/>
                      <a:pt x="353" y="415"/>
                      <a:pt x="349" y="419"/>
                    </a:cubicBezTo>
                    <a:cubicBezTo>
                      <a:pt x="352" y="417"/>
                      <a:pt x="351" y="422"/>
                      <a:pt x="352" y="423"/>
                    </a:cubicBezTo>
                    <a:cubicBezTo>
                      <a:pt x="353" y="423"/>
                      <a:pt x="355" y="422"/>
                      <a:pt x="356" y="423"/>
                    </a:cubicBezTo>
                    <a:cubicBezTo>
                      <a:pt x="360" y="424"/>
                      <a:pt x="361" y="427"/>
                      <a:pt x="363" y="424"/>
                    </a:cubicBezTo>
                    <a:cubicBezTo>
                      <a:pt x="364" y="424"/>
                      <a:pt x="367" y="425"/>
                      <a:pt x="367" y="424"/>
                    </a:cubicBezTo>
                    <a:cubicBezTo>
                      <a:pt x="374" y="424"/>
                      <a:pt x="372" y="423"/>
                      <a:pt x="375" y="421"/>
                    </a:cubicBezTo>
                    <a:cubicBezTo>
                      <a:pt x="378" y="420"/>
                      <a:pt x="379" y="423"/>
                      <a:pt x="382" y="423"/>
                    </a:cubicBezTo>
                    <a:cubicBezTo>
                      <a:pt x="382" y="421"/>
                      <a:pt x="382" y="419"/>
                      <a:pt x="384" y="419"/>
                    </a:cubicBezTo>
                    <a:cubicBezTo>
                      <a:pt x="388" y="418"/>
                      <a:pt x="397" y="418"/>
                      <a:pt x="401" y="419"/>
                    </a:cubicBezTo>
                    <a:cubicBezTo>
                      <a:pt x="404" y="420"/>
                      <a:pt x="405" y="422"/>
                      <a:pt x="408" y="423"/>
                    </a:cubicBezTo>
                    <a:cubicBezTo>
                      <a:pt x="410" y="423"/>
                      <a:pt x="410" y="421"/>
                      <a:pt x="412" y="421"/>
                    </a:cubicBezTo>
                    <a:cubicBezTo>
                      <a:pt x="411" y="421"/>
                      <a:pt x="413" y="422"/>
                      <a:pt x="414" y="423"/>
                    </a:cubicBezTo>
                    <a:cubicBezTo>
                      <a:pt x="419" y="424"/>
                      <a:pt x="419" y="424"/>
                      <a:pt x="423" y="424"/>
                    </a:cubicBezTo>
                    <a:cubicBezTo>
                      <a:pt x="431" y="425"/>
                      <a:pt x="441" y="423"/>
                      <a:pt x="449" y="424"/>
                    </a:cubicBezTo>
                    <a:cubicBezTo>
                      <a:pt x="449" y="420"/>
                      <a:pt x="449" y="417"/>
                      <a:pt x="451" y="415"/>
                    </a:cubicBezTo>
                    <a:cubicBezTo>
                      <a:pt x="445" y="407"/>
                      <a:pt x="439" y="398"/>
                      <a:pt x="427" y="396"/>
                    </a:cubicBezTo>
                    <a:cubicBezTo>
                      <a:pt x="427" y="393"/>
                      <a:pt x="424" y="393"/>
                      <a:pt x="423" y="391"/>
                    </a:cubicBezTo>
                    <a:cubicBezTo>
                      <a:pt x="423" y="388"/>
                      <a:pt x="422" y="387"/>
                      <a:pt x="421" y="385"/>
                    </a:cubicBezTo>
                    <a:cubicBezTo>
                      <a:pt x="422" y="380"/>
                      <a:pt x="428" y="379"/>
                      <a:pt x="427" y="372"/>
                    </a:cubicBezTo>
                    <a:cubicBezTo>
                      <a:pt x="416" y="371"/>
                      <a:pt x="411" y="376"/>
                      <a:pt x="403" y="378"/>
                    </a:cubicBezTo>
                    <a:close/>
                    <a:moveTo>
                      <a:pt x="531" y="464"/>
                    </a:moveTo>
                    <a:cubicBezTo>
                      <a:pt x="529" y="464"/>
                      <a:pt x="526" y="464"/>
                      <a:pt x="529" y="465"/>
                    </a:cubicBezTo>
                    <a:cubicBezTo>
                      <a:pt x="532" y="463"/>
                      <a:pt x="539" y="463"/>
                      <a:pt x="542" y="462"/>
                    </a:cubicBezTo>
                    <a:cubicBezTo>
                      <a:pt x="543" y="462"/>
                      <a:pt x="542" y="458"/>
                      <a:pt x="542" y="458"/>
                    </a:cubicBezTo>
                    <a:cubicBezTo>
                      <a:pt x="543" y="457"/>
                      <a:pt x="545" y="460"/>
                      <a:pt x="546" y="460"/>
                    </a:cubicBezTo>
                    <a:cubicBezTo>
                      <a:pt x="546" y="456"/>
                      <a:pt x="546" y="451"/>
                      <a:pt x="546" y="447"/>
                    </a:cubicBezTo>
                    <a:cubicBezTo>
                      <a:pt x="544" y="444"/>
                      <a:pt x="542" y="443"/>
                      <a:pt x="541" y="441"/>
                    </a:cubicBezTo>
                    <a:cubicBezTo>
                      <a:pt x="540" y="440"/>
                      <a:pt x="541" y="438"/>
                      <a:pt x="541" y="438"/>
                    </a:cubicBezTo>
                    <a:cubicBezTo>
                      <a:pt x="540" y="435"/>
                      <a:pt x="534" y="433"/>
                      <a:pt x="539" y="432"/>
                    </a:cubicBezTo>
                    <a:cubicBezTo>
                      <a:pt x="542" y="432"/>
                      <a:pt x="546" y="432"/>
                      <a:pt x="550" y="432"/>
                    </a:cubicBezTo>
                    <a:cubicBezTo>
                      <a:pt x="551" y="425"/>
                      <a:pt x="546" y="425"/>
                      <a:pt x="546" y="423"/>
                    </a:cubicBezTo>
                    <a:cubicBezTo>
                      <a:pt x="546" y="419"/>
                      <a:pt x="542" y="419"/>
                      <a:pt x="541" y="417"/>
                    </a:cubicBezTo>
                    <a:cubicBezTo>
                      <a:pt x="541" y="417"/>
                      <a:pt x="544" y="415"/>
                      <a:pt x="542" y="413"/>
                    </a:cubicBezTo>
                    <a:cubicBezTo>
                      <a:pt x="537" y="415"/>
                      <a:pt x="536" y="411"/>
                      <a:pt x="531" y="411"/>
                    </a:cubicBezTo>
                    <a:cubicBezTo>
                      <a:pt x="533" y="401"/>
                      <a:pt x="520" y="404"/>
                      <a:pt x="520" y="395"/>
                    </a:cubicBezTo>
                    <a:cubicBezTo>
                      <a:pt x="525" y="391"/>
                      <a:pt x="528" y="385"/>
                      <a:pt x="539" y="387"/>
                    </a:cubicBezTo>
                    <a:cubicBezTo>
                      <a:pt x="539" y="386"/>
                      <a:pt x="539" y="384"/>
                      <a:pt x="541" y="383"/>
                    </a:cubicBezTo>
                    <a:cubicBezTo>
                      <a:pt x="541" y="378"/>
                      <a:pt x="535" y="379"/>
                      <a:pt x="535" y="374"/>
                    </a:cubicBezTo>
                    <a:cubicBezTo>
                      <a:pt x="526" y="373"/>
                      <a:pt x="522" y="377"/>
                      <a:pt x="516" y="374"/>
                    </a:cubicBezTo>
                    <a:cubicBezTo>
                      <a:pt x="516" y="377"/>
                      <a:pt x="516" y="378"/>
                      <a:pt x="514" y="376"/>
                    </a:cubicBezTo>
                    <a:cubicBezTo>
                      <a:pt x="513" y="375"/>
                      <a:pt x="512" y="378"/>
                      <a:pt x="513" y="378"/>
                    </a:cubicBezTo>
                    <a:cubicBezTo>
                      <a:pt x="508" y="380"/>
                      <a:pt x="502" y="383"/>
                      <a:pt x="500" y="383"/>
                    </a:cubicBezTo>
                    <a:cubicBezTo>
                      <a:pt x="494" y="385"/>
                      <a:pt x="496" y="386"/>
                      <a:pt x="494" y="389"/>
                    </a:cubicBezTo>
                    <a:cubicBezTo>
                      <a:pt x="493" y="390"/>
                      <a:pt x="491" y="388"/>
                      <a:pt x="490" y="389"/>
                    </a:cubicBezTo>
                    <a:cubicBezTo>
                      <a:pt x="489" y="390"/>
                      <a:pt x="491" y="394"/>
                      <a:pt x="490" y="395"/>
                    </a:cubicBezTo>
                    <a:cubicBezTo>
                      <a:pt x="491" y="399"/>
                      <a:pt x="495" y="392"/>
                      <a:pt x="496" y="398"/>
                    </a:cubicBezTo>
                    <a:cubicBezTo>
                      <a:pt x="496" y="400"/>
                      <a:pt x="497" y="401"/>
                      <a:pt x="498" y="402"/>
                    </a:cubicBezTo>
                    <a:cubicBezTo>
                      <a:pt x="496" y="408"/>
                      <a:pt x="499" y="412"/>
                      <a:pt x="500" y="413"/>
                    </a:cubicBezTo>
                    <a:cubicBezTo>
                      <a:pt x="500" y="416"/>
                      <a:pt x="500" y="416"/>
                      <a:pt x="501" y="417"/>
                    </a:cubicBezTo>
                    <a:cubicBezTo>
                      <a:pt x="502" y="417"/>
                      <a:pt x="503" y="423"/>
                      <a:pt x="503" y="423"/>
                    </a:cubicBezTo>
                    <a:cubicBezTo>
                      <a:pt x="505" y="428"/>
                      <a:pt x="505" y="427"/>
                      <a:pt x="507" y="430"/>
                    </a:cubicBezTo>
                    <a:cubicBezTo>
                      <a:pt x="508" y="432"/>
                      <a:pt x="506" y="434"/>
                      <a:pt x="507" y="436"/>
                    </a:cubicBezTo>
                    <a:cubicBezTo>
                      <a:pt x="508" y="437"/>
                      <a:pt x="512" y="438"/>
                      <a:pt x="511" y="441"/>
                    </a:cubicBezTo>
                    <a:cubicBezTo>
                      <a:pt x="504" y="439"/>
                      <a:pt x="509" y="449"/>
                      <a:pt x="505" y="451"/>
                    </a:cubicBezTo>
                    <a:cubicBezTo>
                      <a:pt x="513" y="452"/>
                      <a:pt x="513" y="463"/>
                      <a:pt x="522" y="458"/>
                    </a:cubicBezTo>
                    <a:cubicBezTo>
                      <a:pt x="515" y="465"/>
                      <a:pt x="531" y="459"/>
                      <a:pt x="531" y="464"/>
                    </a:cubicBezTo>
                    <a:close/>
                    <a:moveTo>
                      <a:pt x="587" y="378"/>
                    </a:moveTo>
                    <a:cubicBezTo>
                      <a:pt x="586" y="379"/>
                      <a:pt x="587" y="382"/>
                      <a:pt x="585" y="383"/>
                    </a:cubicBezTo>
                    <a:cubicBezTo>
                      <a:pt x="584" y="385"/>
                      <a:pt x="580" y="385"/>
                      <a:pt x="580" y="387"/>
                    </a:cubicBezTo>
                    <a:cubicBezTo>
                      <a:pt x="581" y="389"/>
                      <a:pt x="585" y="392"/>
                      <a:pt x="585" y="395"/>
                    </a:cubicBezTo>
                    <a:cubicBezTo>
                      <a:pt x="585" y="395"/>
                      <a:pt x="582" y="395"/>
                      <a:pt x="583" y="396"/>
                    </a:cubicBezTo>
                    <a:cubicBezTo>
                      <a:pt x="585" y="398"/>
                      <a:pt x="589" y="397"/>
                      <a:pt x="591" y="400"/>
                    </a:cubicBezTo>
                    <a:cubicBezTo>
                      <a:pt x="591" y="398"/>
                      <a:pt x="593" y="397"/>
                      <a:pt x="595" y="396"/>
                    </a:cubicBezTo>
                    <a:cubicBezTo>
                      <a:pt x="596" y="391"/>
                      <a:pt x="592" y="391"/>
                      <a:pt x="591" y="387"/>
                    </a:cubicBezTo>
                    <a:cubicBezTo>
                      <a:pt x="594" y="386"/>
                      <a:pt x="597" y="384"/>
                      <a:pt x="596" y="380"/>
                    </a:cubicBezTo>
                    <a:cubicBezTo>
                      <a:pt x="593" y="380"/>
                      <a:pt x="592" y="378"/>
                      <a:pt x="595" y="376"/>
                    </a:cubicBezTo>
                    <a:cubicBezTo>
                      <a:pt x="592" y="377"/>
                      <a:pt x="589" y="376"/>
                      <a:pt x="587" y="378"/>
                    </a:cubicBezTo>
                    <a:close/>
                    <a:moveTo>
                      <a:pt x="343" y="428"/>
                    </a:moveTo>
                    <a:cubicBezTo>
                      <a:pt x="342" y="436"/>
                      <a:pt x="356" y="431"/>
                      <a:pt x="356" y="428"/>
                    </a:cubicBezTo>
                    <a:cubicBezTo>
                      <a:pt x="351" y="426"/>
                      <a:pt x="348" y="426"/>
                      <a:pt x="343" y="428"/>
                    </a:cubicBezTo>
                    <a:close/>
                    <a:moveTo>
                      <a:pt x="386" y="775"/>
                    </a:moveTo>
                    <a:cubicBezTo>
                      <a:pt x="388" y="768"/>
                      <a:pt x="399" y="768"/>
                      <a:pt x="397" y="756"/>
                    </a:cubicBezTo>
                    <a:cubicBezTo>
                      <a:pt x="392" y="761"/>
                      <a:pt x="382" y="752"/>
                      <a:pt x="377" y="758"/>
                    </a:cubicBezTo>
                    <a:cubicBezTo>
                      <a:pt x="385" y="759"/>
                      <a:pt x="375" y="760"/>
                      <a:pt x="375" y="762"/>
                    </a:cubicBezTo>
                    <a:cubicBezTo>
                      <a:pt x="375" y="760"/>
                      <a:pt x="377" y="766"/>
                      <a:pt x="377" y="767"/>
                    </a:cubicBezTo>
                    <a:cubicBezTo>
                      <a:pt x="377" y="770"/>
                      <a:pt x="377" y="773"/>
                      <a:pt x="375" y="773"/>
                    </a:cubicBezTo>
                    <a:cubicBezTo>
                      <a:pt x="375" y="772"/>
                      <a:pt x="373" y="771"/>
                      <a:pt x="373" y="773"/>
                    </a:cubicBezTo>
                    <a:cubicBezTo>
                      <a:pt x="375" y="776"/>
                      <a:pt x="381" y="775"/>
                      <a:pt x="386" y="77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115" name="íṧḻîḋê">
                <a:extLst>
                  <a:ext uri="{FF2B5EF4-FFF2-40B4-BE49-F238E27FC236}">
                    <a16:creationId xmlns:a16="http://schemas.microsoft.com/office/drawing/2014/main" id="{0920A3E8-902F-4447-BACA-94FBB7A86BBA}"/>
                  </a:ext>
                </a:extLst>
              </p:cNvPr>
              <p:cNvSpPr/>
              <p:nvPr/>
            </p:nvSpPr>
            <p:spPr bwMode="auto">
              <a:xfrm>
                <a:off x="4137527" y="707649"/>
                <a:ext cx="47627" cy="25214"/>
              </a:xfrm>
              <a:custGeom>
                <a:avLst/>
                <a:gdLst>
                  <a:gd name="T0" fmla="*/ 16 w 23"/>
                  <a:gd name="T1" fmla="*/ 0 h 12"/>
                  <a:gd name="T2" fmla="*/ 20 w 23"/>
                  <a:gd name="T3" fmla="*/ 11 h 12"/>
                  <a:gd name="T4" fmla="*/ 0 w 23"/>
                  <a:gd name="T5" fmla="*/ 6 h 12"/>
                  <a:gd name="T6" fmla="*/ 16 w 23"/>
                  <a:gd name="T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12">
                    <a:moveTo>
                      <a:pt x="16" y="0"/>
                    </a:moveTo>
                    <a:cubicBezTo>
                      <a:pt x="16" y="5"/>
                      <a:pt x="23" y="4"/>
                      <a:pt x="20" y="11"/>
                    </a:cubicBezTo>
                    <a:cubicBezTo>
                      <a:pt x="10" y="12"/>
                      <a:pt x="4" y="10"/>
                      <a:pt x="0" y="6"/>
                    </a:cubicBezTo>
                    <a:cubicBezTo>
                      <a:pt x="3" y="1"/>
                      <a:pt x="10" y="1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116" name="ïśḻiḑe">
                <a:extLst>
                  <a:ext uri="{FF2B5EF4-FFF2-40B4-BE49-F238E27FC236}">
                    <a16:creationId xmlns:a16="http://schemas.microsoft.com/office/drawing/2014/main" id="{4CCE330E-BB16-4086-A18F-3CD7A962475D}"/>
                  </a:ext>
                </a:extLst>
              </p:cNvPr>
              <p:cNvSpPr/>
              <p:nvPr/>
            </p:nvSpPr>
            <p:spPr bwMode="auto">
              <a:xfrm>
                <a:off x="4234180" y="755276"/>
                <a:ext cx="466461" cy="326383"/>
              </a:xfrm>
              <a:custGeom>
                <a:avLst/>
                <a:gdLst>
                  <a:gd name="T0" fmla="*/ 22 w 224"/>
                  <a:gd name="T1" fmla="*/ 9 h 157"/>
                  <a:gd name="T2" fmla="*/ 29 w 224"/>
                  <a:gd name="T3" fmla="*/ 7 h 157"/>
                  <a:gd name="T4" fmla="*/ 29 w 224"/>
                  <a:gd name="T5" fmla="*/ 11 h 157"/>
                  <a:gd name="T6" fmla="*/ 29 w 224"/>
                  <a:gd name="T7" fmla="*/ 18 h 157"/>
                  <a:gd name="T8" fmla="*/ 35 w 224"/>
                  <a:gd name="T9" fmla="*/ 33 h 157"/>
                  <a:gd name="T10" fmla="*/ 48 w 224"/>
                  <a:gd name="T11" fmla="*/ 9 h 157"/>
                  <a:gd name="T12" fmla="*/ 65 w 224"/>
                  <a:gd name="T13" fmla="*/ 7 h 157"/>
                  <a:gd name="T14" fmla="*/ 76 w 224"/>
                  <a:gd name="T15" fmla="*/ 25 h 157"/>
                  <a:gd name="T16" fmla="*/ 89 w 224"/>
                  <a:gd name="T17" fmla="*/ 22 h 157"/>
                  <a:gd name="T18" fmla="*/ 107 w 224"/>
                  <a:gd name="T19" fmla="*/ 20 h 157"/>
                  <a:gd name="T20" fmla="*/ 115 w 224"/>
                  <a:gd name="T21" fmla="*/ 27 h 157"/>
                  <a:gd name="T22" fmla="*/ 122 w 224"/>
                  <a:gd name="T23" fmla="*/ 31 h 157"/>
                  <a:gd name="T24" fmla="*/ 126 w 224"/>
                  <a:gd name="T25" fmla="*/ 33 h 157"/>
                  <a:gd name="T26" fmla="*/ 143 w 224"/>
                  <a:gd name="T27" fmla="*/ 37 h 157"/>
                  <a:gd name="T28" fmla="*/ 158 w 224"/>
                  <a:gd name="T29" fmla="*/ 44 h 157"/>
                  <a:gd name="T30" fmla="*/ 163 w 224"/>
                  <a:gd name="T31" fmla="*/ 50 h 157"/>
                  <a:gd name="T32" fmla="*/ 174 w 224"/>
                  <a:gd name="T33" fmla="*/ 59 h 157"/>
                  <a:gd name="T34" fmla="*/ 167 w 224"/>
                  <a:gd name="T35" fmla="*/ 74 h 157"/>
                  <a:gd name="T36" fmla="*/ 184 w 224"/>
                  <a:gd name="T37" fmla="*/ 76 h 157"/>
                  <a:gd name="T38" fmla="*/ 188 w 224"/>
                  <a:gd name="T39" fmla="*/ 85 h 157"/>
                  <a:gd name="T40" fmla="*/ 202 w 224"/>
                  <a:gd name="T41" fmla="*/ 87 h 157"/>
                  <a:gd name="T42" fmla="*/ 212 w 224"/>
                  <a:gd name="T43" fmla="*/ 96 h 157"/>
                  <a:gd name="T44" fmla="*/ 216 w 224"/>
                  <a:gd name="T45" fmla="*/ 104 h 157"/>
                  <a:gd name="T46" fmla="*/ 206 w 224"/>
                  <a:gd name="T47" fmla="*/ 117 h 157"/>
                  <a:gd name="T48" fmla="*/ 193 w 224"/>
                  <a:gd name="T49" fmla="*/ 115 h 157"/>
                  <a:gd name="T50" fmla="*/ 182 w 224"/>
                  <a:gd name="T51" fmla="*/ 104 h 157"/>
                  <a:gd name="T52" fmla="*/ 173 w 224"/>
                  <a:gd name="T53" fmla="*/ 113 h 157"/>
                  <a:gd name="T54" fmla="*/ 186 w 224"/>
                  <a:gd name="T55" fmla="*/ 121 h 157"/>
                  <a:gd name="T56" fmla="*/ 193 w 224"/>
                  <a:gd name="T57" fmla="*/ 134 h 157"/>
                  <a:gd name="T58" fmla="*/ 188 w 224"/>
                  <a:gd name="T59" fmla="*/ 147 h 157"/>
                  <a:gd name="T60" fmla="*/ 163 w 224"/>
                  <a:gd name="T61" fmla="*/ 137 h 157"/>
                  <a:gd name="T62" fmla="*/ 171 w 224"/>
                  <a:gd name="T63" fmla="*/ 147 h 157"/>
                  <a:gd name="T64" fmla="*/ 180 w 224"/>
                  <a:gd name="T65" fmla="*/ 152 h 157"/>
                  <a:gd name="T66" fmla="*/ 171 w 224"/>
                  <a:gd name="T67" fmla="*/ 152 h 157"/>
                  <a:gd name="T68" fmla="*/ 150 w 224"/>
                  <a:gd name="T69" fmla="*/ 145 h 157"/>
                  <a:gd name="T70" fmla="*/ 139 w 224"/>
                  <a:gd name="T71" fmla="*/ 139 h 157"/>
                  <a:gd name="T72" fmla="*/ 133 w 224"/>
                  <a:gd name="T73" fmla="*/ 130 h 157"/>
                  <a:gd name="T74" fmla="*/ 122 w 224"/>
                  <a:gd name="T75" fmla="*/ 109 h 157"/>
                  <a:gd name="T76" fmla="*/ 124 w 224"/>
                  <a:gd name="T77" fmla="*/ 104 h 157"/>
                  <a:gd name="T78" fmla="*/ 128 w 224"/>
                  <a:gd name="T79" fmla="*/ 96 h 157"/>
                  <a:gd name="T80" fmla="*/ 133 w 224"/>
                  <a:gd name="T81" fmla="*/ 87 h 157"/>
                  <a:gd name="T82" fmla="*/ 128 w 224"/>
                  <a:gd name="T83" fmla="*/ 76 h 157"/>
                  <a:gd name="T84" fmla="*/ 120 w 224"/>
                  <a:gd name="T85" fmla="*/ 70 h 157"/>
                  <a:gd name="T86" fmla="*/ 115 w 224"/>
                  <a:gd name="T87" fmla="*/ 70 h 157"/>
                  <a:gd name="T88" fmla="*/ 107 w 224"/>
                  <a:gd name="T89" fmla="*/ 68 h 157"/>
                  <a:gd name="T90" fmla="*/ 92 w 224"/>
                  <a:gd name="T91" fmla="*/ 52 h 157"/>
                  <a:gd name="T92" fmla="*/ 78 w 224"/>
                  <a:gd name="T93" fmla="*/ 55 h 157"/>
                  <a:gd name="T94" fmla="*/ 65 w 224"/>
                  <a:gd name="T95" fmla="*/ 55 h 157"/>
                  <a:gd name="T96" fmla="*/ 50 w 224"/>
                  <a:gd name="T97" fmla="*/ 55 h 157"/>
                  <a:gd name="T98" fmla="*/ 22 w 224"/>
                  <a:gd name="T99" fmla="*/ 50 h 157"/>
                  <a:gd name="T100" fmla="*/ 9 w 224"/>
                  <a:gd name="T101" fmla="*/ 42 h 157"/>
                  <a:gd name="T102" fmla="*/ 5 w 224"/>
                  <a:gd name="T103" fmla="*/ 33 h 157"/>
                  <a:gd name="T104" fmla="*/ 7 w 224"/>
                  <a:gd name="T105" fmla="*/ 25 h 157"/>
                  <a:gd name="T106" fmla="*/ 145 w 224"/>
                  <a:gd name="T107" fmla="*/ 107 h 157"/>
                  <a:gd name="T108" fmla="*/ 154 w 224"/>
                  <a:gd name="T109" fmla="*/ 100 h 157"/>
                  <a:gd name="T110" fmla="*/ 145 w 224"/>
                  <a:gd name="T111" fmla="*/ 107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24" h="157">
                    <a:moveTo>
                      <a:pt x="9" y="11"/>
                    </a:moveTo>
                    <a:cubicBezTo>
                      <a:pt x="12" y="16"/>
                      <a:pt x="19" y="4"/>
                      <a:pt x="22" y="9"/>
                    </a:cubicBezTo>
                    <a:cubicBezTo>
                      <a:pt x="24" y="9"/>
                      <a:pt x="23" y="5"/>
                      <a:pt x="24" y="5"/>
                    </a:cubicBezTo>
                    <a:cubicBezTo>
                      <a:pt x="26" y="4"/>
                      <a:pt x="27" y="7"/>
                      <a:pt x="29" y="7"/>
                    </a:cubicBezTo>
                    <a:cubicBezTo>
                      <a:pt x="32" y="7"/>
                      <a:pt x="32" y="0"/>
                      <a:pt x="37" y="5"/>
                    </a:cubicBezTo>
                    <a:cubicBezTo>
                      <a:pt x="36" y="13"/>
                      <a:pt x="32" y="7"/>
                      <a:pt x="29" y="11"/>
                    </a:cubicBezTo>
                    <a:cubicBezTo>
                      <a:pt x="28" y="12"/>
                      <a:pt x="33" y="12"/>
                      <a:pt x="33" y="12"/>
                    </a:cubicBezTo>
                    <a:cubicBezTo>
                      <a:pt x="32" y="15"/>
                      <a:pt x="30" y="15"/>
                      <a:pt x="29" y="18"/>
                    </a:cubicBezTo>
                    <a:cubicBezTo>
                      <a:pt x="29" y="21"/>
                      <a:pt x="31" y="22"/>
                      <a:pt x="31" y="24"/>
                    </a:cubicBezTo>
                    <a:cubicBezTo>
                      <a:pt x="32" y="27"/>
                      <a:pt x="30" y="33"/>
                      <a:pt x="35" y="33"/>
                    </a:cubicBezTo>
                    <a:cubicBezTo>
                      <a:pt x="39" y="32"/>
                      <a:pt x="35" y="22"/>
                      <a:pt x="37" y="18"/>
                    </a:cubicBezTo>
                    <a:cubicBezTo>
                      <a:pt x="46" y="20"/>
                      <a:pt x="45" y="13"/>
                      <a:pt x="48" y="9"/>
                    </a:cubicBezTo>
                    <a:cubicBezTo>
                      <a:pt x="50" y="13"/>
                      <a:pt x="55" y="5"/>
                      <a:pt x="57" y="11"/>
                    </a:cubicBezTo>
                    <a:cubicBezTo>
                      <a:pt x="61" y="11"/>
                      <a:pt x="59" y="5"/>
                      <a:pt x="65" y="7"/>
                    </a:cubicBezTo>
                    <a:cubicBezTo>
                      <a:pt x="64" y="14"/>
                      <a:pt x="69" y="15"/>
                      <a:pt x="74" y="16"/>
                    </a:cubicBezTo>
                    <a:cubicBezTo>
                      <a:pt x="72" y="22"/>
                      <a:pt x="73" y="21"/>
                      <a:pt x="76" y="25"/>
                    </a:cubicBezTo>
                    <a:cubicBezTo>
                      <a:pt x="78" y="23"/>
                      <a:pt x="80" y="23"/>
                      <a:pt x="83" y="25"/>
                    </a:cubicBezTo>
                    <a:cubicBezTo>
                      <a:pt x="87" y="27"/>
                      <a:pt x="87" y="23"/>
                      <a:pt x="89" y="22"/>
                    </a:cubicBezTo>
                    <a:cubicBezTo>
                      <a:pt x="91" y="21"/>
                      <a:pt x="94" y="23"/>
                      <a:pt x="94" y="20"/>
                    </a:cubicBezTo>
                    <a:cubicBezTo>
                      <a:pt x="100" y="22"/>
                      <a:pt x="102" y="22"/>
                      <a:pt x="107" y="20"/>
                    </a:cubicBezTo>
                    <a:cubicBezTo>
                      <a:pt x="107" y="24"/>
                      <a:pt x="112" y="22"/>
                      <a:pt x="111" y="22"/>
                    </a:cubicBezTo>
                    <a:cubicBezTo>
                      <a:pt x="113" y="23"/>
                      <a:pt x="113" y="26"/>
                      <a:pt x="115" y="27"/>
                    </a:cubicBezTo>
                    <a:cubicBezTo>
                      <a:pt x="116" y="28"/>
                      <a:pt x="119" y="29"/>
                      <a:pt x="120" y="29"/>
                    </a:cubicBezTo>
                    <a:cubicBezTo>
                      <a:pt x="121" y="30"/>
                      <a:pt x="120" y="31"/>
                      <a:pt x="122" y="31"/>
                    </a:cubicBezTo>
                    <a:cubicBezTo>
                      <a:pt x="126" y="31"/>
                      <a:pt x="121" y="34"/>
                      <a:pt x="124" y="37"/>
                    </a:cubicBezTo>
                    <a:cubicBezTo>
                      <a:pt x="125" y="38"/>
                      <a:pt x="126" y="34"/>
                      <a:pt x="126" y="33"/>
                    </a:cubicBezTo>
                    <a:cubicBezTo>
                      <a:pt x="129" y="35"/>
                      <a:pt x="129" y="38"/>
                      <a:pt x="133" y="39"/>
                    </a:cubicBezTo>
                    <a:cubicBezTo>
                      <a:pt x="137" y="39"/>
                      <a:pt x="139" y="37"/>
                      <a:pt x="143" y="37"/>
                    </a:cubicBezTo>
                    <a:cubicBezTo>
                      <a:pt x="142" y="44"/>
                      <a:pt x="154" y="40"/>
                      <a:pt x="154" y="46"/>
                    </a:cubicBezTo>
                    <a:cubicBezTo>
                      <a:pt x="156" y="46"/>
                      <a:pt x="157" y="46"/>
                      <a:pt x="158" y="44"/>
                    </a:cubicBezTo>
                    <a:cubicBezTo>
                      <a:pt x="160" y="45"/>
                      <a:pt x="161" y="48"/>
                      <a:pt x="161" y="52"/>
                    </a:cubicBezTo>
                    <a:cubicBezTo>
                      <a:pt x="163" y="52"/>
                      <a:pt x="163" y="51"/>
                      <a:pt x="163" y="50"/>
                    </a:cubicBezTo>
                    <a:cubicBezTo>
                      <a:pt x="166" y="52"/>
                      <a:pt x="168" y="56"/>
                      <a:pt x="174" y="55"/>
                    </a:cubicBezTo>
                    <a:cubicBezTo>
                      <a:pt x="173" y="57"/>
                      <a:pt x="172" y="59"/>
                      <a:pt x="174" y="59"/>
                    </a:cubicBezTo>
                    <a:cubicBezTo>
                      <a:pt x="176" y="62"/>
                      <a:pt x="169" y="65"/>
                      <a:pt x="174" y="66"/>
                    </a:cubicBezTo>
                    <a:cubicBezTo>
                      <a:pt x="172" y="69"/>
                      <a:pt x="167" y="69"/>
                      <a:pt x="167" y="74"/>
                    </a:cubicBezTo>
                    <a:cubicBezTo>
                      <a:pt x="171" y="81"/>
                      <a:pt x="180" y="72"/>
                      <a:pt x="182" y="80"/>
                    </a:cubicBezTo>
                    <a:cubicBezTo>
                      <a:pt x="184" y="79"/>
                      <a:pt x="183" y="77"/>
                      <a:pt x="184" y="76"/>
                    </a:cubicBezTo>
                    <a:cubicBezTo>
                      <a:pt x="186" y="76"/>
                      <a:pt x="185" y="80"/>
                      <a:pt x="186" y="81"/>
                    </a:cubicBezTo>
                    <a:cubicBezTo>
                      <a:pt x="186" y="81"/>
                      <a:pt x="188" y="85"/>
                      <a:pt x="188" y="85"/>
                    </a:cubicBezTo>
                    <a:cubicBezTo>
                      <a:pt x="190" y="85"/>
                      <a:pt x="192" y="81"/>
                      <a:pt x="191" y="89"/>
                    </a:cubicBezTo>
                    <a:cubicBezTo>
                      <a:pt x="196" y="89"/>
                      <a:pt x="197" y="86"/>
                      <a:pt x="202" y="87"/>
                    </a:cubicBezTo>
                    <a:cubicBezTo>
                      <a:pt x="203" y="88"/>
                      <a:pt x="204" y="90"/>
                      <a:pt x="204" y="93"/>
                    </a:cubicBezTo>
                    <a:cubicBezTo>
                      <a:pt x="208" y="93"/>
                      <a:pt x="214" y="91"/>
                      <a:pt x="212" y="96"/>
                    </a:cubicBezTo>
                    <a:cubicBezTo>
                      <a:pt x="219" y="93"/>
                      <a:pt x="215" y="97"/>
                      <a:pt x="221" y="98"/>
                    </a:cubicBezTo>
                    <a:cubicBezTo>
                      <a:pt x="224" y="102"/>
                      <a:pt x="215" y="104"/>
                      <a:pt x="216" y="104"/>
                    </a:cubicBezTo>
                    <a:cubicBezTo>
                      <a:pt x="214" y="105"/>
                      <a:pt x="217" y="106"/>
                      <a:pt x="217" y="106"/>
                    </a:cubicBezTo>
                    <a:cubicBezTo>
                      <a:pt x="213" y="111"/>
                      <a:pt x="209" y="110"/>
                      <a:pt x="206" y="117"/>
                    </a:cubicBezTo>
                    <a:cubicBezTo>
                      <a:pt x="204" y="117"/>
                      <a:pt x="203" y="117"/>
                      <a:pt x="202" y="119"/>
                    </a:cubicBezTo>
                    <a:cubicBezTo>
                      <a:pt x="201" y="118"/>
                      <a:pt x="193" y="118"/>
                      <a:pt x="193" y="115"/>
                    </a:cubicBezTo>
                    <a:cubicBezTo>
                      <a:pt x="193" y="111"/>
                      <a:pt x="184" y="115"/>
                      <a:pt x="186" y="107"/>
                    </a:cubicBezTo>
                    <a:cubicBezTo>
                      <a:pt x="182" y="108"/>
                      <a:pt x="182" y="106"/>
                      <a:pt x="182" y="104"/>
                    </a:cubicBezTo>
                    <a:cubicBezTo>
                      <a:pt x="179" y="104"/>
                      <a:pt x="177" y="104"/>
                      <a:pt x="174" y="104"/>
                    </a:cubicBezTo>
                    <a:cubicBezTo>
                      <a:pt x="170" y="103"/>
                      <a:pt x="174" y="110"/>
                      <a:pt x="173" y="113"/>
                    </a:cubicBezTo>
                    <a:cubicBezTo>
                      <a:pt x="173" y="117"/>
                      <a:pt x="178" y="117"/>
                      <a:pt x="178" y="121"/>
                    </a:cubicBezTo>
                    <a:cubicBezTo>
                      <a:pt x="182" y="118"/>
                      <a:pt x="185" y="125"/>
                      <a:pt x="186" y="121"/>
                    </a:cubicBezTo>
                    <a:cubicBezTo>
                      <a:pt x="188" y="123"/>
                      <a:pt x="189" y="127"/>
                      <a:pt x="189" y="132"/>
                    </a:cubicBezTo>
                    <a:cubicBezTo>
                      <a:pt x="189" y="134"/>
                      <a:pt x="193" y="133"/>
                      <a:pt x="193" y="134"/>
                    </a:cubicBezTo>
                    <a:cubicBezTo>
                      <a:pt x="196" y="138"/>
                      <a:pt x="191" y="147"/>
                      <a:pt x="191" y="150"/>
                    </a:cubicBezTo>
                    <a:cubicBezTo>
                      <a:pt x="187" y="152"/>
                      <a:pt x="189" y="148"/>
                      <a:pt x="188" y="147"/>
                    </a:cubicBezTo>
                    <a:cubicBezTo>
                      <a:pt x="185" y="145"/>
                      <a:pt x="179" y="146"/>
                      <a:pt x="178" y="141"/>
                    </a:cubicBezTo>
                    <a:cubicBezTo>
                      <a:pt x="171" y="142"/>
                      <a:pt x="172" y="135"/>
                      <a:pt x="163" y="137"/>
                    </a:cubicBezTo>
                    <a:cubicBezTo>
                      <a:pt x="164" y="141"/>
                      <a:pt x="170" y="138"/>
                      <a:pt x="171" y="141"/>
                    </a:cubicBezTo>
                    <a:cubicBezTo>
                      <a:pt x="164" y="147"/>
                      <a:pt x="177" y="144"/>
                      <a:pt x="171" y="147"/>
                    </a:cubicBezTo>
                    <a:cubicBezTo>
                      <a:pt x="171" y="149"/>
                      <a:pt x="176" y="149"/>
                      <a:pt x="178" y="150"/>
                    </a:cubicBezTo>
                    <a:cubicBezTo>
                      <a:pt x="179" y="151"/>
                      <a:pt x="178" y="152"/>
                      <a:pt x="180" y="152"/>
                    </a:cubicBezTo>
                    <a:cubicBezTo>
                      <a:pt x="183" y="152"/>
                      <a:pt x="184" y="153"/>
                      <a:pt x="184" y="156"/>
                    </a:cubicBezTo>
                    <a:cubicBezTo>
                      <a:pt x="178" y="157"/>
                      <a:pt x="175" y="155"/>
                      <a:pt x="171" y="152"/>
                    </a:cubicBezTo>
                    <a:cubicBezTo>
                      <a:pt x="168" y="151"/>
                      <a:pt x="163" y="151"/>
                      <a:pt x="160" y="148"/>
                    </a:cubicBezTo>
                    <a:cubicBezTo>
                      <a:pt x="157" y="147"/>
                      <a:pt x="153" y="145"/>
                      <a:pt x="150" y="145"/>
                    </a:cubicBezTo>
                    <a:cubicBezTo>
                      <a:pt x="148" y="145"/>
                      <a:pt x="148" y="142"/>
                      <a:pt x="147" y="141"/>
                    </a:cubicBezTo>
                    <a:cubicBezTo>
                      <a:pt x="144" y="140"/>
                      <a:pt x="141" y="141"/>
                      <a:pt x="139" y="139"/>
                    </a:cubicBezTo>
                    <a:cubicBezTo>
                      <a:pt x="137" y="138"/>
                      <a:pt x="139" y="135"/>
                      <a:pt x="137" y="134"/>
                    </a:cubicBezTo>
                    <a:cubicBezTo>
                      <a:pt x="136" y="132"/>
                      <a:pt x="132" y="134"/>
                      <a:pt x="133" y="130"/>
                    </a:cubicBezTo>
                    <a:cubicBezTo>
                      <a:pt x="125" y="130"/>
                      <a:pt x="125" y="122"/>
                      <a:pt x="120" y="119"/>
                    </a:cubicBezTo>
                    <a:cubicBezTo>
                      <a:pt x="122" y="118"/>
                      <a:pt x="120" y="112"/>
                      <a:pt x="122" y="109"/>
                    </a:cubicBezTo>
                    <a:cubicBezTo>
                      <a:pt x="123" y="109"/>
                      <a:pt x="126" y="110"/>
                      <a:pt x="126" y="109"/>
                    </a:cubicBezTo>
                    <a:cubicBezTo>
                      <a:pt x="126" y="108"/>
                      <a:pt x="123" y="106"/>
                      <a:pt x="124" y="104"/>
                    </a:cubicBezTo>
                    <a:cubicBezTo>
                      <a:pt x="124" y="103"/>
                      <a:pt x="128" y="104"/>
                      <a:pt x="128" y="104"/>
                    </a:cubicBezTo>
                    <a:cubicBezTo>
                      <a:pt x="129" y="103"/>
                      <a:pt x="127" y="98"/>
                      <a:pt x="128" y="96"/>
                    </a:cubicBezTo>
                    <a:cubicBezTo>
                      <a:pt x="128" y="96"/>
                      <a:pt x="131" y="97"/>
                      <a:pt x="132" y="96"/>
                    </a:cubicBezTo>
                    <a:cubicBezTo>
                      <a:pt x="134" y="94"/>
                      <a:pt x="131" y="89"/>
                      <a:pt x="133" y="87"/>
                    </a:cubicBezTo>
                    <a:cubicBezTo>
                      <a:pt x="133" y="85"/>
                      <a:pt x="130" y="85"/>
                      <a:pt x="128" y="85"/>
                    </a:cubicBezTo>
                    <a:cubicBezTo>
                      <a:pt x="128" y="82"/>
                      <a:pt x="128" y="79"/>
                      <a:pt x="128" y="76"/>
                    </a:cubicBezTo>
                    <a:cubicBezTo>
                      <a:pt x="126" y="76"/>
                      <a:pt x="125" y="76"/>
                      <a:pt x="124" y="78"/>
                    </a:cubicBezTo>
                    <a:cubicBezTo>
                      <a:pt x="121" y="76"/>
                      <a:pt x="123" y="72"/>
                      <a:pt x="120" y="70"/>
                    </a:cubicBezTo>
                    <a:cubicBezTo>
                      <a:pt x="120" y="70"/>
                      <a:pt x="118" y="72"/>
                      <a:pt x="117" y="72"/>
                    </a:cubicBezTo>
                    <a:cubicBezTo>
                      <a:pt x="117" y="72"/>
                      <a:pt x="115" y="70"/>
                      <a:pt x="115" y="70"/>
                    </a:cubicBezTo>
                    <a:cubicBezTo>
                      <a:pt x="114" y="70"/>
                      <a:pt x="112" y="67"/>
                      <a:pt x="111" y="66"/>
                    </a:cubicBezTo>
                    <a:cubicBezTo>
                      <a:pt x="110" y="66"/>
                      <a:pt x="109" y="69"/>
                      <a:pt x="107" y="68"/>
                    </a:cubicBezTo>
                    <a:cubicBezTo>
                      <a:pt x="107" y="68"/>
                      <a:pt x="104" y="64"/>
                      <a:pt x="100" y="65"/>
                    </a:cubicBezTo>
                    <a:cubicBezTo>
                      <a:pt x="108" y="56"/>
                      <a:pt x="90" y="61"/>
                      <a:pt x="92" y="52"/>
                    </a:cubicBezTo>
                    <a:cubicBezTo>
                      <a:pt x="88" y="52"/>
                      <a:pt x="83" y="52"/>
                      <a:pt x="83" y="57"/>
                    </a:cubicBezTo>
                    <a:cubicBezTo>
                      <a:pt x="80" y="59"/>
                      <a:pt x="78" y="55"/>
                      <a:pt x="78" y="55"/>
                    </a:cubicBezTo>
                    <a:cubicBezTo>
                      <a:pt x="76" y="55"/>
                      <a:pt x="75" y="57"/>
                      <a:pt x="72" y="57"/>
                    </a:cubicBezTo>
                    <a:cubicBezTo>
                      <a:pt x="69" y="57"/>
                      <a:pt x="68" y="55"/>
                      <a:pt x="65" y="55"/>
                    </a:cubicBezTo>
                    <a:cubicBezTo>
                      <a:pt x="61" y="55"/>
                      <a:pt x="61" y="57"/>
                      <a:pt x="57" y="57"/>
                    </a:cubicBezTo>
                    <a:cubicBezTo>
                      <a:pt x="53" y="57"/>
                      <a:pt x="52" y="56"/>
                      <a:pt x="50" y="55"/>
                    </a:cubicBezTo>
                    <a:cubicBezTo>
                      <a:pt x="41" y="55"/>
                      <a:pt x="34" y="56"/>
                      <a:pt x="25" y="53"/>
                    </a:cubicBezTo>
                    <a:cubicBezTo>
                      <a:pt x="24" y="53"/>
                      <a:pt x="22" y="50"/>
                      <a:pt x="22" y="50"/>
                    </a:cubicBezTo>
                    <a:cubicBezTo>
                      <a:pt x="18" y="49"/>
                      <a:pt x="15" y="51"/>
                      <a:pt x="16" y="46"/>
                    </a:cubicBezTo>
                    <a:cubicBezTo>
                      <a:pt x="13" y="46"/>
                      <a:pt x="7" y="48"/>
                      <a:pt x="9" y="42"/>
                    </a:cubicBezTo>
                    <a:cubicBezTo>
                      <a:pt x="15" y="44"/>
                      <a:pt x="16" y="40"/>
                      <a:pt x="20" y="39"/>
                    </a:cubicBezTo>
                    <a:cubicBezTo>
                      <a:pt x="17" y="35"/>
                      <a:pt x="7" y="38"/>
                      <a:pt x="5" y="33"/>
                    </a:cubicBezTo>
                    <a:cubicBezTo>
                      <a:pt x="3" y="33"/>
                      <a:pt x="3" y="34"/>
                      <a:pt x="3" y="35"/>
                    </a:cubicBezTo>
                    <a:cubicBezTo>
                      <a:pt x="0" y="34"/>
                      <a:pt x="5" y="27"/>
                      <a:pt x="7" y="25"/>
                    </a:cubicBezTo>
                    <a:cubicBezTo>
                      <a:pt x="5" y="19"/>
                      <a:pt x="10" y="17"/>
                      <a:pt x="9" y="11"/>
                    </a:cubicBezTo>
                    <a:close/>
                    <a:moveTo>
                      <a:pt x="145" y="107"/>
                    </a:moveTo>
                    <a:cubicBezTo>
                      <a:pt x="145" y="103"/>
                      <a:pt x="154" y="107"/>
                      <a:pt x="158" y="106"/>
                    </a:cubicBezTo>
                    <a:cubicBezTo>
                      <a:pt x="158" y="102"/>
                      <a:pt x="155" y="102"/>
                      <a:pt x="154" y="100"/>
                    </a:cubicBezTo>
                    <a:cubicBezTo>
                      <a:pt x="152" y="97"/>
                      <a:pt x="147" y="99"/>
                      <a:pt x="143" y="96"/>
                    </a:cubicBezTo>
                    <a:cubicBezTo>
                      <a:pt x="144" y="100"/>
                      <a:pt x="141" y="107"/>
                      <a:pt x="145" y="10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lnSpcReduction="1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117" name="îSļíḍe">
                <a:extLst>
                  <a:ext uri="{FF2B5EF4-FFF2-40B4-BE49-F238E27FC236}">
                    <a16:creationId xmlns:a16="http://schemas.microsoft.com/office/drawing/2014/main" id="{8A7A251A-8F44-4DF8-B7F5-DA1434D2CAB0}"/>
                  </a:ext>
                </a:extLst>
              </p:cNvPr>
              <p:cNvSpPr/>
              <p:nvPr/>
            </p:nvSpPr>
            <p:spPr bwMode="auto">
              <a:xfrm>
                <a:off x="3778927" y="772085"/>
                <a:ext cx="287161" cy="145681"/>
              </a:xfrm>
              <a:custGeom>
                <a:avLst/>
                <a:gdLst>
                  <a:gd name="T0" fmla="*/ 15 w 138"/>
                  <a:gd name="T1" fmla="*/ 53 h 70"/>
                  <a:gd name="T2" fmla="*/ 17 w 138"/>
                  <a:gd name="T3" fmla="*/ 47 h 70"/>
                  <a:gd name="T4" fmla="*/ 24 w 138"/>
                  <a:gd name="T5" fmla="*/ 45 h 70"/>
                  <a:gd name="T6" fmla="*/ 28 w 138"/>
                  <a:gd name="T7" fmla="*/ 44 h 70"/>
                  <a:gd name="T8" fmla="*/ 49 w 138"/>
                  <a:gd name="T9" fmla="*/ 42 h 70"/>
                  <a:gd name="T10" fmla="*/ 28 w 138"/>
                  <a:gd name="T11" fmla="*/ 40 h 70"/>
                  <a:gd name="T12" fmla="*/ 26 w 138"/>
                  <a:gd name="T13" fmla="*/ 38 h 70"/>
                  <a:gd name="T14" fmla="*/ 21 w 138"/>
                  <a:gd name="T15" fmla="*/ 40 h 70"/>
                  <a:gd name="T16" fmla="*/ 10 w 138"/>
                  <a:gd name="T17" fmla="*/ 38 h 70"/>
                  <a:gd name="T18" fmla="*/ 19 w 138"/>
                  <a:gd name="T19" fmla="*/ 31 h 70"/>
                  <a:gd name="T20" fmla="*/ 24 w 138"/>
                  <a:gd name="T21" fmla="*/ 31 h 70"/>
                  <a:gd name="T22" fmla="*/ 4 w 138"/>
                  <a:gd name="T23" fmla="*/ 27 h 70"/>
                  <a:gd name="T24" fmla="*/ 0 w 138"/>
                  <a:gd name="T25" fmla="*/ 21 h 70"/>
                  <a:gd name="T26" fmla="*/ 10 w 138"/>
                  <a:gd name="T27" fmla="*/ 14 h 70"/>
                  <a:gd name="T28" fmla="*/ 10 w 138"/>
                  <a:gd name="T29" fmla="*/ 12 h 70"/>
                  <a:gd name="T30" fmla="*/ 28 w 138"/>
                  <a:gd name="T31" fmla="*/ 4 h 70"/>
                  <a:gd name="T32" fmla="*/ 34 w 138"/>
                  <a:gd name="T33" fmla="*/ 1 h 70"/>
                  <a:gd name="T34" fmla="*/ 37 w 138"/>
                  <a:gd name="T35" fmla="*/ 3 h 70"/>
                  <a:gd name="T36" fmla="*/ 41 w 138"/>
                  <a:gd name="T37" fmla="*/ 10 h 70"/>
                  <a:gd name="T38" fmla="*/ 37 w 138"/>
                  <a:gd name="T39" fmla="*/ 12 h 70"/>
                  <a:gd name="T40" fmla="*/ 41 w 138"/>
                  <a:gd name="T41" fmla="*/ 14 h 70"/>
                  <a:gd name="T42" fmla="*/ 43 w 138"/>
                  <a:gd name="T43" fmla="*/ 10 h 70"/>
                  <a:gd name="T44" fmla="*/ 54 w 138"/>
                  <a:gd name="T45" fmla="*/ 8 h 70"/>
                  <a:gd name="T46" fmla="*/ 60 w 138"/>
                  <a:gd name="T47" fmla="*/ 17 h 70"/>
                  <a:gd name="T48" fmla="*/ 67 w 138"/>
                  <a:gd name="T49" fmla="*/ 14 h 70"/>
                  <a:gd name="T50" fmla="*/ 73 w 138"/>
                  <a:gd name="T51" fmla="*/ 8 h 70"/>
                  <a:gd name="T52" fmla="*/ 79 w 138"/>
                  <a:gd name="T53" fmla="*/ 10 h 70"/>
                  <a:gd name="T54" fmla="*/ 80 w 138"/>
                  <a:gd name="T55" fmla="*/ 17 h 70"/>
                  <a:gd name="T56" fmla="*/ 84 w 138"/>
                  <a:gd name="T57" fmla="*/ 25 h 70"/>
                  <a:gd name="T58" fmla="*/ 92 w 138"/>
                  <a:gd name="T59" fmla="*/ 19 h 70"/>
                  <a:gd name="T60" fmla="*/ 86 w 138"/>
                  <a:gd name="T61" fmla="*/ 16 h 70"/>
                  <a:gd name="T62" fmla="*/ 86 w 138"/>
                  <a:gd name="T63" fmla="*/ 4 h 70"/>
                  <a:gd name="T64" fmla="*/ 93 w 138"/>
                  <a:gd name="T65" fmla="*/ 3 h 70"/>
                  <a:gd name="T66" fmla="*/ 101 w 138"/>
                  <a:gd name="T67" fmla="*/ 16 h 70"/>
                  <a:gd name="T68" fmla="*/ 106 w 138"/>
                  <a:gd name="T69" fmla="*/ 19 h 70"/>
                  <a:gd name="T70" fmla="*/ 110 w 138"/>
                  <a:gd name="T71" fmla="*/ 25 h 70"/>
                  <a:gd name="T72" fmla="*/ 108 w 138"/>
                  <a:gd name="T73" fmla="*/ 31 h 70"/>
                  <a:gd name="T74" fmla="*/ 114 w 138"/>
                  <a:gd name="T75" fmla="*/ 38 h 70"/>
                  <a:gd name="T76" fmla="*/ 131 w 138"/>
                  <a:gd name="T77" fmla="*/ 40 h 70"/>
                  <a:gd name="T78" fmla="*/ 136 w 138"/>
                  <a:gd name="T79" fmla="*/ 45 h 70"/>
                  <a:gd name="T80" fmla="*/ 138 w 138"/>
                  <a:gd name="T81" fmla="*/ 49 h 70"/>
                  <a:gd name="T82" fmla="*/ 123 w 138"/>
                  <a:gd name="T83" fmla="*/ 49 h 70"/>
                  <a:gd name="T84" fmla="*/ 127 w 138"/>
                  <a:gd name="T85" fmla="*/ 62 h 70"/>
                  <a:gd name="T86" fmla="*/ 106 w 138"/>
                  <a:gd name="T87" fmla="*/ 62 h 70"/>
                  <a:gd name="T88" fmla="*/ 80 w 138"/>
                  <a:gd name="T89" fmla="*/ 62 h 70"/>
                  <a:gd name="T90" fmla="*/ 71 w 138"/>
                  <a:gd name="T91" fmla="*/ 64 h 70"/>
                  <a:gd name="T92" fmla="*/ 69 w 138"/>
                  <a:gd name="T93" fmla="*/ 68 h 70"/>
                  <a:gd name="T94" fmla="*/ 45 w 138"/>
                  <a:gd name="T95" fmla="*/ 68 h 70"/>
                  <a:gd name="T96" fmla="*/ 37 w 138"/>
                  <a:gd name="T97" fmla="*/ 57 h 70"/>
                  <a:gd name="T98" fmla="*/ 23 w 138"/>
                  <a:gd name="T99" fmla="*/ 53 h 70"/>
                  <a:gd name="T100" fmla="*/ 21 w 138"/>
                  <a:gd name="T101" fmla="*/ 55 h 70"/>
                  <a:gd name="T102" fmla="*/ 21 w 138"/>
                  <a:gd name="T103" fmla="*/ 51 h 70"/>
                  <a:gd name="T104" fmla="*/ 15 w 138"/>
                  <a:gd name="T105" fmla="*/ 53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38" h="70">
                    <a:moveTo>
                      <a:pt x="15" y="53"/>
                    </a:moveTo>
                    <a:cubicBezTo>
                      <a:pt x="11" y="53"/>
                      <a:pt x="16" y="48"/>
                      <a:pt x="17" y="47"/>
                    </a:cubicBezTo>
                    <a:cubicBezTo>
                      <a:pt x="17" y="45"/>
                      <a:pt x="22" y="46"/>
                      <a:pt x="24" y="45"/>
                    </a:cubicBezTo>
                    <a:cubicBezTo>
                      <a:pt x="26" y="45"/>
                      <a:pt x="26" y="44"/>
                      <a:pt x="28" y="44"/>
                    </a:cubicBezTo>
                    <a:cubicBezTo>
                      <a:pt x="35" y="43"/>
                      <a:pt x="44" y="46"/>
                      <a:pt x="49" y="42"/>
                    </a:cubicBezTo>
                    <a:cubicBezTo>
                      <a:pt x="47" y="37"/>
                      <a:pt x="35" y="42"/>
                      <a:pt x="28" y="40"/>
                    </a:cubicBezTo>
                    <a:cubicBezTo>
                      <a:pt x="27" y="40"/>
                      <a:pt x="26" y="38"/>
                      <a:pt x="26" y="38"/>
                    </a:cubicBezTo>
                    <a:cubicBezTo>
                      <a:pt x="25" y="38"/>
                      <a:pt x="23" y="40"/>
                      <a:pt x="21" y="40"/>
                    </a:cubicBezTo>
                    <a:cubicBezTo>
                      <a:pt x="17" y="40"/>
                      <a:pt x="13" y="37"/>
                      <a:pt x="10" y="38"/>
                    </a:cubicBezTo>
                    <a:cubicBezTo>
                      <a:pt x="5" y="32"/>
                      <a:pt x="19" y="34"/>
                      <a:pt x="19" y="31"/>
                    </a:cubicBezTo>
                    <a:cubicBezTo>
                      <a:pt x="19" y="27"/>
                      <a:pt x="23" y="30"/>
                      <a:pt x="24" y="31"/>
                    </a:cubicBezTo>
                    <a:cubicBezTo>
                      <a:pt x="24" y="20"/>
                      <a:pt x="13" y="30"/>
                      <a:pt x="4" y="27"/>
                    </a:cubicBezTo>
                    <a:cubicBezTo>
                      <a:pt x="0" y="24"/>
                      <a:pt x="8" y="21"/>
                      <a:pt x="0" y="21"/>
                    </a:cubicBezTo>
                    <a:cubicBezTo>
                      <a:pt x="2" y="18"/>
                      <a:pt x="2" y="12"/>
                      <a:pt x="10" y="14"/>
                    </a:cubicBezTo>
                    <a:cubicBezTo>
                      <a:pt x="12" y="14"/>
                      <a:pt x="10" y="11"/>
                      <a:pt x="10" y="12"/>
                    </a:cubicBezTo>
                    <a:cubicBezTo>
                      <a:pt x="13" y="7"/>
                      <a:pt x="21" y="6"/>
                      <a:pt x="28" y="4"/>
                    </a:cubicBezTo>
                    <a:cubicBezTo>
                      <a:pt x="30" y="3"/>
                      <a:pt x="30" y="0"/>
                      <a:pt x="34" y="1"/>
                    </a:cubicBezTo>
                    <a:cubicBezTo>
                      <a:pt x="34" y="3"/>
                      <a:pt x="36" y="2"/>
                      <a:pt x="37" y="3"/>
                    </a:cubicBezTo>
                    <a:cubicBezTo>
                      <a:pt x="37" y="7"/>
                      <a:pt x="34" y="10"/>
                      <a:pt x="41" y="10"/>
                    </a:cubicBezTo>
                    <a:cubicBezTo>
                      <a:pt x="41" y="12"/>
                      <a:pt x="39" y="11"/>
                      <a:pt x="37" y="12"/>
                    </a:cubicBezTo>
                    <a:cubicBezTo>
                      <a:pt x="37" y="13"/>
                      <a:pt x="40" y="14"/>
                      <a:pt x="41" y="14"/>
                    </a:cubicBezTo>
                    <a:cubicBezTo>
                      <a:pt x="43" y="13"/>
                      <a:pt x="42" y="10"/>
                      <a:pt x="43" y="10"/>
                    </a:cubicBezTo>
                    <a:cubicBezTo>
                      <a:pt x="47" y="8"/>
                      <a:pt x="50" y="9"/>
                      <a:pt x="54" y="8"/>
                    </a:cubicBezTo>
                    <a:cubicBezTo>
                      <a:pt x="56" y="11"/>
                      <a:pt x="60" y="12"/>
                      <a:pt x="60" y="17"/>
                    </a:cubicBezTo>
                    <a:cubicBezTo>
                      <a:pt x="64" y="17"/>
                      <a:pt x="62" y="12"/>
                      <a:pt x="67" y="14"/>
                    </a:cubicBezTo>
                    <a:cubicBezTo>
                      <a:pt x="69" y="12"/>
                      <a:pt x="71" y="10"/>
                      <a:pt x="73" y="8"/>
                    </a:cubicBezTo>
                    <a:cubicBezTo>
                      <a:pt x="74" y="9"/>
                      <a:pt x="76" y="10"/>
                      <a:pt x="79" y="10"/>
                    </a:cubicBezTo>
                    <a:cubicBezTo>
                      <a:pt x="80" y="13"/>
                      <a:pt x="79" y="15"/>
                      <a:pt x="80" y="17"/>
                    </a:cubicBezTo>
                    <a:cubicBezTo>
                      <a:pt x="81" y="20"/>
                      <a:pt x="86" y="20"/>
                      <a:pt x="84" y="25"/>
                    </a:cubicBezTo>
                    <a:cubicBezTo>
                      <a:pt x="88" y="24"/>
                      <a:pt x="88" y="20"/>
                      <a:pt x="92" y="19"/>
                    </a:cubicBezTo>
                    <a:cubicBezTo>
                      <a:pt x="91" y="17"/>
                      <a:pt x="87" y="17"/>
                      <a:pt x="86" y="16"/>
                    </a:cubicBezTo>
                    <a:cubicBezTo>
                      <a:pt x="84" y="12"/>
                      <a:pt x="87" y="9"/>
                      <a:pt x="86" y="4"/>
                    </a:cubicBezTo>
                    <a:cubicBezTo>
                      <a:pt x="89" y="5"/>
                      <a:pt x="90" y="2"/>
                      <a:pt x="93" y="3"/>
                    </a:cubicBezTo>
                    <a:cubicBezTo>
                      <a:pt x="94" y="6"/>
                      <a:pt x="98" y="11"/>
                      <a:pt x="101" y="16"/>
                    </a:cubicBezTo>
                    <a:cubicBezTo>
                      <a:pt x="101" y="16"/>
                      <a:pt x="105" y="24"/>
                      <a:pt x="106" y="19"/>
                    </a:cubicBezTo>
                    <a:cubicBezTo>
                      <a:pt x="109" y="20"/>
                      <a:pt x="107" y="25"/>
                      <a:pt x="110" y="25"/>
                    </a:cubicBezTo>
                    <a:cubicBezTo>
                      <a:pt x="110" y="28"/>
                      <a:pt x="110" y="30"/>
                      <a:pt x="108" y="31"/>
                    </a:cubicBezTo>
                    <a:cubicBezTo>
                      <a:pt x="109" y="34"/>
                      <a:pt x="116" y="32"/>
                      <a:pt x="114" y="38"/>
                    </a:cubicBezTo>
                    <a:cubicBezTo>
                      <a:pt x="121" y="34"/>
                      <a:pt x="121" y="41"/>
                      <a:pt x="131" y="40"/>
                    </a:cubicBezTo>
                    <a:cubicBezTo>
                      <a:pt x="127" y="47"/>
                      <a:pt x="135" y="44"/>
                      <a:pt x="136" y="45"/>
                    </a:cubicBezTo>
                    <a:cubicBezTo>
                      <a:pt x="137" y="46"/>
                      <a:pt x="133" y="51"/>
                      <a:pt x="138" y="49"/>
                    </a:cubicBezTo>
                    <a:cubicBezTo>
                      <a:pt x="135" y="58"/>
                      <a:pt x="131" y="47"/>
                      <a:pt x="123" y="49"/>
                    </a:cubicBezTo>
                    <a:cubicBezTo>
                      <a:pt x="121" y="56"/>
                      <a:pt x="130" y="54"/>
                      <a:pt x="127" y="62"/>
                    </a:cubicBezTo>
                    <a:cubicBezTo>
                      <a:pt x="120" y="64"/>
                      <a:pt x="112" y="66"/>
                      <a:pt x="106" y="62"/>
                    </a:cubicBezTo>
                    <a:cubicBezTo>
                      <a:pt x="100" y="58"/>
                      <a:pt x="88" y="57"/>
                      <a:pt x="80" y="62"/>
                    </a:cubicBezTo>
                    <a:cubicBezTo>
                      <a:pt x="78" y="63"/>
                      <a:pt x="76" y="62"/>
                      <a:pt x="71" y="64"/>
                    </a:cubicBezTo>
                    <a:cubicBezTo>
                      <a:pt x="69" y="65"/>
                      <a:pt x="69" y="66"/>
                      <a:pt x="69" y="68"/>
                    </a:cubicBezTo>
                    <a:cubicBezTo>
                      <a:pt x="64" y="65"/>
                      <a:pt x="54" y="70"/>
                      <a:pt x="45" y="68"/>
                    </a:cubicBezTo>
                    <a:cubicBezTo>
                      <a:pt x="43" y="64"/>
                      <a:pt x="40" y="61"/>
                      <a:pt x="37" y="57"/>
                    </a:cubicBezTo>
                    <a:cubicBezTo>
                      <a:pt x="32" y="56"/>
                      <a:pt x="23" y="59"/>
                      <a:pt x="23" y="53"/>
                    </a:cubicBezTo>
                    <a:cubicBezTo>
                      <a:pt x="21" y="53"/>
                      <a:pt x="21" y="54"/>
                      <a:pt x="21" y="55"/>
                    </a:cubicBezTo>
                    <a:cubicBezTo>
                      <a:pt x="18" y="54"/>
                      <a:pt x="19" y="51"/>
                      <a:pt x="21" y="51"/>
                    </a:cubicBezTo>
                    <a:cubicBezTo>
                      <a:pt x="21" y="47"/>
                      <a:pt x="15" y="51"/>
                      <a:pt x="15" y="5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118" name="îṣḻiḑe">
                <a:extLst>
                  <a:ext uri="{FF2B5EF4-FFF2-40B4-BE49-F238E27FC236}">
                    <a16:creationId xmlns:a16="http://schemas.microsoft.com/office/drawing/2014/main" id="{24A3FFE5-A4B5-4932-875A-3191F2E0E439}"/>
                  </a:ext>
                </a:extLst>
              </p:cNvPr>
              <p:cNvSpPr/>
              <p:nvPr/>
            </p:nvSpPr>
            <p:spPr bwMode="auto">
              <a:xfrm>
                <a:off x="3011298" y="807105"/>
                <a:ext cx="2054948" cy="2382731"/>
              </a:xfrm>
              <a:custGeom>
                <a:avLst/>
                <a:gdLst>
                  <a:gd name="T0" fmla="*/ 647 w 988"/>
                  <a:gd name="T1" fmla="*/ 75 h 1146"/>
                  <a:gd name="T2" fmla="*/ 582 w 988"/>
                  <a:gd name="T3" fmla="*/ 120 h 1146"/>
                  <a:gd name="T4" fmla="*/ 574 w 988"/>
                  <a:gd name="T5" fmla="*/ 187 h 1146"/>
                  <a:gd name="T6" fmla="*/ 654 w 988"/>
                  <a:gd name="T7" fmla="*/ 241 h 1146"/>
                  <a:gd name="T8" fmla="*/ 680 w 988"/>
                  <a:gd name="T9" fmla="*/ 168 h 1146"/>
                  <a:gd name="T10" fmla="*/ 748 w 988"/>
                  <a:gd name="T11" fmla="*/ 166 h 1146"/>
                  <a:gd name="T12" fmla="*/ 809 w 988"/>
                  <a:gd name="T13" fmla="*/ 183 h 1146"/>
                  <a:gd name="T14" fmla="*/ 833 w 988"/>
                  <a:gd name="T15" fmla="*/ 247 h 1146"/>
                  <a:gd name="T16" fmla="*/ 757 w 988"/>
                  <a:gd name="T17" fmla="*/ 274 h 1146"/>
                  <a:gd name="T18" fmla="*/ 804 w 988"/>
                  <a:gd name="T19" fmla="*/ 302 h 1146"/>
                  <a:gd name="T20" fmla="*/ 785 w 988"/>
                  <a:gd name="T21" fmla="*/ 312 h 1146"/>
                  <a:gd name="T22" fmla="*/ 701 w 988"/>
                  <a:gd name="T23" fmla="*/ 373 h 1146"/>
                  <a:gd name="T24" fmla="*/ 666 w 988"/>
                  <a:gd name="T25" fmla="*/ 478 h 1146"/>
                  <a:gd name="T26" fmla="*/ 593 w 988"/>
                  <a:gd name="T27" fmla="*/ 437 h 1146"/>
                  <a:gd name="T28" fmla="*/ 535 w 988"/>
                  <a:gd name="T29" fmla="*/ 515 h 1146"/>
                  <a:gd name="T30" fmla="*/ 600 w 988"/>
                  <a:gd name="T31" fmla="*/ 547 h 1146"/>
                  <a:gd name="T32" fmla="*/ 692 w 988"/>
                  <a:gd name="T33" fmla="*/ 608 h 1146"/>
                  <a:gd name="T34" fmla="*/ 766 w 988"/>
                  <a:gd name="T35" fmla="*/ 597 h 1146"/>
                  <a:gd name="T36" fmla="*/ 884 w 988"/>
                  <a:gd name="T37" fmla="*/ 647 h 1146"/>
                  <a:gd name="T38" fmla="*/ 988 w 988"/>
                  <a:gd name="T39" fmla="*/ 711 h 1146"/>
                  <a:gd name="T40" fmla="*/ 943 w 988"/>
                  <a:gd name="T41" fmla="*/ 854 h 1146"/>
                  <a:gd name="T42" fmla="*/ 885 w 988"/>
                  <a:gd name="T43" fmla="*/ 918 h 1146"/>
                  <a:gd name="T44" fmla="*/ 830 w 988"/>
                  <a:gd name="T45" fmla="*/ 979 h 1146"/>
                  <a:gd name="T46" fmla="*/ 779 w 988"/>
                  <a:gd name="T47" fmla="*/ 1037 h 1146"/>
                  <a:gd name="T48" fmla="*/ 757 w 988"/>
                  <a:gd name="T49" fmla="*/ 1082 h 1146"/>
                  <a:gd name="T50" fmla="*/ 716 w 988"/>
                  <a:gd name="T51" fmla="*/ 1126 h 1146"/>
                  <a:gd name="T52" fmla="*/ 703 w 988"/>
                  <a:gd name="T53" fmla="*/ 1065 h 1146"/>
                  <a:gd name="T54" fmla="*/ 735 w 988"/>
                  <a:gd name="T55" fmla="*/ 936 h 1146"/>
                  <a:gd name="T56" fmla="*/ 731 w 988"/>
                  <a:gd name="T57" fmla="*/ 813 h 1146"/>
                  <a:gd name="T58" fmla="*/ 666 w 988"/>
                  <a:gd name="T59" fmla="*/ 729 h 1146"/>
                  <a:gd name="T60" fmla="*/ 679 w 988"/>
                  <a:gd name="T61" fmla="*/ 660 h 1146"/>
                  <a:gd name="T62" fmla="*/ 621 w 988"/>
                  <a:gd name="T63" fmla="*/ 588 h 1146"/>
                  <a:gd name="T64" fmla="*/ 559 w 988"/>
                  <a:gd name="T65" fmla="*/ 550 h 1146"/>
                  <a:gd name="T66" fmla="*/ 464 w 988"/>
                  <a:gd name="T67" fmla="*/ 496 h 1146"/>
                  <a:gd name="T68" fmla="*/ 410 w 988"/>
                  <a:gd name="T69" fmla="*/ 440 h 1146"/>
                  <a:gd name="T70" fmla="*/ 410 w 988"/>
                  <a:gd name="T71" fmla="*/ 463 h 1146"/>
                  <a:gd name="T72" fmla="*/ 354 w 988"/>
                  <a:gd name="T73" fmla="*/ 392 h 1146"/>
                  <a:gd name="T74" fmla="*/ 319 w 988"/>
                  <a:gd name="T75" fmla="*/ 267 h 1146"/>
                  <a:gd name="T76" fmla="*/ 298 w 988"/>
                  <a:gd name="T77" fmla="*/ 233 h 1146"/>
                  <a:gd name="T78" fmla="*/ 244 w 988"/>
                  <a:gd name="T79" fmla="*/ 174 h 1146"/>
                  <a:gd name="T80" fmla="*/ 151 w 988"/>
                  <a:gd name="T81" fmla="*/ 144 h 1146"/>
                  <a:gd name="T82" fmla="*/ 105 w 988"/>
                  <a:gd name="T83" fmla="*/ 168 h 1146"/>
                  <a:gd name="T84" fmla="*/ 58 w 988"/>
                  <a:gd name="T85" fmla="*/ 198 h 1146"/>
                  <a:gd name="T86" fmla="*/ 24 w 988"/>
                  <a:gd name="T87" fmla="*/ 153 h 1146"/>
                  <a:gd name="T88" fmla="*/ 9 w 988"/>
                  <a:gd name="T89" fmla="*/ 97 h 1146"/>
                  <a:gd name="T90" fmla="*/ 28 w 988"/>
                  <a:gd name="T91" fmla="*/ 62 h 1146"/>
                  <a:gd name="T92" fmla="*/ 95 w 988"/>
                  <a:gd name="T93" fmla="*/ 21 h 1146"/>
                  <a:gd name="T94" fmla="*/ 255 w 988"/>
                  <a:gd name="T95" fmla="*/ 38 h 1146"/>
                  <a:gd name="T96" fmla="*/ 332 w 988"/>
                  <a:gd name="T97" fmla="*/ 41 h 1146"/>
                  <a:gd name="T98" fmla="*/ 451 w 988"/>
                  <a:gd name="T99" fmla="*/ 73 h 1146"/>
                  <a:gd name="T100" fmla="*/ 537 w 988"/>
                  <a:gd name="T101" fmla="*/ 53 h 1146"/>
                  <a:gd name="T102" fmla="*/ 561 w 988"/>
                  <a:gd name="T103" fmla="*/ 12 h 1146"/>
                  <a:gd name="T104" fmla="*/ 606 w 988"/>
                  <a:gd name="T105" fmla="*/ 51 h 1146"/>
                  <a:gd name="T106" fmla="*/ 324 w 988"/>
                  <a:gd name="T107" fmla="*/ 86 h 1146"/>
                  <a:gd name="T108" fmla="*/ 418 w 988"/>
                  <a:gd name="T109" fmla="*/ 135 h 1146"/>
                  <a:gd name="T110" fmla="*/ 403 w 988"/>
                  <a:gd name="T111" fmla="*/ 133 h 1146"/>
                  <a:gd name="T112" fmla="*/ 533 w 988"/>
                  <a:gd name="T113" fmla="*/ 250 h 1146"/>
                  <a:gd name="T114" fmla="*/ 576 w 988"/>
                  <a:gd name="T115" fmla="*/ 295 h 1146"/>
                  <a:gd name="T116" fmla="*/ 613 w 988"/>
                  <a:gd name="T117" fmla="*/ 271 h 1146"/>
                  <a:gd name="T118" fmla="*/ 606 w 988"/>
                  <a:gd name="T119" fmla="*/ 340 h 1146"/>
                  <a:gd name="T120" fmla="*/ 671 w 988"/>
                  <a:gd name="T121" fmla="*/ 317 h 1146"/>
                  <a:gd name="T122" fmla="*/ 653 w 988"/>
                  <a:gd name="T123" fmla="*/ 338 h 1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88" h="1146">
                    <a:moveTo>
                      <a:pt x="602" y="62"/>
                    </a:moveTo>
                    <a:cubicBezTo>
                      <a:pt x="603" y="66"/>
                      <a:pt x="608" y="59"/>
                      <a:pt x="606" y="68"/>
                    </a:cubicBezTo>
                    <a:cubicBezTo>
                      <a:pt x="608" y="68"/>
                      <a:pt x="610" y="68"/>
                      <a:pt x="612" y="68"/>
                    </a:cubicBezTo>
                    <a:cubicBezTo>
                      <a:pt x="614" y="66"/>
                      <a:pt x="616" y="63"/>
                      <a:pt x="615" y="58"/>
                    </a:cubicBezTo>
                    <a:cubicBezTo>
                      <a:pt x="618" y="57"/>
                      <a:pt x="619" y="56"/>
                      <a:pt x="619" y="53"/>
                    </a:cubicBezTo>
                    <a:cubicBezTo>
                      <a:pt x="625" y="55"/>
                      <a:pt x="620" y="47"/>
                      <a:pt x="626" y="49"/>
                    </a:cubicBezTo>
                    <a:cubicBezTo>
                      <a:pt x="626" y="45"/>
                      <a:pt x="626" y="40"/>
                      <a:pt x="626" y="36"/>
                    </a:cubicBezTo>
                    <a:cubicBezTo>
                      <a:pt x="633" y="35"/>
                      <a:pt x="636" y="34"/>
                      <a:pt x="641" y="36"/>
                    </a:cubicBezTo>
                    <a:cubicBezTo>
                      <a:pt x="643" y="37"/>
                      <a:pt x="642" y="40"/>
                      <a:pt x="643" y="41"/>
                    </a:cubicBezTo>
                    <a:cubicBezTo>
                      <a:pt x="644" y="42"/>
                      <a:pt x="646" y="41"/>
                      <a:pt x="647" y="41"/>
                    </a:cubicBezTo>
                    <a:cubicBezTo>
                      <a:pt x="649" y="42"/>
                      <a:pt x="650" y="45"/>
                      <a:pt x="653" y="45"/>
                    </a:cubicBezTo>
                    <a:cubicBezTo>
                      <a:pt x="653" y="51"/>
                      <a:pt x="650" y="53"/>
                      <a:pt x="647" y="55"/>
                    </a:cubicBezTo>
                    <a:cubicBezTo>
                      <a:pt x="651" y="57"/>
                      <a:pt x="649" y="64"/>
                      <a:pt x="654" y="66"/>
                    </a:cubicBezTo>
                    <a:cubicBezTo>
                      <a:pt x="653" y="70"/>
                      <a:pt x="648" y="71"/>
                      <a:pt x="647" y="75"/>
                    </a:cubicBezTo>
                    <a:cubicBezTo>
                      <a:pt x="644" y="75"/>
                      <a:pt x="642" y="78"/>
                      <a:pt x="641" y="75"/>
                    </a:cubicBezTo>
                    <a:cubicBezTo>
                      <a:pt x="638" y="77"/>
                      <a:pt x="638" y="82"/>
                      <a:pt x="636" y="84"/>
                    </a:cubicBezTo>
                    <a:cubicBezTo>
                      <a:pt x="634" y="83"/>
                      <a:pt x="637" y="79"/>
                      <a:pt x="628" y="81"/>
                    </a:cubicBezTo>
                    <a:cubicBezTo>
                      <a:pt x="628" y="79"/>
                      <a:pt x="631" y="79"/>
                      <a:pt x="632" y="79"/>
                    </a:cubicBezTo>
                    <a:cubicBezTo>
                      <a:pt x="628" y="73"/>
                      <a:pt x="621" y="81"/>
                      <a:pt x="615" y="79"/>
                    </a:cubicBezTo>
                    <a:cubicBezTo>
                      <a:pt x="617" y="85"/>
                      <a:pt x="615" y="83"/>
                      <a:pt x="615" y="90"/>
                    </a:cubicBezTo>
                    <a:cubicBezTo>
                      <a:pt x="613" y="90"/>
                      <a:pt x="614" y="88"/>
                      <a:pt x="613" y="86"/>
                    </a:cubicBezTo>
                    <a:cubicBezTo>
                      <a:pt x="609" y="87"/>
                      <a:pt x="610" y="93"/>
                      <a:pt x="604" y="92"/>
                    </a:cubicBezTo>
                    <a:cubicBezTo>
                      <a:pt x="605" y="94"/>
                      <a:pt x="608" y="93"/>
                      <a:pt x="608" y="96"/>
                    </a:cubicBezTo>
                    <a:cubicBezTo>
                      <a:pt x="608" y="99"/>
                      <a:pt x="606" y="100"/>
                      <a:pt x="606" y="103"/>
                    </a:cubicBezTo>
                    <a:cubicBezTo>
                      <a:pt x="602" y="99"/>
                      <a:pt x="596" y="110"/>
                      <a:pt x="595" y="109"/>
                    </a:cubicBezTo>
                    <a:cubicBezTo>
                      <a:pt x="594" y="108"/>
                      <a:pt x="591" y="106"/>
                      <a:pt x="591" y="112"/>
                    </a:cubicBezTo>
                    <a:cubicBezTo>
                      <a:pt x="589" y="112"/>
                      <a:pt x="586" y="112"/>
                      <a:pt x="584" y="112"/>
                    </a:cubicBezTo>
                    <a:cubicBezTo>
                      <a:pt x="581" y="113"/>
                      <a:pt x="582" y="117"/>
                      <a:pt x="582" y="120"/>
                    </a:cubicBezTo>
                    <a:cubicBezTo>
                      <a:pt x="579" y="118"/>
                      <a:pt x="578" y="118"/>
                      <a:pt x="578" y="122"/>
                    </a:cubicBezTo>
                    <a:cubicBezTo>
                      <a:pt x="574" y="118"/>
                      <a:pt x="573" y="121"/>
                      <a:pt x="569" y="122"/>
                    </a:cubicBezTo>
                    <a:cubicBezTo>
                      <a:pt x="570" y="123"/>
                      <a:pt x="571" y="126"/>
                      <a:pt x="571" y="129"/>
                    </a:cubicBezTo>
                    <a:cubicBezTo>
                      <a:pt x="566" y="125"/>
                      <a:pt x="568" y="130"/>
                      <a:pt x="565" y="135"/>
                    </a:cubicBezTo>
                    <a:cubicBezTo>
                      <a:pt x="563" y="139"/>
                      <a:pt x="558" y="143"/>
                      <a:pt x="557" y="151"/>
                    </a:cubicBezTo>
                    <a:cubicBezTo>
                      <a:pt x="553" y="154"/>
                      <a:pt x="551" y="159"/>
                      <a:pt x="548" y="163"/>
                    </a:cubicBezTo>
                    <a:cubicBezTo>
                      <a:pt x="548" y="166"/>
                      <a:pt x="550" y="163"/>
                      <a:pt x="550" y="163"/>
                    </a:cubicBezTo>
                    <a:cubicBezTo>
                      <a:pt x="552" y="163"/>
                      <a:pt x="551" y="164"/>
                      <a:pt x="552" y="165"/>
                    </a:cubicBezTo>
                    <a:cubicBezTo>
                      <a:pt x="553" y="165"/>
                      <a:pt x="555" y="168"/>
                      <a:pt x="556" y="168"/>
                    </a:cubicBezTo>
                    <a:cubicBezTo>
                      <a:pt x="557" y="169"/>
                      <a:pt x="559" y="164"/>
                      <a:pt x="563" y="168"/>
                    </a:cubicBezTo>
                    <a:cubicBezTo>
                      <a:pt x="564" y="169"/>
                      <a:pt x="565" y="170"/>
                      <a:pt x="567" y="170"/>
                    </a:cubicBezTo>
                    <a:cubicBezTo>
                      <a:pt x="567" y="173"/>
                      <a:pt x="567" y="175"/>
                      <a:pt x="567" y="178"/>
                    </a:cubicBezTo>
                    <a:cubicBezTo>
                      <a:pt x="567" y="180"/>
                      <a:pt x="570" y="179"/>
                      <a:pt x="571" y="181"/>
                    </a:cubicBezTo>
                    <a:cubicBezTo>
                      <a:pt x="572" y="183"/>
                      <a:pt x="575" y="183"/>
                      <a:pt x="574" y="187"/>
                    </a:cubicBezTo>
                    <a:cubicBezTo>
                      <a:pt x="584" y="186"/>
                      <a:pt x="591" y="189"/>
                      <a:pt x="597" y="187"/>
                    </a:cubicBezTo>
                    <a:cubicBezTo>
                      <a:pt x="598" y="194"/>
                      <a:pt x="606" y="192"/>
                      <a:pt x="610" y="196"/>
                    </a:cubicBezTo>
                    <a:cubicBezTo>
                      <a:pt x="611" y="197"/>
                      <a:pt x="611" y="196"/>
                      <a:pt x="612" y="198"/>
                    </a:cubicBezTo>
                    <a:cubicBezTo>
                      <a:pt x="612" y="201"/>
                      <a:pt x="614" y="198"/>
                      <a:pt x="613" y="198"/>
                    </a:cubicBezTo>
                    <a:cubicBezTo>
                      <a:pt x="616" y="198"/>
                      <a:pt x="616" y="201"/>
                      <a:pt x="617" y="202"/>
                    </a:cubicBezTo>
                    <a:cubicBezTo>
                      <a:pt x="620" y="203"/>
                      <a:pt x="624" y="201"/>
                      <a:pt x="623" y="206"/>
                    </a:cubicBezTo>
                    <a:cubicBezTo>
                      <a:pt x="633" y="205"/>
                      <a:pt x="638" y="209"/>
                      <a:pt x="647" y="209"/>
                    </a:cubicBezTo>
                    <a:cubicBezTo>
                      <a:pt x="647" y="215"/>
                      <a:pt x="646" y="221"/>
                      <a:pt x="649" y="224"/>
                    </a:cubicBezTo>
                    <a:cubicBezTo>
                      <a:pt x="649" y="224"/>
                      <a:pt x="651" y="227"/>
                      <a:pt x="651" y="226"/>
                    </a:cubicBezTo>
                    <a:cubicBezTo>
                      <a:pt x="651" y="228"/>
                      <a:pt x="649" y="230"/>
                      <a:pt x="649" y="230"/>
                    </a:cubicBezTo>
                    <a:cubicBezTo>
                      <a:pt x="650" y="232"/>
                      <a:pt x="651" y="230"/>
                      <a:pt x="653" y="232"/>
                    </a:cubicBezTo>
                    <a:cubicBezTo>
                      <a:pt x="653" y="232"/>
                      <a:pt x="649" y="237"/>
                      <a:pt x="654" y="235"/>
                    </a:cubicBezTo>
                    <a:cubicBezTo>
                      <a:pt x="653" y="237"/>
                      <a:pt x="652" y="238"/>
                      <a:pt x="653" y="241"/>
                    </a:cubicBezTo>
                    <a:cubicBezTo>
                      <a:pt x="653" y="243"/>
                      <a:pt x="654" y="242"/>
                      <a:pt x="654" y="241"/>
                    </a:cubicBezTo>
                    <a:cubicBezTo>
                      <a:pt x="657" y="241"/>
                      <a:pt x="655" y="244"/>
                      <a:pt x="656" y="245"/>
                    </a:cubicBezTo>
                    <a:cubicBezTo>
                      <a:pt x="657" y="245"/>
                      <a:pt x="659" y="244"/>
                      <a:pt x="660" y="245"/>
                    </a:cubicBezTo>
                    <a:cubicBezTo>
                      <a:pt x="662" y="247"/>
                      <a:pt x="669" y="247"/>
                      <a:pt x="675" y="245"/>
                    </a:cubicBezTo>
                    <a:cubicBezTo>
                      <a:pt x="677" y="237"/>
                      <a:pt x="677" y="233"/>
                      <a:pt x="675" y="226"/>
                    </a:cubicBezTo>
                    <a:cubicBezTo>
                      <a:pt x="676" y="224"/>
                      <a:pt x="672" y="225"/>
                      <a:pt x="671" y="224"/>
                    </a:cubicBezTo>
                    <a:cubicBezTo>
                      <a:pt x="669" y="221"/>
                      <a:pt x="674" y="215"/>
                      <a:pt x="667" y="217"/>
                    </a:cubicBezTo>
                    <a:cubicBezTo>
                      <a:pt x="669" y="215"/>
                      <a:pt x="672" y="215"/>
                      <a:pt x="671" y="211"/>
                    </a:cubicBezTo>
                    <a:cubicBezTo>
                      <a:pt x="679" y="213"/>
                      <a:pt x="678" y="207"/>
                      <a:pt x="684" y="207"/>
                    </a:cubicBezTo>
                    <a:cubicBezTo>
                      <a:pt x="687" y="208"/>
                      <a:pt x="685" y="203"/>
                      <a:pt x="686" y="202"/>
                    </a:cubicBezTo>
                    <a:cubicBezTo>
                      <a:pt x="686" y="202"/>
                      <a:pt x="691" y="204"/>
                      <a:pt x="692" y="202"/>
                    </a:cubicBezTo>
                    <a:cubicBezTo>
                      <a:pt x="687" y="194"/>
                      <a:pt x="694" y="186"/>
                      <a:pt x="690" y="181"/>
                    </a:cubicBezTo>
                    <a:cubicBezTo>
                      <a:pt x="690" y="179"/>
                      <a:pt x="687" y="181"/>
                      <a:pt x="688" y="181"/>
                    </a:cubicBezTo>
                    <a:cubicBezTo>
                      <a:pt x="685" y="179"/>
                      <a:pt x="688" y="175"/>
                      <a:pt x="682" y="176"/>
                    </a:cubicBezTo>
                    <a:cubicBezTo>
                      <a:pt x="683" y="172"/>
                      <a:pt x="680" y="172"/>
                      <a:pt x="680" y="168"/>
                    </a:cubicBezTo>
                    <a:cubicBezTo>
                      <a:pt x="680" y="164"/>
                      <a:pt x="682" y="162"/>
                      <a:pt x="686" y="163"/>
                    </a:cubicBezTo>
                    <a:cubicBezTo>
                      <a:pt x="683" y="161"/>
                      <a:pt x="688" y="150"/>
                      <a:pt x="680" y="150"/>
                    </a:cubicBezTo>
                    <a:cubicBezTo>
                      <a:pt x="682" y="148"/>
                      <a:pt x="682" y="147"/>
                      <a:pt x="682" y="144"/>
                    </a:cubicBezTo>
                    <a:cubicBezTo>
                      <a:pt x="682" y="144"/>
                      <a:pt x="680" y="143"/>
                      <a:pt x="680" y="142"/>
                    </a:cubicBezTo>
                    <a:cubicBezTo>
                      <a:pt x="681" y="142"/>
                      <a:pt x="683" y="142"/>
                      <a:pt x="682" y="140"/>
                    </a:cubicBezTo>
                    <a:cubicBezTo>
                      <a:pt x="682" y="139"/>
                      <a:pt x="680" y="138"/>
                      <a:pt x="680" y="137"/>
                    </a:cubicBezTo>
                    <a:cubicBezTo>
                      <a:pt x="680" y="134"/>
                      <a:pt x="684" y="130"/>
                      <a:pt x="680" y="129"/>
                    </a:cubicBezTo>
                    <a:cubicBezTo>
                      <a:pt x="681" y="126"/>
                      <a:pt x="696" y="125"/>
                      <a:pt x="694" y="131"/>
                    </a:cubicBezTo>
                    <a:cubicBezTo>
                      <a:pt x="701" y="131"/>
                      <a:pt x="711" y="133"/>
                      <a:pt x="714" y="127"/>
                    </a:cubicBezTo>
                    <a:cubicBezTo>
                      <a:pt x="718" y="132"/>
                      <a:pt x="728" y="132"/>
                      <a:pt x="727" y="142"/>
                    </a:cubicBezTo>
                    <a:cubicBezTo>
                      <a:pt x="732" y="142"/>
                      <a:pt x="737" y="142"/>
                      <a:pt x="742" y="142"/>
                    </a:cubicBezTo>
                    <a:cubicBezTo>
                      <a:pt x="741" y="145"/>
                      <a:pt x="743" y="146"/>
                      <a:pt x="746" y="146"/>
                    </a:cubicBezTo>
                    <a:cubicBezTo>
                      <a:pt x="746" y="150"/>
                      <a:pt x="745" y="153"/>
                      <a:pt x="746" y="157"/>
                    </a:cubicBezTo>
                    <a:cubicBezTo>
                      <a:pt x="746" y="161"/>
                      <a:pt x="751" y="165"/>
                      <a:pt x="748" y="166"/>
                    </a:cubicBezTo>
                    <a:cubicBezTo>
                      <a:pt x="748" y="169"/>
                      <a:pt x="751" y="168"/>
                      <a:pt x="753" y="168"/>
                    </a:cubicBezTo>
                    <a:cubicBezTo>
                      <a:pt x="752" y="174"/>
                      <a:pt x="760" y="171"/>
                      <a:pt x="755" y="176"/>
                    </a:cubicBezTo>
                    <a:cubicBezTo>
                      <a:pt x="763" y="177"/>
                      <a:pt x="765" y="173"/>
                      <a:pt x="772" y="174"/>
                    </a:cubicBezTo>
                    <a:cubicBezTo>
                      <a:pt x="772" y="172"/>
                      <a:pt x="771" y="171"/>
                      <a:pt x="770" y="170"/>
                    </a:cubicBezTo>
                    <a:cubicBezTo>
                      <a:pt x="771" y="166"/>
                      <a:pt x="773" y="166"/>
                      <a:pt x="776" y="168"/>
                    </a:cubicBezTo>
                    <a:cubicBezTo>
                      <a:pt x="773" y="162"/>
                      <a:pt x="780" y="163"/>
                      <a:pt x="781" y="161"/>
                    </a:cubicBezTo>
                    <a:cubicBezTo>
                      <a:pt x="782" y="159"/>
                      <a:pt x="779" y="159"/>
                      <a:pt x="779" y="159"/>
                    </a:cubicBezTo>
                    <a:cubicBezTo>
                      <a:pt x="779" y="157"/>
                      <a:pt x="783" y="156"/>
                      <a:pt x="787" y="155"/>
                    </a:cubicBezTo>
                    <a:cubicBezTo>
                      <a:pt x="783" y="159"/>
                      <a:pt x="786" y="159"/>
                      <a:pt x="790" y="165"/>
                    </a:cubicBezTo>
                    <a:cubicBezTo>
                      <a:pt x="793" y="167"/>
                      <a:pt x="795" y="172"/>
                      <a:pt x="802" y="172"/>
                    </a:cubicBezTo>
                    <a:cubicBezTo>
                      <a:pt x="801" y="174"/>
                      <a:pt x="798" y="173"/>
                      <a:pt x="798" y="176"/>
                    </a:cubicBezTo>
                    <a:cubicBezTo>
                      <a:pt x="799" y="178"/>
                      <a:pt x="802" y="178"/>
                      <a:pt x="802" y="181"/>
                    </a:cubicBezTo>
                    <a:cubicBezTo>
                      <a:pt x="804" y="182"/>
                      <a:pt x="803" y="178"/>
                      <a:pt x="804" y="178"/>
                    </a:cubicBezTo>
                    <a:cubicBezTo>
                      <a:pt x="808" y="176"/>
                      <a:pt x="802" y="185"/>
                      <a:pt x="809" y="183"/>
                    </a:cubicBezTo>
                    <a:cubicBezTo>
                      <a:pt x="806" y="188"/>
                      <a:pt x="810" y="190"/>
                      <a:pt x="805" y="194"/>
                    </a:cubicBezTo>
                    <a:cubicBezTo>
                      <a:pt x="806" y="198"/>
                      <a:pt x="811" y="196"/>
                      <a:pt x="813" y="198"/>
                    </a:cubicBezTo>
                    <a:cubicBezTo>
                      <a:pt x="813" y="199"/>
                      <a:pt x="810" y="201"/>
                      <a:pt x="811" y="202"/>
                    </a:cubicBezTo>
                    <a:cubicBezTo>
                      <a:pt x="812" y="203"/>
                      <a:pt x="815" y="203"/>
                      <a:pt x="817" y="204"/>
                    </a:cubicBezTo>
                    <a:cubicBezTo>
                      <a:pt x="818" y="204"/>
                      <a:pt x="819" y="207"/>
                      <a:pt x="820" y="207"/>
                    </a:cubicBezTo>
                    <a:cubicBezTo>
                      <a:pt x="823" y="209"/>
                      <a:pt x="827" y="210"/>
                      <a:pt x="830" y="213"/>
                    </a:cubicBezTo>
                    <a:cubicBezTo>
                      <a:pt x="832" y="214"/>
                      <a:pt x="834" y="206"/>
                      <a:pt x="835" y="211"/>
                    </a:cubicBezTo>
                    <a:cubicBezTo>
                      <a:pt x="835" y="216"/>
                      <a:pt x="831" y="216"/>
                      <a:pt x="826" y="217"/>
                    </a:cubicBezTo>
                    <a:cubicBezTo>
                      <a:pt x="829" y="220"/>
                      <a:pt x="835" y="222"/>
                      <a:pt x="841" y="222"/>
                    </a:cubicBezTo>
                    <a:cubicBezTo>
                      <a:pt x="840" y="225"/>
                      <a:pt x="842" y="226"/>
                      <a:pt x="845" y="226"/>
                    </a:cubicBezTo>
                    <a:cubicBezTo>
                      <a:pt x="844" y="230"/>
                      <a:pt x="845" y="232"/>
                      <a:pt x="848" y="232"/>
                    </a:cubicBezTo>
                    <a:cubicBezTo>
                      <a:pt x="847" y="234"/>
                      <a:pt x="846" y="237"/>
                      <a:pt x="846" y="241"/>
                    </a:cubicBezTo>
                    <a:cubicBezTo>
                      <a:pt x="843" y="242"/>
                      <a:pt x="839" y="242"/>
                      <a:pt x="835" y="245"/>
                    </a:cubicBezTo>
                    <a:cubicBezTo>
                      <a:pt x="834" y="245"/>
                      <a:pt x="835" y="246"/>
                      <a:pt x="833" y="247"/>
                    </a:cubicBezTo>
                    <a:cubicBezTo>
                      <a:pt x="831" y="247"/>
                      <a:pt x="830" y="247"/>
                      <a:pt x="830" y="248"/>
                    </a:cubicBezTo>
                    <a:cubicBezTo>
                      <a:pt x="829" y="252"/>
                      <a:pt x="825" y="249"/>
                      <a:pt x="826" y="248"/>
                    </a:cubicBezTo>
                    <a:cubicBezTo>
                      <a:pt x="825" y="249"/>
                      <a:pt x="823" y="251"/>
                      <a:pt x="822" y="252"/>
                    </a:cubicBezTo>
                    <a:cubicBezTo>
                      <a:pt x="822" y="253"/>
                      <a:pt x="821" y="257"/>
                      <a:pt x="820" y="258"/>
                    </a:cubicBezTo>
                    <a:cubicBezTo>
                      <a:pt x="819" y="259"/>
                      <a:pt x="812" y="257"/>
                      <a:pt x="817" y="260"/>
                    </a:cubicBezTo>
                    <a:cubicBezTo>
                      <a:pt x="814" y="263"/>
                      <a:pt x="808" y="261"/>
                      <a:pt x="805" y="261"/>
                    </a:cubicBezTo>
                    <a:cubicBezTo>
                      <a:pt x="801" y="262"/>
                      <a:pt x="798" y="262"/>
                      <a:pt x="794" y="261"/>
                    </a:cubicBezTo>
                    <a:cubicBezTo>
                      <a:pt x="791" y="261"/>
                      <a:pt x="791" y="260"/>
                      <a:pt x="789" y="260"/>
                    </a:cubicBezTo>
                    <a:cubicBezTo>
                      <a:pt x="780" y="258"/>
                      <a:pt x="772" y="260"/>
                      <a:pt x="764" y="261"/>
                    </a:cubicBezTo>
                    <a:cubicBezTo>
                      <a:pt x="758" y="264"/>
                      <a:pt x="756" y="271"/>
                      <a:pt x="748" y="273"/>
                    </a:cubicBezTo>
                    <a:cubicBezTo>
                      <a:pt x="752" y="277"/>
                      <a:pt x="744" y="277"/>
                      <a:pt x="742" y="280"/>
                    </a:cubicBezTo>
                    <a:cubicBezTo>
                      <a:pt x="743" y="282"/>
                      <a:pt x="744" y="283"/>
                      <a:pt x="744" y="286"/>
                    </a:cubicBezTo>
                    <a:cubicBezTo>
                      <a:pt x="747" y="284"/>
                      <a:pt x="747" y="280"/>
                      <a:pt x="749" y="278"/>
                    </a:cubicBezTo>
                    <a:cubicBezTo>
                      <a:pt x="751" y="277"/>
                      <a:pt x="757" y="278"/>
                      <a:pt x="757" y="274"/>
                    </a:cubicBezTo>
                    <a:cubicBezTo>
                      <a:pt x="757" y="268"/>
                      <a:pt x="760" y="279"/>
                      <a:pt x="761" y="271"/>
                    </a:cubicBezTo>
                    <a:cubicBezTo>
                      <a:pt x="763" y="269"/>
                      <a:pt x="764" y="273"/>
                      <a:pt x="764" y="273"/>
                    </a:cubicBezTo>
                    <a:cubicBezTo>
                      <a:pt x="766" y="272"/>
                      <a:pt x="765" y="269"/>
                      <a:pt x="766" y="269"/>
                    </a:cubicBezTo>
                    <a:cubicBezTo>
                      <a:pt x="770" y="268"/>
                      <a:pt x="773" y="269"/>
                      <a:pt x="779" y="269"/>
                    </a:cubicBezTo>
                    <a:cubicBezTo>
                      <a:pt x="780" y="271"/>
                      <a:pt x="781" y="270"/>
                      <a:pt x="781" y="269"/>
                    </a:cubicBezTo>
                    <a:cubicBezTo>
                      <a:pt x="784" y="268"/>
                      <a:pt x="784" y="279"/>
                      <a:pt x="779" y="276"/>
                    </a:cubicBezTo>
                    <a:cubicBezTo>
                      <a:pt x="784" y="281"/>
                      <a:pt x="776" y="282"/>
                      <a:pt x="777" y="289"/>
                    </a:cubicBezTo>
                    <a:cubicBezTo>
                      <a:pt x="778" y="291"/>
                      <a:pt x="779" y="292"/>
                      <a:pt x="779" y="295"/>
                    </a:cubicBezTo>
                    <a:cubicBezTo>
                      <a:pt x="781" y="294"/>
                      <a:pt x="783" y="293"/>
                      <a:pt x="783" y="295"/>
                    </a:cubicBezTo>
                    <a:cubicBezTo>
                      <a:pt x="783" y="297"/>
                      <a:pt x="785" y="296"/>
                      <a:pt x="787" y="297"/>
                    </a:cubicBezTo>
                    <a:cubicBezTo>
                      <a:pt x="788" y="297"/>
                      <a:pt x="790" y="300"/>
                      <a:pt x="790" y="301"/>
                    </a:cubicBezTo>
                    <a:cubicBezTo>
                      <a:pt x="791" y="301"/>
                      <a:pt x="793" y="300"/>
                      <a:pt x="794" y="301"/>
                    </a:cubicBezTo>
                    <a:cubicBezTo>
                      <a:pt x="795" y="301"/>
                      <a:pt x="796" y="302"/>
                      <a:pt x="796" y="302"/>
                    </a:cubicBezTo>
                    <a:cubicBezTo>
                      <a:pt x="799" y="303"/>
                      <a:pt x="801" y="298"/>
                      <a:pt x="804" y="302"/>
                    </a:cubicBezTo>
                    <a:cubicBezTo>
                      <a:pt x="806" y="303"/>
                      <a:pt x="804" y="299"/>
                      <a:pt x="805" y="299"/>
                    </a:cubicBezTo>
                    <a:cubicBezTo>
                      <a:pt x="806" y="298"/>
                      <a:pt x="809" y="299"/>
                      <a:pt x="809" y="299"/>
                    </a:cubicBezTo>
                    <a:cubicBezTo>
                      <a:pt x="810" y="297"/>
                      <a:pt x="808" y="295"/>
                      <a:pt x="809" y="293"/>
                    </a:cubicBezTo>
                    <a:cubicBezTo>
                      <a:pt x="812" y="292"/>
                      <a:pt x="813" y="295"/>
                      <a:pt x="813" y="297"/>
                    </a:cubicBezTo>
                    <a:cubicBezTo>
                      <a:pt x="814" y="300"/>
                      <a:pt x="819" y="298"/>
                      <a:pt x="817" y="304"/>
                    </a:cubicBezTo>
                    <a:cubicBezTo>
                      <a:pt x="814" y="305"/>
                      <a:pt x="813" y="302"/>
                      <a:pt x="811" y="302"/>
                    </a:cubicBezTo>
                    <a:cubicBezTo>
                      <a:pt x="808" y="303"/>
                      <a:pt x="808" y="307"/>
                      <a:pt x="805" y="308"/>
                    </a:cubicBezTo>
                    <a:cubicBezTo>
                      <a:pt x="804" y="309"/>
                      <a:pt x="801" y="308"/>
                      <a:pt x="800" y="308"/>
                    </a:cubicBezTo>
                    <a:cubicBezTo>
                      <a:pt x="796" y="309"/>
                      <a:pt x="797" y="313"/>
                      <a:pt x="790" y="312"/>
                    </a:cubicBezTo>
                    <a:cubicBezTo>
                      <a:pt x="787" y="311"/>
                      <a:pt x="788" y="316"/>
                      <a:pt x="787" y="317"/>
                    </a:cubicBezTo>
                    <a:cubicBezTo>
                      <a:pt x="786" y="318"/>
                      <a:pt x="784" y="316"/>
                      <a:pt x="785" y="315"/>
                    </a:cubicBezTo>
                    <a:cubicBezTo>
                      <a:pt x="781" y="318"/>
                      <a:pt x="782" y="322"/>
                      <a:pt x="776" y="321"/>
                    </a:cubicBezTo>
                    <a:cubicBezTo>
                      <a:pt x="779" y="317"/>
                      <a:pt x="775" y="319"/>
                      <a:pt x="776" y="314"/>
                    </a:cubicBezTo>
                    <a:cubicBezTo>
                      <a:pt x="779" y="312"/>
                      <a:pt x="781" y="308"/>
                      <a:pt x="785" y="312"/>
                    </a:cubicBezTo>
                    <a:cubicBezTo>
                      <a:pt x="786" y="306"/>
                      <a:pt x="782" y="306"/>
                      <a:pt x="779" y="304"/>
                    </a:cubicBezTo>
                    <a:cubicBezTo>
                      <a:pt x="775" y="303"/>
                      <a:pt x="772" y="310"/>
                      <a:pt x="768" y="310"/>
                    </a:cubicBezTo>
                    <a:cubicBezTo>
                      <a:pt x="768" y="310"/>
                      <a:pt x="763" y="311"/>
                      <a:pt x="762" y="312"/>
                    </a:cubicBezTo>
                    <a:cubicBezTo>
                      <a:pt x="761" y="313"/>
                      <a:pt x="761" y="313"/>
                      <a:pt x="761" y="315"/>
                    </a:cubicBezTo>
                    <a:cubicBezTo>
                      <a:pt x="750" y="314"/>
                      <a:pt x="751" y="321"/>
                      <a:pt x="742" y="317"/>
                    </a:cubicBezTo>
                    <a:cubicBezTo>
                      <a:pt x="745" y="320"/>
                      <a:pt x="747" y="321"/>
                      <a:pt x="738" y="321"/>
                    </a:cubicBezTo>
                    <a:cubicBezTo>
                      <a:pt x="734" y="324"/>
                      <a:pt x="733" y="334"/>
                      <a:pt x="738" y="336"/>
                    </a:cubicBezTo>
                    <a:cubicBezTo>
                      <a:pt x="738" y="340"/>
                      <a:pt x="733" y="338"/>
                      <a:pt x="735" y="343"/>
                    </a:cubicBezTo>
                    <a:cubicBezTo>
                      <a:pt x="733" y="344"/>
                      <a:pt x="731" y="343"/>
                      <a:pt x="729" y="343"/>
                    </a:cubicBezTo>
                    <a:cubicBezTo>
                      <a:pt x="727" y="344"/>
                      <a:pt x="727" y="346"/>
                      <a:pt x="725" y="347"/>
                    </a:cubicBezTo>
                    <a:cubicBezTo>
                      <a:pt x="722" y="349"/>
                      <a:pt x="717" y="348"/>
                      <a:pt x="714" y="351"/>
                    </a:cubicBezTo>
                    <a:cubicBezTo>
                      <a:pt x="713" y="352"/>
                      <a:pt x="711" y="353"/>
                      <a:pt x="710" y="355"/>
                    </a:cubicBezTo>
                    <a:cubicBezTo>
                      <a:pt x="708" y="357"/>
                      <a:pt x="708" y="361"/>
                      <a:pt x="705" y="364"/>
                    </a:cubicBezTo>
                    <a:cubicBezTo>
                      <a:pt x="703" y="366"/>
                      <a:pt x="699" y="366"/>
                      <a:pt x="701" y="373"/>
                    </a:cubicBezTo>
                    <a:cubicBezTo>
                      <a:pt x="697" y="373"/>
                      <a:pt x="697" y="368"/>
                      <a:pt x="694" y="368"/>
                    </a:cubicBezTo>
                    <a:cubicBezTo>
                      <a:pt x="692" y="368"/>
                      <a:pt x="692" y="371"/>
                      <a:pt x="690" y="371"/>
                    </a:cubicBezTo>
                    <a:cubicBezTo>
                      <a:pt x="697" y="379"/>
                      <a:pt x="696" y="385"/>
                      <a:pt x="697" y="396"/>
                    </a:cubicBezTo>
                    <a:cubicBezTo>
                      <a:pt x="693" y="394"/>
                      <a:pt x="695" y="398"/>
                      <a:pt x="694" y="399"/>
                    </a:cubicBezTo>
                    <a:cubicBezTo>
                      <a:pt x="693" y="400"/>
                      <a:pt x="690" y="399"/>
                      <a:pt x="690" y="399"/>
                    </a:cubicBezTo>
                    <a:cubicBezTo>
                      <a:pt x="688" y="401"/>
                      <a:pt x="688" y="402"/>
                      <a:pt x="686" y="403"/>
                    </a:cubicBezTo>
                    <a:cubicBezTo>
                      <a:pt x="684" y="405"/>
                      <a:pt x="682" y="408"/>
                      <a:pt x="680" y="409"/>
                    </a:cubicBezTo>
                    <a:cubicBezTo>
                      <a:pt x="678" y="410"/>
                      <a:pt x="675" y="408"/>
                      <a:pt x="673" y="411"/>
                    </a:cubicBezTo>
                    <a:cubicBezTo>
                      <a:pt x="669" y="412"/>
                      <a:pt x="667" y="416"/>
                      <a:pt x="666" y="420"/>
                    </a:cubicBezTo>
                    <a:cubicBezTo>
                      <a:pt x="661" y="420"/>
                      <a:pt x="662" y="426"/>
                      <a:pt x="656" y="425"/>
                    </a:cubicBezTo>
                    <a:cubicBezTo>
                      <a:pt x="658" y="432"/>
                      <a:pt x="652" y="446"/>
                      <a:pt x="660" y="446"/>
                    </a:cubicBezTo>
                    <a:cubicBezTo>
                      <a:pt x="656" y="453"/>
                      <a:pt x="663" y="453"/>
                      <a:pt x="662" y="463"/>
                    </a:cubicBezTo>
                    <a:cubicBezTo>
                      <a:pt x="662" y="465"/>
                      <a:pt x="664" y="464"/>
                      <a:pt x="666" y="465"/>
                    </a:cubicBezTo>
                    <a:cubicBezTo>
                      <a:pt x="663" y="470"/>
                      <a:pt x="666" y="470"/>
                      <a:pt x="666" y="478"/>
                    </a:cubicBezTo>
                    <a:cubicBezTo>
                      <a:pt x="662" y="478"/>
                      <a:pt x="659" y="479"/>
                      <a:pt x="658" y="481"/>
                    </a:cubicBezTo>
                    <a:cubicBezTo>
                      <a:pt x="655" y="481"/>
                      <a:pt x="657" y="478"/>
                      <a:pt x="656" y="476"/>
                    </a:cubicBezTo>
                    <a:cubicBezTo>
                      <a:pt x="655" y="474"/>
                      <a:pt x="652" y="475"/>
                      <a:pt x="651" y="474"/>
                    </a:cubicBezTo>
                    <a:cubicBezTo>
                      <a:pt x="650" y="473"/>
                      <a:pt x="651" y="469"/>
                      <a:pt x="647" y="470"/>
                    </a:cubicBezTo>
                    <a:cubicBezTo>
                      <a:pt x="648" y="466"/>
                      <a:pt x="650" y="462"/>
                      <a:pt x="643" y="461"/>
                    </a:cubicBezTo>
                    <a:cubicBezTo>
                      <a:pt x="646" y="452"/>
                      <a:pt x="642" y="453"/>
                      <a:pt x="641" y="444"/>
                    </a:cubicBezTo>
                    <a:cubicBezTo>
                      <a:pt x="640" y="444"/>
                      <a:pt x="639" y="446"/>
                      <a:pt x="638" y="446"/>
                    </a:cubicBezTo>
                    <a:cubicBezTo>
                      <a:pt x="638" y="445"/>
                      <a:pt x="638" y="443"/>
                      <a:pt x="638" y="442"/>
                    </a:cubicBezTo>
                    <a:cubicBezTo>
                      <a:pt x="635" y="443"/>
                      <a:pt x="625" y="445"/>
                      <a:pt x="623" y="442"/>
                    </a:cubicBezTo>
                    <a:cubicBezTo>
                      <a:pt x="621" y="441"/>
                      <a:pt x="621" y="439"/>
                      <a:pt x="619" y="439"/>
                    </a:cubicBezTo>
                    <a:cubicBezTo>
                      <a:pt x="618" y="438"/>
                      <a:pt x="615" y="441"/>
                      <a:pt x="612" y="440"/>
                    </a:cubicBezTo>
                    <a:cubicBezTo>
                      <a:pt x="612" y="440"/>
                      <a:pt x="619" y="434"/>
                      <a:pt x="612" y="437"/>
                    </a:cubicBezTo>
                    <a:cubicBezTo>
                      <a:pt x="611" y="437"/>
                      <a:pt x="612" y="438"/>
                      <a:pt x="610" y="439"/>
                    </a:cubicBezTo>
                    <a:cubicBezTo>
                      <a:pt x="605" y="439"/>
                      <a:pt x="597" y="439"/>
                      <a:pt x="593" y="437"/>
                    </a:cubicBezTo>
                    <a:cubicBezTo>
                      <a:pt x="589" y="436"/>
                      <a:pt x="592" y="443"/>
                      <a:pt x="591" y="446"/>
                    </a:cubicBezTo>
                    <a:cubicBezTo>
                      <a:pt x="581" y="444"/>
                      <a:pt x="569" y="444"/>
                      <a:pt x="557" y="442"/>
                    </a:cubicBezTo>
                    <a:cubicBezTo>
                      <a:pt x="556" y="443"/>
                      <a:pt x="556" y="444"/>
                      <a:pt x="554" y="444"/>
                    </a:cubicBezTo>
                    <a:cubicBezTo>
                      <a:pt x="552" y="445"/>
                      <a:pt x="552" y="448"/>
                      <a:pt x="550" y="448"/>
                    </a:cubicBezTo>
                    <a:cubicBezTo>
                      <a:pt x="548" y="448"/>
                      <a:pt x="549" y="450"/>
                      <a:pt x="548" y="452"/>
                    </a:cubicBezTo>
                    <a:cubicBezTo>
                      <a:pt x="546" y="452"/>
                      <a:pt x="543" y="451"/>
                      <a:pt x="541" y="452"/>
                    </a:cubicBezTo>
                    <a:cubicBezTo>
                      <a:pt x="539" y="452"/>
                      <a:pt x="539" y="456"/>
                      <a:pt x="535" y="455"/>
                    </a:cubicBezTo>
                    <a:cubicBezTo>
                      <a:pt x="536" y="459"/>
                      <a:pt x="533" y="468"/>
                      <a:pt x="537" y="468"/>
                    </a:cubicBezTo>
                    <a:cubicBezTo>
                      <a:pt x="535" y="471"/>
                      <a:pt x="534" y="474"/>
                      <a:pt x="531" y="476"/>
                    </a:cubicBezTo>
                    <a:cubicBezTo>
                      <a:pt x="532" y="481"/>
                      <a:pt x="531" y="486"/>
                      <a:pt x="531" y="491"/>
                    </a:cubicBezTo>
                    <a:cubicBezTo>
                      <a:pt x="532" y="493"/>
                      <a:pt x="533" y="494"/>
                      <a:pt x="533" y="496"/>
                    </a:cubicBezTo>
                    <a:cubicBezTo>
                      <a:pt x="533" y="501"/>
                      <a:pt x="535" y="506"/>
                      <a:pt x="531" y="509"/>
                    </a:cubicBezTo>
                    <a:cubicBezTo>
                      <a:pt x="531" y="512"/>
                      <a:pt x="536" y="510"/>
                      <a:pt x="537" y="511"/>
                    </a:cubicBezTo>
                    <a:cubicBezTo>
                      <a:pt x="537" y="512"/>
                      <a:pt x="535" y="514"/>
                      <a:pt x="535" y="515"/>
                    </a:cubicBezTo>
                    <a:cubicBezTo>
                      <a:pt x="535" y="514"/>
                      <a:pt x="537" y="517"/>
                      <a:pt x="537" y="517"/>
                    </a:cubicBezTo>
                    <a:cubicBezTo>
                      <a:pt x="538" y="519"/>
                      <a:pt x="540" y="517"/>
                      <a:pt x="541" y="519"/>
                    </a:cubicBezTo>
                    <a:cubicBezTo>
                      <a:pt x="541" y="519"/>
                      <a:pt x="540" y="522"/>
                      <a:pt x="541" y="522"/>
                    </a:cubicBezTo>
                    <a:cubicBezTo>
                      <a:pt x="541" y="523"/>
                      <a:pt x="542" y="522"/>
                      <a:pt x="543" y="522"/>
                    </a:cubicBezTo>
                    <a:cubicBezTo>
                      <a:pt x="543" y="523"/>
                      <a:pt x="542" y="526"/>
                      <a:pt x="543" y="526"/>
                    </a:cubicBezTo>
                    <a:cubicBezTo>
                      <a:pt x="544" y="527"/>
                      <a:pt x="548" y="530"/>
                      <a:pt x="548" y="534"/>
                    </a:cubicBezTo>
                    <a:cubicBezTo>
                      <a:pt x="563" y="535"/>
                      <a:pt x="571" y="531"/>
                      <a:pt x="578" y="534"/>
                    </a:cubicBezTo>
                    <a:cubicBezTo>
                      <a:pt x="580" y="533"/>
                      <a:pt x="580" y="531"/>
                      <a:pt x="582" y="530"/>
                    </a:cubicBezTo>
                    <a:cubicBezTo>
                      <a:pt x="583" y="528"/>
                      <a:pt x="586" y="525"/>
                      <a:pt x="587" y="521"/>
                    </a:cubicBezTo>
                    <a:cubicBezTo>
                      <a:pt x="588" y="519"/>
                      <a:pt x="590" y="517"/>
                      <a:pt x="587" y="517"/>
                    </a:cubicBezTo>
                    <a:cubicBezTo>
                      <a:pt x="592" y="511"/>
                      <a:pt x="605" y="507"/>
                      <a:pt x="615" y="511"/>
                    </a:cubicBezTo>
                    <a:cubicBezTo>
                      <a:pt x="611" y="516"/>
                      <a:pt x="610" y="523"/>
                      <a:pt x="606" y="528"/>
                    </a:cubicBezTo>
                    <a:cubicBezTo>
                      <a:pt x="604" y="533"/>
                      <a:pt x="609" y="533"/>
                      <a:pt x="608" y="537"/>
                    </a:cubicBezTo>
                    <a:cubicBezTo>
                      <a:pt x="604" y="538"/>
                      <a:pt x="602" y="542"/>
                      <a:pt x="600" y="547"/>
                    </a:cubicBezTo>
                    <a:cubicBezTo>
                      <a:pt x="600" y="548"/>
                      <a:pt x="600" y="549"/>
                      <a:pt x="598" y="548"/>
                    </a:cubicBezTo>
                    <a:cubicBezTo>
                      <a:pt x="598" y="553"/>
                      <a:pt x="607" y="547"/>
                      <a:pt x="604" y="554"/>
                    </a:cubicBezTo>
                    <a:cubicBezTo>
                      <a:pt x="608" y="554"/>
                      <a:pt x="610" y="551"/>
                      <a:pt x="615" y="552"/>
                    </a:cubicBezTo>
                    <a:cubicBezTo>
                      <a:pt x="614" y="556"/>
                      <a:pt x="619" y="555"/>
                      <a:pt x="619" y="558"/>
                    </a:cubicBezTo>
                    <a:cubicBezTo>
                      <a:pt x="629" y="554"/>
                      <a:pt x="630" y="561"/>
                      <a:pt x="641" y="560"/>
                    </a:cubicBezTo>
                    <a:cubicBezTo>
                      <a:pt x="637" y="564"/>
                      <a:pt x="644" y="570"/>
                      <a:pt x="638" y="573"/>
                    </a:cubicBezTo>
                    <a:cubicBezTo>
                      <a:pt x="641" y="577"/>
                      <a:pt x="639" y="588"/>
                      <a:pt x="638" y="593"/>
                    </a:cubicBezTo>
                    <a:cubicBezTo>
                      <a:pt x="638" y="596"/>
                      <a:pt x="641" y="597"/>
                      <a:pt x="645" y="597"/>
                    </a:cubicBezTo>
                    <a:cubicBezTo>
                      <a:pt x="644" y="601"/>
                      <a:pt x="649" y="600"/>
                      <a:pt x="649" y="603"/>
                    </a:cubicBezTo>
                    <a:cubicBezTo>
                      <a:pt x="649" y="605"/>
                      <a:pt x="655" y="603"/>
                      <a:pt x="654" y="606"/>
                    </a:cubicBezTo>
                    <a:cubicBezTo>
                      <a:pt x="661" y="601"/>
                      <a:pt x="672" y="607"/>
                      <a:pt x="677" y="604"/>
                    </a:cubicBezTo>
                    <a:cubicBezTo>
                      <a:pt x="677" y="606"/>
                      <a:pt x="677" y="607"/>
                      <a:pt x="677" y="608"/>
                    </a:cubicBezTo>
                    <a:cubicBezTo>
                      <a:pt x="680" y="608"/>
                      <a:pt x="686" y="604"/>
                      <a:pt x="686" y="610"/>
                    </a:cubicBezTo>
                    <a:cubicBezTo>
                      <a:pt x="688" y="609"/>
                      <a:pt x="689" y="608"/>
                      <a:pt x="692" y="608"/>
                    </a:cubicBezTo>
                    <a:cubicBezTo>
                      <a:pt x="693" y="607"/>
                      <a:pt x="694" y="606"/>
                      <a:pt x="695" y="604"/>
                    </a:cubicBezTo>
                    <a:cubicBezTo>
                      <a:pt x="696" y="603"/>
                      <a:pt x="697" y="605"/>
                      <a:pt x="697" y="603"/>
                    </a:cubicBezTo>
                    <a:cubicBezTo>
                      <a:pt x="697" y="600"/>
                      <a:pt x="700" y="604"/>
                      <a:pt x="701" y="601"/>
                    </a:cubicBezTo>
                    <a:cubicBezTo>
                      <a:pt x="701" y="600"/>
                      <a:pt x="701" y="597"/>
                      <a:pt x="701" y="597"/>
                    </a:cubicBezTo>
                    <a:cubicBezTo>
                      <a:pt x="702" y="596"/>
                      <a:pt x="703" y="599"/>
                      <a:pt x="703" y="599"/>
                    </a:cubicBezTo>
                    <a:cubicBezTo>
                      <a:pt x="704" y="598"/>
                      <a:pt x="705" y="596"/>
                      <a:pt x="707" y="595"/>
                    </a:cubicBezTo>
                    <a:cubicBezTo>
                      <a:pt x="708" y="594"/>
                      <a:pt x="711" y="592"/>
                      <a:pt x="714" y="589"/>
                    </a:cubicBezTo>
                    <a:cubicBezTo>
                      <a:pt x="715" y="589"/>
                      <a:pt x="716" y="588"/>
                      <a:pt x="716" y="586"/>
                    </a:cubicBezTo>
                    <a:cubicBezTo>
                      <a:pt x="718" y="588"/>
                      <a:pt x="737" y="589"/>
                      <a:pt x="727" y="591"/>
                    </a:cubicBezTo>
                    <a:cubicBezTo>
                      <a:pt x="728" y="594"/>
                      <a:pt x="732" y="593"/>
                      <a:pt x="735" y="593"/>
                    </a:cubicBezTo>
                    <a:cubicBezTo>
                      <a:pt x="736" y="593"/>
                      <a:pt x="736" y="591"/>
                      <a:pt x="736" y="589"/>
                    </a:cubicBezTo>
                    <a:cubicBezTo>
                      <a:pt x="741" y="589"/>
                      <a:pt x="746" y="589"/>
                      <a:pt x="751" y="589"/>
                    </a:cubicBezTo>
                    <a:cubicBezTo>
                      <a:pt x="749" y="595"/>
                      <a:pt x="759" y="593"/>
                      <a:pt x="764" y="595"/>
                    </a:cubicBezTo>
                    <a:cubicBezTo>
                      <a:pt x="765" y="595"/>
                      <a:pt x="764" y="597"/>
                      <a:pt x="766" y="597"/>
                    </a:cubicBezTo>
                    <a:cubicBezTo>
                      <a:pt x="768" y="597"/>
                      <a:pt x="768" y="599"/>
                      <a:pt x="770" y="599"/>
                    </a:cubicBezTo>
                    <a:cubicBezTo>
                      <a:pt x="774" y="599"/>
                      <a:pt x="775" y="597"/>
                      <a:pt x="777" y="597"/>
                    </a:cubicBezTo>
                    <a:cubicBezTo>
                      <a:pt x="787" y="596"/>
                      <a:pt x="796" y="598"/>
                      <a:pt x="805" y="599"/>
                    </a:cubicBezTo>
                    <a:cubicBezTo>
                      <a:pt x="805" y="602"/>
                      <a:pt x="807" y="606"/>
                      <a:pt x="807" y="603"/>
                    </a:cubicBezTo>
                    <a:cubicBezTo>
                      <a:pt x="809" y="603"/>
                      <a:pt x="808" y="604"/>
                      <a:pt x="807" y="604"/>
                    </a:cubicBezTo>
                    <a:cubicBezTo>
                      <a:pt x="807" y="609"/>
                      <a:pt x="812" y="605"/>
                      <a:pt x="815" y="608"/>
                    </a:cubicBezTo>
                    <a:cubicBezTo>
                      <a:pt x="815" y="609"/>
                      <a:pt x="814" y="612"/>
                      <a:pt x="815" y="612"/>
                    </a:cubicBezTo>
                    <a:cubicBezTo>
                      <a:pt x="817" y="613"/>
                      <a:pt x="820" y="611"/>
                      <a:pt x="822" y="612"/>
                    </a:cubicBezTo>
                    <a:cubicBezTo>
                      <a:pt x="821" y="616"/>
                      <a:pt x="823" y="617"/>
                      <a:pt x="826" y="619"/>
                    </a:cubicBezTo>
                    <a:cubicBezTo>
                      <a:pt x="829" y="622"/>
                      <a:pt x="832" y="624"/>
                      <a:pt x="833" y="629"/>
                    </a:cubicBezTo>
                    <a:cubicBezTo>
                      <a:pt x="845" y="628"/>
                      <a:pt x="850" y="634"/>
                      <a:pt x="859" y="630"/>
                    </a:cubicBezTo>
                    <a:cubicBezTo>
                      <a:pt x="857" y="638"/>
                      <a:pt x="870" y="630"/>
                      <a:pt x="867" y="638"/>
                    </a:cubicBezTo>
                    <a:cubicBezTo>
                      <a:pt x="873" y="635"/>
                      <a:pt x="873" y="643"/>
                      <a:pt x="878" y="644"/>
                    </a:cubicBezTo>
                    <a:cubicBezTo>
                      <a:pt x="880" y="644"/>
                      <a:pt x="880" y="649"/>
                      <a:pt x="884" y="647"/>
                    </a:cubicBezTo>
                    <a:cubicBezTo>
                      <a:pt x="878" y="652"/>
                      <a:pt x="886" y="651"/>
                      <a:pt x="885" y="657"/>
                    </a:cubicBezTo>
                    <a:cubicBezTo>
                      <a:pt x="885" y="660"/>
                      <a:pt x="889" y="659"/>
                      <a:pt x="891" y="660"/>
                    </a:cubicBezTo>
                    <a:cubicBezTo>
                      <a:pt x="892" y="661"/>
                      <a:pt x="891" y="666"/>
                      <a:pt x="895" y="664"/>
                    </a:cubicBezTo>
                    <a:cubicBezTo>
                      <a:pt x="888" y="671"/>
                      <a:pt x="904" y="673"/>
                      <a:pt x="899" y="679"/>
                    </a:cubicBezTo>
                    <a:cubicBezTo>
                      <a:pt x="902" y="678"/>
                      <a:pt x="904" y="679"/>
                      <a:pt x="904" y="683"/>
                    </a:cubicBezTo>
                    <a:cubicBezTo>
                      <a:pt x="914" y="681"/>
                      <a:pt x="926" y="684"/>
                      <a:pt x="930" y="692"/>
                    </a:cubicBezTo>
                    <a:cubicBezTo>
                      <a:pt x="939" y="692"/>
                      <a:pt x="944" y="695"/>
                      <a:pt x="954" y="694"/>
                    </a:cubicBezTo>
                    <a:cubicBezTo>
                      <a:pt x="955" y="695"/>
                      <a:pt x="951" y="696"/>
                      <a:pt x="951" y="696"/>
                    </a:cubicBezTo>
                    <a:cubicBezTo>
                      <a:pt x="953" y="699"/>
                      <a:pt x="965" y="697"/>
                      <a:pt x="971" y="698"/>
                    </a:cubicBezTo>
                    <a:cubicBezTo>
                      <a:pt x="971" y="699"/>
                      <a:pt x="974" y="699"/>
                      <a:pt x="975" y="699"/>
                    </a:cubicBezTo>
                    <a:cubicBezTo>
                      <a:pt x="975" y="703"/>
                      <a:pt x="979" y="702"/>
                      <a:pt x="981" y="703"/>
                    </a:cubicBezTo>
                    <a:cubicBezTo>
                      <a:pt x="981" y="704"/>
                      <a:pt x="980" y="706"/>
                      <a:pt x="981" y="707"/>
                    </a:cubicBezTo>
                    <a:cubicBezTo>
                      <a:pt x="981" y="708"/>
                      <a:pt x="984" y="706"/>
                      <a:pt x="984" y="707"/>
                    </a:cubicBezTo>
                    <a:cubicBezTo>
                      <a:pt x="986" y="708"/>
                      <a:pt x="984" y="712"/>
                      <a:pt x="988" y="711"/>
                    </a:cubicBezTo>
                    <a:cubicBezTo>
                      <a:pt x="988" y="730"/>
                      <a:pt x="988" y="749"/>
                      <a:pt x="988" y="768"/>
                    </a:cubicBezTo>
                    <a:cubicBezTo>
                      <a:pt x="980" y="766"/>
                      <a:pt x="988" y="779"/>
                      <a:pt x="981" y="776"/>
                    </a:cubicBezTo>
                    <a:cubicBezTo>
                      <a:pt x="980" y="782"/>
                      <a:pt x="979" y="788"/>
                      <a:pt x="979" y="795"/>
                    </a:cubicBezTo>
                    <a:cubicBezTo>
                      <a:pt x="979" y="798"/>
                      <a:pt x="982" y="805"/>
                      <a:pt x="981" y="813"/>
                    </a:cubicBezTo>
                    <a:cubicBezTo>
                      <a:pt x="981" y="813"/>
                      <a:pt x="979" y="814"/>
                      <a:pt x="979" y="815"/>
                    </a:cubicBezTo>
                    <a:cubicBezTo>
                      <a:pt x="978" y="816"/>
                      <a:pt x="979" y="818"/>
                      <a:pt x="979" y="819"/>
                    </a:cubicBezTo>
                    <a:cubicBezTo>
                      <a:pt x="978" y="820"/>
                      <a:pt x="973" y="821"/>
                      <a:pt x="975" y="828"/>
                    </a:cubicBezTo>
                    <a:cubicBezTo>
                      <a:pt x="971" y="829"/>
                      <a:pt x="969" y="832"/>
                      <a:pt x="966" y="834"/>
                    </a:cubicBezTo>
                    <a:cubicBezTo>
                      <a:pt x="965" y="835"/>
                      <a:pt x="967" y="838"/>
                      <a:pt x="966" y="839"/>
                    </a:cubicBezTo>
                    <a:cubicBezTo>
                      <a:pt x="965" y="840"/>
                      <a:pt x="962" y="839"/>
                      <a:pt x="962" y="839"/>
                    </a:cubicBezTo>
                    <a:cubicBezTo>
                      <a:pt x="961" y="840"/>
                      <a:pt x="963" y="843"/>
                      <a:pt x="962" y="843"/>
                    </a:cubicBezTo>
                    <a:cubicBezTo>
                      <a:pt x="960" y="844"/>
                      <a:pt x="955" y="843"/>
                      <a:pt x="954" y="847"/>
                    </a:cubicBezTo>
                    <a:cubicBezTo>
                      <a:pt x="954" y="849"/>
                      <a:pt x="951" y="848"/>
                      <a:pt x="947" y="850"/>
                    </a:cubicBezTo>
                    <a:cubicBezTo>
                      <a:pt x="946" y="851"/>
                      <a:pt x="944" y="854"/>
                      <a:pt x="943" y="854"/>
                    </a:cubicBezTo>
                    <a:cubicBezTo>
                      <a:pt x="942" y="854"/>
                      <a:pt x="941" y="852"/>
                      <a:pt x="940" y="852"/>
                    </a:cubicBezTo>
                    <a:cubicBezTo>
                      <a:pt x="940" y="852"/>
                      <a:pt x="939" y="854"/>
                      <a:pt x="938" y="854"/>
                    </a:cubicBezTo>
                    <a:cubicBezTo>
                      <a:pt x="935" y="854"/>
                      <a:pt x="934" y="855"/>
                      <a:pt x="934" y="858"/>
                    </a:cubicBezTo>
                    <a:cubicBezTo>
                      <a:pt x="927" y="855"/>
                      <a:pt x="923" y="863"/>
                      <a:pt x="919" y="865"/>
                    </a:cubicBezTo>
                    <a:cubicBezTo>
                      <a:pt x="918" y="866"/>
                      <a:pt x="916" y="865"/>
                      <a:pt x="915" y="865"/>
                    </a:cubicBezTo>
                    <a:cubicBezTo>
                      <a:pt x="914" y="866"/>
                      <a:pt x="912" y="868"/>
                      <a:pt x="912" y="869"/>
                    </a:cubicBezTo>
                    <a:cubicBezTo>
                      <a:pt x="911" y="870"/>
                      <a:pt x="908" y="872"/>
                      <a:pt x="908" y="873"/>
                    </a:cubicBezTo>
                    <a:cubicBezTo>
                      <a:pt x="907" y="874"/>
                      <a:pt x="911" y="878"/>
                      <a:pt x="906" y="877"/>
                    </a:cubicBezTo>
                    <a:cubicBezTo>
                      <a:pt x="907" y="885"/>
                      <a:pt x="903" y="889"/>
                      <a:pt x="904" y="897"/>
                    </a:cubicBezTo>
                    <a:cubicBezTo>
                      <a:pt x="899" y="895"/>
                      <a:pt x="902" y="901"/>
                      <a:pt x="900" y="903"/>
                    </a:cubicBezTo>
                    <a:cubicBezTo>
                      <a:pt x="900" y="903"/>
                      <a:pt x="897" y="902"/>
                      <a:pt x="897" y="903"/>
                    </a:cubicBezTo>
                    <a:cubicBezTo>
                      <a:pt x="896" y="904"/>
                      <a:pt x="900" y="906"/>
                      <a:pt x="897" y="906"/>
                    </a:cubicBezTo>
                    <a:cubicBezTo>
                      <a:pt x="894" y="906"/>
                      <a:pt x="894" y="914"/>
                      <a:pt x="889" y="914"/>
                    </a:cubicBezTo>
                    <a:cubicBezTo>
                      <a:pt x="889" y="914"/>
                      <a:pt x="886" y="917"/>
                      <a:pt x="885" y="918"/>
                    </a:cubicBezTo>
                    <a:cubicBezTo>
                      <a:pt x="883" y="920"/>
                      <a:pt x="881" y="926"/>
                      <a:pt x="876" y="929"/>
                    </a:cubicBezTo>
                    <a:cubicBezTo>
                      <a:pt x="876" y="931"/>
                      <a:pt x="876" y="934"/>
                      <a:pt x="876" y="936"/>
                    </a:cubicBezTo>
                    <a:cubicBezTo>
                      <a:pt x="873" y="938"/>
                      <a:pt x="870" y="939"/>
                      <a:pt x="871" y="944"/>
                    </a:cubicBezTo>
                    <a:cubicBezTo>
                      <a:pt x="867" y="944"/>
                      <a:pt x="864" y="944"/>
                      <a:pt x="861" y="944"/>
                    </a:cubicBezTo>
                    <a:cubicBezTo>
                      <a:pt x="861" y="945"/>
                      <a:pt x="864" y="945"/>
                      <a:pt x="865" y="946"/>
                    </a:cubicBezTo>
                    <a:cubicBezTo>
                      <a:pt x="865" y="948"/>
                      <a:pt x="862" y="947"/>
                      <a:pt x="859" y="947"/>
                    </a:cubicBezTo>
                    <a:cubicBezTo>
                      <a:pt x="857" y="949"/>
                      <a:pt x="856" y="951"/>
                      <a:pt x="856" y="955"/>
                    </a:cubicBezTo>
                    <a:cubicBezTo>
                      <a:pt x="853" y="953"/>
                      <a:pt x="852" y="953"/>
                      <a:pt x="852" y="957"/>
                    </a:cubicBezTo>
                    <a:cubicBezTo>
                      <a:pt x="850" y="957"/>
                      <a:pt x="851" y="954"/>
                      <a:pt x="850" y="953"/>
                    </a:cubicBezTo>
                    <a:cubicBezTo>
                      <a:pt x="847" y="953"/>
                      <a:pt x="845" y="953"/>
                      <a:pt x="845" y="951"/>
                    </a:cubicBezTo>
                    <a:cubicBezTo>
                      <a:pt x="843" y="952"/>
                      <a:pt x="843" y="955"/>
                      <a:pt x="839" y="955"/>
                    </a:cubicBezTo>
                    <a:cubicBezTo>
                      <a:pt x="838" y="959"/>
                      <a:pt x="842" y="960"/>
                      <a:pt x="843" y="964"/>
                    </a:cubicBezTo>
                    <a:cubicBezTo>
                      <a:pt x="843" y="969"/>
                      <a:pt x="836" y="972"/>
                      <a:pt x="841" y="975"/>
                    </a:cubicBezTo>
                    <a:cubicBezTo>
                      <a:pt x="840" y="980"/>
                      <a:pt x="831" y="975"/>
                      <a:pt x="830" y="979"/>
                    </a:cubicBezTo>
                    <a:cubicBezTo>
                      <a:pt x="827" y="979"/>
                      <a:pt x="829" y="982"/>
                      <a:pt x="828" y="983"/>
                    </a:cubicBezTo>
                    <a:cubicBezTo>
                      <a:pt x="826" y="984"/>
                      <a:pt x="819" y="983"/>
                      <a:pt x="820" y="988"/>
                    </a:cubicBezTo>
                    <a:cubicBezTo>
                      <a:pt x="816" y="985"/>
                      <a:pt x="803" y="985"/>
                      <a:pt x="802" y="990"/>
                    </a:cubicBezTo>
                    <a:cubicBezTo>
                      <a:pt x="802" y="992"/>
                      <a:pt x="804" y="991"/>
                      <a:pt x="804" y="990"/>
                    </a:cubicBezTo>
                    <a:cubicBezTo>
                      <a:pt x="808" y="990"/>
                      <a:pt x="803" y="995"/>
                      <a:pt x="800" y="994"/>
                    </a:cubicBezTo>
                    <a:cubicBezTo>
                      <a:pt x="801" y="998"/>
                      <a:pt x="794" y="1004"/>
                      <a:pt x="798" y="1005"/>
                    </a:cubicBezTo>
                    <a:cubicBezTo>
                      <a:pt x="798" y="1006"/>
                      <a:pt x="795" y="1007"/>
                      <a:pt x="794" y="1007"/>
                    </a:cubicBezTo>
                    <a:cubicBezTo>
                      <a:pt x="794" y="1007"/>
                      <a:pt x="792" y="1005"/>
                      <a:pt x="792" y="1005"/>
                    </a:cubicBezTo>
                    <a:cubicBezTo>
                      <a:pt x="791" y="1005"/>
                      <a:pt x="786" y="1010"/>
                      <a:pt x="787" y="1003"/>
                    </a:cubicBezTo>
                    <a:cubicBezTo>
                      <a:pt x="785" y="1004"/>
                      <a:pt x="784" y="1008"/>
                      <a:pt x="783" y="1005"/>
                    </a:cubicBezTo>
                    <a:cubicBezTo>
                      <a:pt x="780" y="1006"/>
                      <a:pt x="784" y="1016"/>
                      <a:pt x="785" y="1020"/>
                    </a:cubicBezTo>
                    <a:cubicBezTo>
                      <a:pt x="786" y="1025"/>
                      <a:pt x="782" y="1023"/>
                      <a:pt x="781" y="1028"/>
                    </a:cubicBezTo>
                    <a:cubicBezTo>
                      <a:pt x="781" y="1030"/>
                      <a:pt x="781" y="1034"/>
                      <a:pt x="776" y="1033"/>
                    </a:cubicBezTo>
                    <a:cubicBezTo>
                      <a:pt x="775" y="1035"/>
                      <a:pt x="779" y="1036"/>
                      <a:pt x="779" y="1037"/>
                    </a:cubicBezTo>
                    <a:cubicBezTo>
                      <a:pt x="780" y="1040"/>
                      <a:pt x="776" y="1036"/>
                      <a:pt x="776" y="1037"/>
                    </a:cubicBezTo>
                    <a:cubicBezTo>
                      <a:pt x="774" y="1038"/>
                      <a:pt x="774" y="1043"/>
                      <a:pt x="776" y="1042"/>
                    </a:cubicBezTo>
                    <a:cubicBezTo>
                      <a:pt x="775" y="1045"/>
                      <a:pt x="774" y="1043"/>
                      <a:pt x="772" y="1042"/>
                    </a:cubicBezTo>
                    <a:cubicBezTo>
                      <a:pt x="772" y="1042"/>
                      <a:pt x="771" y="1045"/>
                      <a:pt x="770" y="1044"/>
                    </a:cubicBezTo>
                    <a:cubicBezTo>
                      <a:pt x="767" y="1040"/>
                      <a:pt x="771" y="1045"/>
                      <a:pt x="768" y="1048"/>
                    </a:cubicBezTo>
                    <a:cubicBezTo>
                      <a:pt x="765" y="1051"/>
                      <a:pt x="764" y="1047"/>
                      <a:pt x="761" y="1050"/>
                    </a:cubicBezTo>
                    <a:cubicBezTo>
                      <a:pt x="758" y="1055"/>
                      <a:pt x="769" y="1054"/>
                      <a:pt x="762" y="1057"/>
                    </a:cubicBezTo>
                    <a:cubicBezTo>
                      <a:pt x="763" y="1059"/>
                      <a:pt x="766" y="1059"/>
                      <a:pt x="768" y="1059"/>
                    </a:cubicBezTo>
                    <a:cubicBezTo>
                      <a:pt x="767" y="1063"/>
                      <a:pt x="768" y="1065"/>
                      <a:pt x="772" y="1065"/>
                    </a:cubicBezTo>
                    <a:cubicBezTo>
                      <a:pt x="775" y="1069"/>
                      <a:pt x="768" y="1071"/>
                      <a:pt x="768" y="1072"/>
                    </a:cubicBezTo>
                    <a:cubicBezTo>
                      <a:pt x="768" y="1073"/>
                      <a:pt x="769" y="1075"/>
                      <a:pt x="770" y="1074"/>
                    </a:cubicBezTo>
                    <a:cubicBezTo>
                      <a:pt x="768" y="1077"/>
                      <a:pt x="769" y="1074"/>
                      <a:pt x="768" y="1074"/>
                    </a:cubicBezTo>
                    <a:cubicBezTo>
                      <a:pt x="765" y="1074"/>
                      <a:pt x="766" y="1078"/>
                      <a:pt x="761" y="1078"/>
                    </a:cubicBezTo>
                    <a:cubicBezTo>
                      <a:pt x="763" y="1081"/>
                      <a:pt x="762" y="1082"/>
                      <a:pt x="757" y="1082"/>
                    </a:cubicBezTo>
                    <a:cubicBezTo>
                      <a:pt x="758" y="1087"/>
                      <a:pt x="754" y="1086"/>
                      <a:pt x="755" y="1091"/>
                    </a:cubicBezTo>
                    <a:cubicBezTo>
                      <a:pt x="748" y="1092"/>
                      <a:pt x="756" y="1099"/>
                      <a:pt x="749" y="1095"/>
                    </a:cubicBezTo>
                    <a:cubicBezTo>
                      <a:pt x="750" y="1099"/>
                      <a:pt x="748" y="1103"/>
                      <a:pt x="749" y="1108"/>
                    </a:cubicBezTo>
                    <a:cubicBezTo>
                      <a:pt x="750" y="1109"/>
                      <a:pt x="751" y="1110"/>
                      <a:pt x="751" y="1110"/>
                    </a:cubicBezTo>
                    <a:cubicBezTo>
                      <a:pt x="751" y="1112"/>
                      <a:pt x="748" y="1113"/>
                      <a:pt x="751" y="1117"/>
                    </a:cubicBezTo>
                    <a:cubicBezTo>
                      <a:pt x="754" y="1119"/>
                      <a:pt x="751" y="1121"/>
                      <a:pt x="753" y="1126"/>
                    </a:cubicBezTo>
                    <a:cubicBezTo>
                      <a:pt x="755" y="1130"/>
                      <a:pt x="759" y="1132"/>
                      <a:pt x="761" y="1136"/>
                    </a:cubicBezTo>
                    <a:cubicBezTo>
                      <a:pt x="765" y="1139"/>
                      <a:pt x="768" y="1133"/>
                      <a:pt x="772" y="1137"/>
                    </a:cubicBezTo>
                    <a:cubicBezTo>
                      <a:pt x="773" y="1144"/>
                      <a:pt x="766" y="1140"/>
                      <a:pt x="762" y="1141"/>
                    </a:cubicBezTo>
                    <a:cubicBezTo>
                      <a:pt x="755" y="1143"/>
                      <a:pt x="746" y="1146"/>
                      <a:pt x="740" y="1145"/>
                    </a:cubicBezTo>
                    <a:cubicBezTo>
                      <a:pt x="740" y="1145"/>
                      <a:pt x="740" y="1142"/>
                      <a:pt x="740" y="1141"/>
                    </a:cubicBezTo>
                    <a:cubicBezTo>
                      <a:pt x="732" y="1143"/>
                      <a:pt x="730" y="1138"/>
                      <a:pt x="723" y="1137"/>
                    </a:cubicBezTo>
                    <a:cubicBezTo>
                      <a:pt x="723" y="1136"/>
                      <a:pt x="723" y="1134"/>
                      <a:pt x="723" y="1132"/>
                    </a:cubicBezTo>
                    <a:cubicBezTo>
                      <a:pt x="722" y="1127"/>
                      <a:pt x="716" y="1131"/>
                      <a:pt x="716" y="1126"/>
                    </a:cubicBezTo>
                    <a:cubicBezTo>
                      <a:pt x="716" y="1125"/>
                      <a:pt x="714" y="1124"/>
                      <a:pt x="714" y="1123"/>
                    </a:cubicBezTo>
                    <a:cubicBezTo>
                      <a:pt x="714" y="1121"/>
                      <a:pt x="712" y="1121"/>
                      <a:pt x="712" y="1121"/>
                    </a:cubicBezTo>
                    <a:cubicBezTo>
                      <a:pt x="712" y="1119"/>
                      <a:pt x="716" y="1115"/>
                      <a:pt x="712" y="1115"/>
                    </a:cubicBezTo>
                    <a:cubicBezTo>
                      <a:pt x="709" y="1115"/>
                      <a:pt x="712" y="1113"/>
                      <a:pt x="712" y="1111"/>
                    </a:cubicBezTo>
                    <a:cubicBezTo>
                      <a:pt x="712" y="1109"/>
                      <a:pt x="709" y="1109"/>
                      <a:pt x="708" y="1108"/>
                    </a:cubicBezTo>
                    <a:cubicBezTo>
                      <a:pt x="708" y="1106"/>
                      <a:pt x="711" y="1106"/>
                      <a:pt x="710" y="1104"/>
                    </a:cubicBezTo>
                    <a:cubicBezTo>
                      <a:pt x="710" y="1104"/>
                      <a:pt x="709" y="1103"/>
                      <a:pt x="708" y="1102"/>
                    </a:cubicBezTo>
                    <a:cubicBezTo>
                      <a:pt x="708" y="1100"/>
                      <a:pt x="707" y="1097"/>
                      <a:pt x="705" y="1096"/>
                    </a:cubicBezTo>
                    <a:cubicBezTo>
                      <a:pt x="704" y="1094"/>
                      <a:pt x="707" y="1093"/>
                      <a:pt x="707" y="1091"/>
                    </a:cubicBezTo>
                    <a:cubicBezTo>
                      <a:pt x="706" y="1090"/>
                      <a:pt x="703" y="1088"/>
                      <a:pt x="703" y="1089"/>
                    </a:cubicBezTo>
                    <a:cubicBezTo>
                      <a:pt x="703" y="1088"/>
                      <a:pt x="710" y="1085"/>
                      <a:pt x="705" y="1083"/>
                    </a:cubicBezTo>
                    <a:cubicBezTo>
                      <a:pt x="705" y="1082"/>
                      <a:pt x="707" y="1082"/>
                      <a:pt x="708" y="1082"/>
                    </a:cubicBezTo>
                    <a:cubicBezTo>
                      <a:pt x="708" y="1077"/>
                      <a:pt x="708" y="1073"/>
                      <a:pt x="708" y="1068"/>
                    </a:cubicBezTo>
                    <a:cubicBezTo>
                      <a:pt x="707" y="1067"/>
                      <a:pt x="705" y="1066"/>
                      <a:pt x="703" y="1065"/>
                    </a:cubicBezTo>
                    <a:cubicBezTo>
                      <a:pt x="705" y="1059"/>
                      <a:pt x="709" y="1054"/>
                      <a:pt x="707" y="1048"/>
                    </a:cubicBezTo>
                    <a:cubicBezTo>
                      <a:pt x="712" y="1050"/>
                      <a:pt x="711" y="1045"/>
                      <a:pt x="716" y="1046"/>
                    </a:cubicBezTo>
                    <a:cubicBezTo>
                      <a:pt x="716" y="1041"/>
                      <a:pt x="716" y="1035"/>
                      <a:pt x="716" y="1029"/>
                    </a:cubicBezTo>
                    <a:cubicBezTo>
                      <a:pt x="725" y="1030"/>
                      <a:pt x="721" y="1017"/>
                      <a:pt x="725" y="1013"/>
                    </a:cubicBezTo>
                    <a:cubicBezTo>
                      <a:pt x="724" y="1014"/>
                      <a:pt x="722" y="1015"/>
                      <a:pt x="721" y="1013"/>
                    </a:cubicBezTo>
                    <a:cubicBezTo>
                      <a:pt x="718" y="1014"/>
                      <a:pt x="716" y="1018"/>
                      <a:pt x="716" y="1024"/>
                    </a:cubicBezTo>
                    <a:cubicBezTo>
                      <a:pt x="713" y="1022"/>
                      <a:pt x="710" y="1021"/>
                      <a:pt x="710" y="1016"/>
                    </a:cubicBezTo>
                    <a:cubicBezTo>
                      <a:pt x="707" y="1014"/>
                      <a:pt x="716" y="1010"/>
                      <a:pt x="714" y="1009"/>
                    </a:cubicBezTo>
                    <a:cubicBezTo>
                      <a:pt x="710" y="1006"/>
                      <a:pt x="715" y="1010"/>
                      <a:pt x="718" y="1007"/>
                    </a:cubicBezTo>
                    <a:cubicBezTo>
                      <a:pt x="719" y="997"/>
                      <a:pt x="715" y="989"/>
                      <a:pt x="716" y="981"/>
                    </a:cubicBezTo>
                    <a:cubicBezTo>
                      <a:pt x="716" y="981"/>
                      <a:pt x="719" y="981"/>
                      <a:pt x="720" y="981"/>
                    </a:cubicBezTo>
                    <a:cubicBezTo>
                      <a:pt x="718" y="972"/>
                      <a:pt x="720" y="971"/>
                      <a:pt x="720" y="960"/>
                    </a:cubicBezTo>
                    <a:cubicBezTo>
                      <a:pt x="724" y="955"/>
                      <a:pt x="730" y="949"/>
                      <a:pt x="727" y="942"/>
                    </a:cubicBezTo>
                    <a:cubicBezTo>
                      <a:pt x="734" y="950"/>
                      <a:pt x="728" y="928"/>
                      <a:pt x="735" y="936"/>
                    </a:cubicBezTo>
                    <a:cubicBezTo>
                      <a:pt x="734" y="932"/>
                      <a:pt x="734" y="928"/>
                      <a:pt x="733" y="923"/>
                    </a:cubicBezTo>
                    <a:cubicBezTo>
                      <a:pt x="732" y="921"/>
                      <a:pt x="729" y="918"/>
                      <a:pt x="729" y="916"/>
                    </a:cubicBezTo>
                    <a:cubicBezTo>
                      <a:pt x="729" y="913"/>
                      <a:pt x="730" y="912"/>
                      <a:pt x="731" y="910"/>
                    </a:cubicBezTo>
                    <a:cubicBezTo>
                      <a:pt x="731" y="906"/>
                      <a:pt x="729" y="900"/>
                      <a:pt x="735" y="904"/>
                    </a:cubicBezTo>
                    <a:cubicBezTo>
                      <a:pt x="734" y="899"/>
                      <a:pt x="735" y="894"/>
                      <a:pt x="736" y="890"/>
                    </a:cubicBezTo>
                    <a:cubicBezTo>
                      <a:pt x="738" y="886"/>
                      <a:pt x="737" y="888"/>
                      <a:pt x="736" y="884"/>
                    </a:cubicBezTo>
                    <a:cubicBezTo>
                      <a:pt x="736" y="882"/>
                      <a:pt x="741" y="877"/>
                      <a:pt x="738" y="875"/>
                    </a:cubicBezTo>
                    <a:cubicBezTo>
                      <a:pt x="737" y="873"/>
                      <a:pt x="738" y="873"/>
                      <a:pt x="738" y="869"/>
                    </a:cubicBezTo>
                    <a:cubicBezTo>
                      <a:pt x="739" y="867"/>
                      <a:pt x="738" y="864"/>
                      <a:pt x="738" y="862"/>
                    </a:cubicBezTo>
                    <a:cubicBezTo>
                      <a:pt x="739" y="859"/>
                      <a:pt x="740" y="858"/>
                      <a:pt x="740" y="856"/>
                    </a:cubicBezTo>
                    <a:cubicBezTo>
                      <a:pt x="741" y="849"/>
                      <a:pt x="739" y="842"/>
                      <a:pt x="740" y="836"/>
                    </a:cubicBezTo>
                    <a:cubicBezTo>
                      <a:pt x="740" y="833"/>
                      <a:pt x="742" y="832"/>
                      <a:pt x="742" y="830"/>
                    </a:cubicBezTo>
                    <a:cubicBezTo>
                      <a:pt x="741" y="824"/>
                      <a:pt x="736" y="819"/>
                      <a:pt x="736" y="813"/>
                    </a:cubicBezTo>
                    <a:cubicBezTo>
                      <a:pt x="736" y="810"/>
                      <a:pt x="734" y="814"/>
                      <a:pt x="731" y="813"/>
                    </a:cubicBezTo>
                    <a:cubicBezTo>
                      <a:pt x="728" y="809"/>
                      <a:pt x="723" y="804"/>
                      <a:pt x="718" y="804"/>
                    </a:cubicBezTo>
                    <a:cubicBezTo>
                      <a:pt x="717" y="804"/>
                      <a:pt x="715" y="799"/>
                      <a:pt x="714" y="800"/>
                    </a:cubicBezTo>
                    <a:cubicBezTo>
                      <a:pt x="711" y="803"/>
                      <a:pt x="714" y="799"/>
                      <a:pt x="712" y="798"/>
                    </a:cubicBezTo>
                    <a:cubicBezTo>
                      <a:pt x="709" y="796"/>
                      <a:pt x="704" y="800"/>
                      <a:pt x="708" y="795"/>
                    </a:cubicBezTo>
                    <a:cubicBezTo>
                      <a:pt x="708" y="791"/>
                      <a:pt x="703" y="794"/>
                      <a:pt x="701" y="793"/>
                    </a:cubicBezTo>
                    <a:cubicBezTo>
                      <a:pt x="700" y="792"/>
                      <a:pt x="702" y="789"/>
                      <a:pt x="701" y="789"/>
                    </a:cubicBezTo>
                    <a:cubicBezTo>
                      <a:pt x="700" y="788"/>
                      <a:pt x="698" y="788"/>
                      <a:pt x="697" y="787"/>
                    </a:cubicBezTo>
                    <a:cubicBezTo>
                      <a:pt x="695" y="785"/>
                      <a:pt x="692" y="780"/>
                      <a:pt x="692" y="774"/>
                    </a:cubicBezTo>
                    <a:cubicBezTo>
                      <a:pt x="692" y="772"/>
                      <a:pt x="689" y="773"/>
                      <a:pt x="688" y="772"/>
                    </a:cubicBezTo>
                    <a:cubicBezTo>
                      <a:pt x="686" y="771"/>
                      <a:pt x="688" y="763"/>
                      <a:pt x="684" y="763"/>
                    </a:cubicBezTo>
                    <a:cubicBezTo>
                      <a:pt x="681" y="763"/>
                      <a:pt x="679" y="752"/>
                      <a:pt x="677" y="748"/>
                    </a:cubicBezTo>
                    <a:cubicBezTo>
                      <a:pt x="675" y="745"/>
                      <a:pt x="672" y="741"/>
                      <a:pt x="669" y="737"/>
                    </a:cubicBezTo>
                    <a:cubicBezTo>
                      <a:pt x="668" y="735"/>
                      <a:pt x="666" y="734"/>
                      <a:pt x="666" y="733"/>
                    </a:cubicBezTo>
                    <a:cubicBezTo>
                      <a:pt x="665" y="732"/>
                      <a:pt x="666" y="730"/>
                      <a:pt x="666" y="729"/>
                    </a:cubicBezTo>
                    <a:cubicBezTo>
                      <a:pt x="665" y="727"/>
                      <a:pt x="663" y="729"/>
                      <a:pt x="662" y="727"/>
                    </a:cubicBezTo>
                    <a:cubicBezTo>
                      <a:pt x="662" y="727"/>
                      <a:pt x="659" y="713"/>
                      <a:pt x="658" y="724"/>
                    </a:cubicBezTo>
                    <a:cubicBezTo>
                      <a:pt x="654" y="722"/>
                      <a:pt x="657" y="712"/>
                      <a:pt x="656" y="707"/>
                    </a:cubicBezTo>
                    <a:cubicBezTo>
                      <a:pt x="661" y="707"/>
                      <a:pt x="661" y="702"/>
                      <a:pt x="664" y="699"/>
                    </a:cubicBezTo>
                    <a:cubicBezTo>
                      <a:pt x="665" y="694"/>
                      <a:pt x="660" y="696"/>
                      <a:pt x="658" y="694"/>
                    </a:cubicBezTo>
                    <a:cubicBezTo>
                      <a:pt x="658" y="688"/>
                      <a:pt x="661" y="686"/>
                      <a:pt x="660" y="679"/>
                    </a:cubicBezTo>
                    <a:cubicBezTo>
                      <a:pt x="661" y="678"/>
                      <a:pt x="663" y="677"/>
                      <a:pt x="666" y="677"/>
                    </a:cubicBezTo>
                    <a:cubicBezTo>
                      <a:pt x="666" y="676"/>
                      <a:pt x="665" y="673"/>
                      <a:pt x="666" y="672"/>
                    </a:cubicBezTo>
                    <a:cubicBezTo>
                      <a:pt x="666" y="671"/>
                      <a:pt x="669" y="672"/>
                      <a:pt x="669" y="672"/>
                    </a:cubicBezTo>
                    <a:cubicBezTo>
                      <a:pt x="670" y="671"/>
                      <a:pt x="669" y="670"/>
                      <a:pt x="669" y="670"/>
                    </a:cubicBezTo>
                    <a:cubicBezTo>
                      <a:pt x="670" y="669"/>
                      <a:pt x="674" y="666"/>
                      <a:pt x="673" y="666"/>
                    </a:cubicBezTo>
                    <a:cubicBezTo>
                      <a:pt x="673" y="666"/>
                      <a:pt x="671" y="666"/>
                      <a:pt x="671" y="666"/>
                    </a:cubicBezTo>
                    <a:cubicBezTo>
                      <a:pt x="671" y="666"/>
                      <a:pt x="672" y="663"/>
                      <a:pt x="673" y="664"/>
                    </a:cubicBezTo>
                    <a:cubicBezTo>
                      <a:pt x="677" y="669"/>
                      <a:pt x="674" y="661"/>
                      <a:pt x="679" y="660"/>
                    </a:cubicBezTo>
                    <a:cubicBezTo>
                      <a:pt x="682" y="660"/>
                      <a:pt x="680" y="656"/>
                      <a:pt x="682" y="653"/>
                    </a:cubicBezTo>
                    <a:cubicBezTo>
                      <a:pt x="682" y="653"/>
                      <a:pt x="691" y="646"/>
                      <a:pt x="686" y="642"/>
                    </a:cubicBezTo>
                    <a:cubicBezTo>
                      <a:pt x="684" y="639"/>
                      <a:pt x="686" y="641"/>
                      <a:pt x="686" y="638"/>
                    </a:cubicBezTo>
                    <a:cubicBezTo>
                      <a:pt x="686" y="634"/>
                      <a:pt x="682" y="620"/>
                      <a:pt x="684" y="616"/>
                    </a:cubicBezTo>
                    <a:cubicBezTo>
                      <a:pt x="675" y="617"/>
                      <a:pt x="675" y="609"/>
                      <a:pt x="666" y="612"/>
                    </a:cubicBezTo>
                    <a:cubicBezTo>
                      <a:pt x="663" y="613"/>
                      <a:pt x="666" y="615"/>
                      <a:pt x="664" y="619"/>
                    </a:cubicBezTo>
                    <a:cubicBezTo>
                      <a:pt x="654" y="620"/>
                      <a:pt x="650" y="614"/>
                      <a:pt x="641" y="614"/>
                    </a:cubicBezTo>
                    <a:cubicBezTo>
                      <a:pt x="641" y="610"/>
                      <a:pt x="636" y="611"/>
                      <a:pt x="638" y="606"/>
                    </a:cubicBezTo>
                    <a:cubicBezTo>
                      <a:pt x="635" y="605"/>
                      <a:pt x="632" y="606"/>
                      <a:pt x="630" y="604"/>
                    </a:cubicBezTo>
                    <a:cubicBezTo>
                      <a:pt x="630" y="604"/>
                      <a:pt x="631" y="601"/>
                      <a:pt x="630" y="601"/>
                    </a:cubicBezTo>
                    <a:cubicBezTo>
                      <a:pt x="630" y="600"/>
                      <a:pt x="627" y="601"/>
                      <a:pt x="626" y="601"/>
                    </a:cubicBezTo>
                    <a:cubicBezTo>
                      <a:pt x="625" y="599"/>
                      <a:pt x="626" y="595"/>
                      <a:pt x="623" y="595"/>
                    </a:cubicBezTo>
                    <a:cubicBezTo>
                      <a:pt x="623" y="590"/>
                      <a:pt x="626" y="591"/>
                      <a:pt x="623" y="588"/>
                    </a:cubicBezTo>
                    <a:cubicBezTo>
                      <a:pt x="622" y="586"/>
                      <a:pt x="621" y="587"/>
                      <a:pt x="621" y="588"/>
                    </a:cubicBezTo>
                    <a:cubicBezTo>
                      <a:pt x="618" y="586"/>
                      <a:pt x="617" y="582"/>
                      <a:pt x="612" y="582"/>
                    </a:cubicBezTo>
                    <a:cubicBezTo>
                      <a:pt x="614" y="576"/>
                      <a:pt x="605" y="581"/>
                      <a:pt x="608" y="575"/>
                    </a:cubicBezTo>
                    <a:cubicBezTo>
                      <a:pt x="606" y="574"/>
                      <a:pt x="596" y="574"/>
                      <a:pt x="598" y="575"/>
                    </a:cubicBezTo>
                    <a:cubicBezTo>
                      <a:pt x="596" y="574"/>
                      <a:pt x="598" y="572"/>
                      <a:pt x="597" y="571"/>
                    </a:cubicBezTo>
                    <a:cubicBezTo>
                      <a:pt x="596" y="570"/>
                      <a:pt x="594" y="571"/>
                      <a:pt x="593" y="571"/>
                    </a:cubicBezTo>
                    <a:cubicBezTo>
                      <a:pt x="591" y="570"/>
                      <a:pt x="587" y="568"/>
                      <a:pt x="582" y="569"/>
                    </a:cubicBezTo>
                    <a:cubicBezTo>
                      <a:pt x="584" y="562"/>
                      <a:pt x="578" y="566"/>
                      <a:pt x="574" y="563"/>
                    </a:cubicBezTo>
                    <a:cubicBezTo>
                      <a:pt x="574" y="563"/>
                      <a:pt x="575" y="560"/>
                      <a:pt x="574" y="560"/>
                    </a:cubicBezTo>
                    <a:cubicBezTo>
                      <a:pt x="574" y="559"/>
                      <a:pt x="571" y="560"/>
                      <a:pt x="571" y="560"/>
                    </a:cubicBezTo>
                    <a:cubicBezTo>
                      <a:pt x="570" y="559"/>
                      <a:pt x="571" y="557"/>
                      <a:pt x="571" y="556"/>
                    </a:cubicBezTo>
                    <a:cubicBezTo>
                      <a:pt x="570" y="555"/>
                      <a:pt x="567" y="556"/>
                      <a:pt x="567" y="556"/>
                    </a:cubicBezTo>
                    <a:cubicBezTo>
                      <a:pt x="566" y="555"/>
                      <a:pt x="567" y="553"/>
                      <a:pt x="567" y="552"/>
                    </a:cubicBezTo>
                    <a:cubicBezTo>
                      <a:pt x="565" y="551"/>
                      <a:pt x="565" y="554"/>
                      <a:pt x="565" y="554"/>
                    </a:cubicBezTo>
                    <a:cubicBezTo>
                      <a:pt x="564" y="554"/>
                      <a:pt x="560" y="552"/>
                      <a:pt x="559" y="550"/>
                    </a:cubicBezTo>
                    <a:cubicBezTo>
                      <a:pt x="557" y="553"/>
                      <a:pt x="556" y="550"/>
                      <a:pt x="554" y="550"/>
                    </a:cubicBezTo>
                    <a:cubicBezTo>
                      <a:pt x="551" y="551"/>
                      <a:pt x="548" y="554"/>
                      <a:pt x="544" y="554"/>
                    </a:cubicBezTo>
                    <a:cubicBezTo>
                      <a:pt x="540" y="554"/>
                      <a:pt x="540" y="552"/>
                      <a:pt x="537" y="552"/>
                    </a:cubicBezTo>
                    <a:cubicBezTo>
                      <a:pt x="532" y="552"/>
                      <a:pt x="534" y="555"/>
                      <a:pt x="530" y="552"/>
                    </a:cubicBezTo>
                    <a:cubicBezTo>
                      <a:pt x="527" y="551"/>
                      <a:pt x="525" y="552"/>
                      <a:pt x="520" y="550"/>
                    </a:cubicBezTo>
                    <a:cubicBezTo>
                      <a:pt x="519" y="550"/>
                      <a:pt x="519" y="547"/>
                      <a:pt x="518" y="547"/>
                    </a:cubicBezTo>
                    <a:cubicBezTo>
                      <a:pt x="517" y="546"/>
                      <a:pt x="516" y="547"/>
                      <a:pt x="515" y="547"/>
                    </a:cubicBezTo>
                    <a:cubicBezTo>
                      <a:pt x="512" y="546"/>
                      <a:pt x="504" y="545"/>
                      <a:pt x="509" y="541"/>
                    </a:cubicBezTo>
                    <a:cubicBezTo>
                      <a:pt x="504" y="541"/>
                      <a:pt x="503" y="537"/>
                      <a:pt x="498" y="537"/>
                    </a:cubicBezTo>
                    <a:cubicBezTo>
                      <a:pt x="497" y="536"/>
                      <a:pt x="496" y="534"/>
                      <a:pt x="496" y="532"/>
                    </a:cubicBezTo>
                    <a:cubicBezTo>
                      <a:pt x="488" y="531"/>
                      <a:pt x="486" y="525"/>
                      <a:pt x="477" y="524"/>
                    </a:cubicBezTo>
                    <a:cubicBezTo>
                      <a:pt x="476" y="518"/>
                      <a:pt x="472" y="515"/>
                      <a:pt x="474" y="506"/>
                    </a:cubicBezTo>
                    <a:cubicBezTo>
                      <a:pt x="473" y="498"/>
                      <a:pt x="463" y="502"/>
                      <a:pt x="468" y="494"/>
                    </a:cubicBezTo>
                    <a:cubicBezTo>
                      <a:pt x="466" y="494"/>
                      <a:pt x="465" y="495"/>
                      <a:pt x="464" y="496"/>
                    </a:cubicBezTo>
                    <a:cubicBezTo>
                      <a:pt x="462" y="496"/>
                      <a:pt x="463" y="494"/>
                      <a:pt x="462" y="493"/>
                    </a:cubicBezTo>
                    <a:cubicBezTo>
                      <a:pt x="461" y="491"/>
                      <a:pt x="457" y="491"/>
                      <a:pt x="457" y="487"/>
                    </a:cubicBezTo>
                    <a:cubicBezTo>
                      <a:pt x="457" y="485"/>
                      <a:pt x="453" y="485"/>
                      <a:pt x="451" y="485"/>
                    </a:cubicBezTo>
                    <a:cubicBezTo>
                      <a:pt x="451" y="484"/>
                      <a:pt x="454" y="483"/>
                      <a:pt x="453" y="481"/>
                    </a:cubicBezTo>
                    <a:cubicBezTo>
                      <a:pt x="453" y="481"/>
                      <a:pt x="451" y="478"/>
                      <a:pt x="451" y="478"/>
                    </a:cubicBezTo>
                    <a:cubicBezTo>
                      <a:pt x="450" y="477"/>
                      <a:pt x="448" y="478"/>
                      <a:pt x="448" y="478"/>
                    </a:cubicBezTo>
                    <a:cubicBezTo>
                      <a:pt x="446" y="476"/>
                      <a:pt x="447" y="473"/>
                      <a:pt x="446" y="472"/>
                    </a:cubicBezTo>
                    <a:cubicBezTo>
                      <a:pt x="441" y="468"/>
                      <a:pt x="436" y="467"/>
                      <a:pt x="434" y="459"/>
                    </a:cubicBezTo>
                    <a:cubicBezTo>
                      <a:pt x="431" y="456"/>
                      <a:pt x="431" y="460"/>
                      <a:pt x="427" y="457"/>
                    </a:cubicBezTo>
                    <a:cubicBezTo>
                      <a:pt x="428" y="453"/>
                      <a:pt x="424" y="453"/>
                      <a:pt x="423" y="452"/>
                    </a:cubicBezTo>
                    <a:cubicBezTo>
                      <a:pt x="422" y="449"/>
                      <a:pt x="424" y="442"/>
                      <a:pt x="418" y="442"/>
                    </a:cubicBezTo>
                    <a:cubicBezTo>
                      <a:pt x="419" y="433"/>
                      <a:pt x="414" y="429"/>
                      <a:pt x="408" y="427"/>
                    </a:cubicBezTo>
                    <a:cubicBezTo>
                      <a:pt x="407" y="429"/>
                      <a:pt x="406" y="431"/>
                      <a:pt x="405" y="433"/>
                    </a:cubicBezTo>
                    <a:cubicBezTo>
                      <a:pt x="403" y="437"/>
                      <a:pt x="409" y="438"/>
                      <a:pt x="410" y="440"/>
                    </a:cubicBezTo>
                    <a:cubicBezTo>
                      <a:pt x="411" y="441"/>
                      <a:pt x="410" y="444"/>
                      <a:pt x="410" y="444"/>
                    </a:cubicBezTo>
                    <a:cubicBezTo>
                      <a:pt x="410" y="444"/>
                      <a:pt x="412" y="444"/>
                      <a:pt x="412" y="444"/>
                    </a:cubicBezTo>
                    <a:cubicBezTo>
                      <a:pt x="413" y="447"/>
                      <a:pt x="410" y="451"/>
                      <a:pt x="414" y="452"/>
                    </a:cubicBezTo>
                    <a:cubicBezTo>
                      <a:pt x="417" y="452"/>
                      <a:pt x="415" y="457"/>
                      <a:pt x="418" y="461"/>
                    </a:cubicBezTo>
                    <a:cubicBezTo>
                      <a:pt x="418" y="462"/>
                      <a:pt x="419" y="461"/>
                      <a:pt x="420" y="463"/>
                    </a:cubicBezTo>
                    <a:cubicBezTo>
                      <a:pt x="420" y="466"/>
                      <a:pt x="425" y="465"/>
                      <a:pt x="423" y="472"/>
                    </a:cubicBezTo>
                    <a:cubicBezTo>
                      <a:pt x="424" y="474"/>
                      <a:pt x="427" y="474"/>
                      <a:pt x="429" y="474"/>
                    </a:cubicBezTo>
                    <a:cubicBezTo>
                      <a:pt x="427" y="476"/>
                      <a:pt x="431" y="477"/>
                      <a:pt x="431" y="478"/>
                    </a:cubicBezTo>
                    <a:cubicBezTo>
                      <a:pt x="431" y="479"/>
                      <a:pt x="429" y="482"/>
                      <a:pt x="429" y="481"/>
                    </a:cubicBezTo>
                    <a:cubicBezTo>
                      <a:pt x="430" y="484"/>
                      <a:pt x="435" y="483"/>
                      <a:pt x="433" y="489"/>
                    </a:cubicBezTo>
                    <a:cubicBezTo>
                      <a:pt x="430" y="487"/>
                      <a:pt x="429" y="484"/>
                      <a:pt x="423" y="485"/>
                    </a:cubicBezTo>
                    <a:cubicBezTo>
                      <a:pt x="426" y="478"/>
                      <a:pt x="419" y="479"/>
                      <a:pt x="420" y="474"/>
                    </a:cubicBezTo>
                    <a:cubicBezTo>
                      <a:pt x="419" y="471"/>
                      <a:pt x="416" y="470"/>
                      <a:pt x="414" y="468"/>
                    </a:cubicBezTo>
                    <a:cubicBezTo>
                      <a:pt x="412" y="467"/>
                      <a:pt x="411" y="465"/>
                      <a:pt x="410" y="463"/>
                    </a:cubicBezTo>
                    <a:cubicBezTo>
                      <a:pt x="407" y="462"/>
                      <a:pt x="404" y="462"/>
                      <a:pt x="403" y="459"/>
                    </a:cubicBezTo>
                    <a:cubicBezTo>
                      <a:pt x="403" y="454"/>
                      <a:pt x="404" y="457"/>
                      <a:pt x="406" y="457"/>
                    </a:cubicBezTo>
                    <a:cubicBezTo>
                      <a:pt x="408" y="449"/>
                      <a:pt x="400" y="451"/>
                      <a:pt x="401" y="444"/>
                    </a:cubicBezTo>
                    <a:cubicBezTo>
                      <a:pt x="397" y="443"/>
                      <a:pt x="396" y="440"/>
                      <a:pt x="392" y="440"/>
                    </a:cubicBezTo>
                    <a:cubicBezTo>
                      <a:pt x="392" y="436"/>
                      <a:pt x="395" y="436"/>
                      <a:pt x="392" y="431"/>
                    </a:cubicBezTo>
                    <a:cubicBezTo>
                      <a:pt x="391" y="430"/>
                      <a:pt x="390" y="429"/>
                      <a:pt x="390" y="429"/>
                    </a:cubicBezTo>
                    <a:cubicBezTo>
                      <a:pt x="388" y="425"/>
                      <a:pt x="389" y="419"/>
                      <a:pt x="380" y="420"/>
                    </a:cubicBezTo>
                    <a:cubicBezTo>
                      <a:pt x="382" y="418"/>
                      <a:pt x="382" y="417"/>
                      <a:pt x="380" y="414"/>
                    </a:cubicBezTo>
                    <a:cubicBezTo>
                      <a:pt x="380" y="414"/>
                      <a:pt x="379" y="411"/>
                      <a:pt x="379" y="411"/>
                    </a:cubicBezTo>
                    <a:cubicBezTo>
                      <a:pt x="378" y="410"/>
                      <a:pt x="374" y="411"/>
                      <a:pt x="373" y="411"/>
                    </a:cubicBezTo>
                    <a:cubicBezTo>
                      <a:pt x="372" y="409"/>
                      <a:pt x="377" y="409"/>
                      <a:pt x="377" y="409"/>
                    </a:cubicBezTo>
                    <a:cubicBezTo>
                      <a:pt x="376" y="405"/>
                      <a:pt x="365" y="403"/>
                      <a:pt x="360" y="401"/>
                    </a:cubicBezTo>
                    <a:cubicBezTo>
                      <a:pt x="359" y="400"/>
                      <a:pt x="359" y="399"/>
                      <a:pt x="358" y="398"/>
                    </a:cubicBezTo>
                    <a:cubicBezTo>
                      <a:pt x="357" y="395"/>
                      <a:pt x="356" y="394"/>
                      <a:pt x="354" y="392"/>
                    </a:cubicBezTo>
                    <a:cubicBezTo>
                      <a:pt x="353" y="390"/>
                      <a:pt x="353" y="385"/>
                      <a:pt x="351" y="381"/>
                    </a:cubicBezTo>
                    <a:cubicBezTo>
                      <a:pt x="350" y="380"/>
                      <a:pt x="347" y="380"/>
                      <a:pt x="347" y="379"/>
                    </a:cubicBezTo>
                    <a:cubicBezTo>
                      <a:pt x="346" y="376"/>
                      <a:pt x="348" y="372"/>
                      <a:pt x="343" y="373"/>
                    </a:cubicBezTo>
                    <a:cubicBezTo>
                      <a:pt x="344" y="366"/>
                      <a:pt x="340" y="362"/>
                      <a:pt x="336" y="357"/>
                    </a:cubicBezTo>
                    <a:cubicBezTo>
                      <a:pt x="334" y="354"/>
                      <a:pt x="334" y="349"/>
                      <a:pt x="330" y="351"/>
                    </a:cubicBezTo>
                    <a:cubicBezTo>
                      <a:pt x="333" y="329"/>
                      <a:pt x="329" y="316"/>
                      <a:pt x="330" y="289"/>
                    </a:cubicBezTo>
                    <a:cubicBezTo>
                      <a:pt x="330" y="288"/>
                      <a:pt x="328" y="288"/>
                      <a:pt x="328" y="286"/>
                    </a:cubicBezTo>
                    <a:cubicBezTo>
                      <a:pt x="327" y="285"/>
                      <a:pt x="326" y="283"/>
                      <a:pt x="324" y="282"/>
                    </a:cubicBezTo>
                    <a:cubicBezTo>
                      <a:pt x="324" y="281"/>
                      <a:pt x="323" y="280"/>
                      <a:pt x="321" y="280"/>
                    </a:cubicBezTo>
                    <a:cubicBezTo>
                      <a:pt x="320" y="271"/>
                      <a:pt x="312" y="266"/>
                      <a:pt x="306" y="260"/>
                    </a:cubicBezTo>
                    <a:cubicBezTo>
                      <a:pt x="305" y="259"/>
                      <a:pt x="304" y="258"/>
                      <a:pt x="304" y="256"/>
                    </a:cubicBezTo>
                    <a:cubicBezTo>
                      <a:pt x="305" y="257"/>
                      <a:pt x="309" y="259"/>
                      <a:pt x="310" y="256"/>
                    </a:cubicBezTo>
                    <a:cubicBezTo>
                      <a:pt x="313" y="256"/>
                      <a:pt x="312" y="261"/>
                      <a:pt x="317" y="260"/>
                    </a:cubicBezTo>
                    <a:cubicBezTo>
                      <a:pt x="318" y="261"/>
                      <a:pt x="319" y="264"/>
                      <a:pt x="319" y="267"/>
                    </a:cubicBezTo>
                    <a:cubicBezTo>
                      <a:pt x="328" y="266"/>
                      <a:pt x="330" y="272"/>
                      <a:pt x="336" y="274"/>
                    </a:cubicBezTo>
                    <a:cubicBezTo>
                      <a:pt x="335" y="281"/>
                      <a:pt x="339" y="283"/>
                      <a:pt x="341" y="286"/>
                    </a:cubicBezTo>
                    <a:cubicBezTo>
                      <a:pt x="343" y="285"/>
                      <a:pt x="344" y="282"/>
                      <a:pt x="343" y="280"/>
                    </a:cubicBezTo>
                    <a:cubicBezTo>
                      <a:pt x="343" y="278"/>
                      <a:pt x="340" y="278"/>
                      <a:pt x="339" y="276"/>
                    </a:cubicBezTo>
                    <a:cubicBezTo>
                      <a:pt x="338" y="273"/>
                      <a:pt x="338" y="271"/>
                      <a:pt x="338" y="269"/>
                    </a:cubicBezTo>
                    <a:cubicBezTo>
                      <a:pt x="337" y="268"/>
                      <a:pt x="336" y="267"/>
                      <a:pt x="336" y="267"/>
                    </a:cubicBezTo>
                    <a:cubicBezTo>
                      <a:pt x="335" y="266"/>
                      <a:pt x="337" y="264"/>
                      <a:pt x="338" y="265"/>
                    </a:cubicBezTo>
                    <a:cubicBezTo>
                      <a:pt x="335" y="261"/>
                      <a:pt x="331" y="262"/>
                      <a:pt x="332" y="258"/>
                    </a:cubicBezTo>
                    <a:cubicBezTo>
                      <a:pt x="323" y="259"/>
                      <a:pt x="322" y="252"/>
                      <a:pt x="313" y="252"/>
                    </a:cubicBezTo>
                    <a:cubicBezTo>
                      <a:pt x="316" y="246"/>
                      <a:pt x="307" y="251"/>
                      <a:pt x="310" y="245"/>
                    </a:cubicBezTo>
                    <a:cubicBezTo>
                      <a:pt x="308" y="243"/>
                      <a:pt x="305" y="245"/>
                      <a:pt x="302" y="241"/>
                    </a:cubicBezTo>
                    <a:cubicBezTo>
                      <a:pt x="302" y="239"/>
                      <a:pt x="304" y="239"/>
                      <a:pt x="306" y="239"/>
                    </a:cubicBezTo>
                    <a:cubicBezTo>
                      <a:pt x="308" y="234"/>
                      <a:pt x="299" y="237"/>
                      <a:pt x="300" y="237"/>
                    </a:cubicBezTo>
                    <a:cubicBezTo>
                      <a:pt x="298" y="236"/>
                      <a:pt x="300" y="234"/>
                      <a:pt x="298" y="233"/>
                    </a:cubicBezTo>
                    <a:cubicBezTo>
                      <a:pt x="298" y="233"/>
                      <a:pt x="295" y="234"/>
                      <a:pt x="295" y="233"/>
                    </a:cubicBezTo>
                    <a:cubicBezTo>
                      <a:pt x="294" y="232"/>
                      <a:pt x="297" y="231"/>
                      <a:pt x="297" y="230"/>
                    </a:cubicBezTo>
                    <a:cubicBezTo>
                      <a:pt x="296" y="227"/>
                      <a:pt x="294" y="230"/>
                      <a:pt x="291" y="230"/>
                    </a:cubicBezTo>
                    <a:cubicBezTo>
                      <a:pt x="287" y="227"/>
                      <a:pt x="289" y="223"/>
                      <a:pt x="287" y="220"/>
                    </a:cubicBezTo>
                    <a:cubicBezTo>
                      <a:pt x="286" y="219"/>
                      <a:pt x="284" y="218"/>
                      <a:pt x="282" y="219"/>
                    </a:cubicBezTo>
                    <a:cubicBezTo>
                      <a:pt x="288" y="208"/>
                      <a:pt x="267" y="215"/>
                      <a:pt x="269" y="204"/>
                    </a:cubicBezTo>
                    <a:cubicBezTo>
                      <a:pt x="270" y="204"/>
                      <a:pt x="272" y="204"/>
                      <a:pt x="274" y="204"/>
                    </a:cubicBezTo>
                    <a:cubicBezTo>
                      <a:pt x="275" y="199"/>
                      <a:pt x="266" y="205"/>
                      <a:pt x="269" y="198"/>
                    </a:cubicBezTo>
                    <a:cubicBezTo>
                      <a:pt x="265" y="198"/>
                      <a:pt x="261" y="198"/>
                      <a:pt x="257" y="198"/>
                    </a:cubicBezTo>
                    <a:cubicBezTo>
                      <a:pt x="262" y="195"/>
                      <a:pt x="255" y="194"/>
                      <a:pt x="259" y="192"/>
                    </a:cubicBezTo>
                    <a:cubicBezTo>
                      <a:pt x="260" y="189"/>
                      <a:pt x="254" y="189"/>
                      <a:pt x="255" y="191"/>
                    </a:cubicBezTo>
                    <a:cubicBezTo>
                      <a:pt x="252" y="187"/>
                      <a:pt x="255" y="186"/>
                      <a:pt x="252" y="181"/>
                    </a:cubicBezTo>
                    <a:cubicBezTo>
                      <a:pt x="248" y="181"/>
                      <a:pt x="244" y="181"/>
                      <a:pt x="241" y="181"/>
                    </a:cubicBezTo>
                    <a:cubicBezTo>
                      <a:pt x="242" y="179"/>
                      <a:pt x="243" y="177"/>
                      <a:pt x="244" y="174"/>
                    </a:cubicBezTo>
                    <a:cubicBezTo>
                      <a:pt x="243" y="170"/>
                      <a:pt x="239" y="173"/>
                      <a:pt x="242" y="168"/>
                    </a:cubicBezTo>
                    <a:cubicBezTo>
                      <a:pt x="236" y="169"/>
                      <a:pt x="232" y="171"/>
                      <a:pt x="224" y="170"/>
                    </a:cubicBezTo>
                    <a:cubicBezTo>
                      <a:pt x="224" y="165"/>
                      <a:pt x="219" y="163"/>
                      <a:pt x="214" y="161"/>
                    </a:cubicBezTo>
                    <a:cubicBezTo>
                      <a:pt x="213" y="160"/>
                      <a:pt x="210" y="160"/>
                      <a:pt x="209" y="159"/>
                    </a:cubicBezTo>
                    <a:cubicBezTo>
                      <a:pt x="208" y="159"/>
                      <a:pt x="209" y="156"/>
                      <a:pt x="209" y="155"/>
                    </a:cubicBezTo>
                    <a:cubicBezTo>
                      <a:pt x="208" y="154"/>
                      <a:pt x="204" y="156"/>
                      <a:pt x="205" y="153"/>
                    </a:cubicBezTo>
                    <a:cubicBezTo>
                      <a:pt x="199" y="151"/>
                      <a:pt x="186" y="157"/>
                      <a:pt x="183" y="153"/>
                    </a:cubicBezTo>
                    <a:cubicBezTo>
                      <a:pt x="183" y="153"/>
                      <a:pt x="183" y="151"/>
                      <a:pt x="183" y="151"/>
                    </a:cubicBezTo>
                    <a:cubicBezTo>
                      <a:pt x="181" y="151"/>
                      <a:pt x="179" y="153"/>
                      <a:pt x="179" y="153"/>
                    </a:cubicBezTo>
                    <a:cubicBezTo>
                      <a:pt x="177" y="153"/>
                      <a:pt x="177" y="147"/>
                      <a:pt x="170" y="150"/>
                    </a:cubicBezTo>
                    <a:cubicBezTo>
                      <a:pt x="170" y="145"/>
                      <a:pt x="161" y="147"/>
                      <a:pt x="166" y="142"/>
                    </a:cubicBezTo>
                    <a:cubicBezTo>
                      <a:pt x="165" y="142"/>
                      <a:pt x="164" y="144"/>
                      <a:pt x="162" y="144"/>
                    </a:cubicBezTo>
                    <a:cubicBezTo>
                      <a:pt x="161" y="144"/>
                      <a:pt x="160" y="142"/>
                      <a:pt x="160" y="142"/>
                    </a:cubicBezTo>
                    <a:cubicBezTo>
                      <a:pt x="157" y="143"/>
                      <a:pt x="154" y="147"/>
                      <a:pt x="151" y="144"/>
                    </a:cubicBezTo>
                    <a:cubicBezTo>
                      <a:pt x="147" y="144"/>
                      <a:pt x="150" y="151"/>
                      <a:pt x="149" y="153"/>
                    </a:cubicBezTo>
                    <a:cubicBezTo>
                      <a:pt x="148" y="153"/>
                      <a:pt x="146" y="151"/>
                      <a:pt x="144" y="151"/>
                    </a:cubicBezTo>
                    <a:cubicBezTo>
                      <a:pt x="141" y="152"/>
                      <a:pt x="143" y="155"/>
                      <a:pt x="142" y="155"/>
                    </a:cubicBezTo>
                    <a:cubicBezTo>
                      <a:pt x="140" y="156"/>
                      <a:pt x="133" y="155"/>
                      <a:pt x="131" y="157"/>
                    </a:cubicBezTo>
                    <a:cubicBezTo>
                      <a:pt x="129" y="158"/>
                      <a:pt x="129" y="160"/>
                      <a:pt x="127" y="161"/>
                    </a:cubicBezTo>
                    <a:cubicBezTo>
                      <a:pt x="124" y="161"/>
                      <a:pt x="123" y="159"/>
                      <a:pt x="119" y="159"/>
                    </a:cubicBezTo>
                    <a:cubicBezTo>
                      <a:pt x="122" y="156"/>
                      <a:pt x="127" y="155"/>
                      <a:pt x="125" y="148"/>
                    </a:cubicBezTo>
                    <a:cubicBezTo>
                      <a:pt x="128" y="148"/>
                      <a:pt x="129" y="146"/>
                      <a:pt x="129" y="144"/>
                    </a:cubicBezTo>
                    <a:cubicBezTo>
                      <a:pt x="128" y="142"/>
                      <a:pt x="125" y="142"/>
                      <a:pt x="123" y="142"/>
                    </a:cubicBezTo>
                    <a:cubicBezTo>
                      <a:pt x="121" y="144"/>
                      <a:pt x="121" y="147"/>
                      <a:pt x="118" y="150"/>
                    </a:cubicBezTo>
                    <a:cubicBezTo>
                      <a:pt x="116" y="151"/>
                      <a:pt x="116" y="153"/>
                      <a:pt x="114" y="153"/>
                    </a:cubicBezTo>
                    <a:cubicBezTo>
                      <a:pt x="112" y="153"/>
                      <a:pt x="112" y="158"/>
                      <a:pt x="108" y="157"/>
                    </a:cubicBezTo>
                    <a:cubicBezTo>
                      <a:pt x="109" y="160"/>
                      <a:pt x="107" y="161"/>
                      <a:pt x="105" y="161"/>
                    </a:cubicBezTo>
                    <a:cubicBezTo>
                      <a:pt x="105" y="163"/>
                      <a:pt x="105" y="166"/>
                      <a:pt x="105" y="168"/>
                    </a:cubicBezTo>
                    <a:cubicBezTo>
                      <a:pt x="99" y="170"/>
                      <a:pt x="98" y="176"/>
                      <a:pt x="93" y="179"/>
                    </a:cubicBezTo>
                    <a:cubicBezTo>
                      <a:pt x="93" y="180"/>
                      <a:pt x="90" y="179"/>
                      <a:pt x="90" y="179"/>
                    </a:cubicBezTo>
                    <a:cubicBezTo>
                      <a:pt x="89" y="180"/>
                      <a:pt x="90" y="183"/>
                      <a:pt x="90" y="183"/>
                    </a:cubicBezTo>
                    <a:cubicBezTo>
                      <a:pt x="89" y="183"/>
                      <a:pt x="82" y="183"/>
                      <a:pt x="84" y="185"/>
                    </a:cubicBezTo>
                    <a:cubicBezTo>
                      <a:pt x="88" y="188"/>
                      <a:pt x="79" y="187"/>
                      <a:pt x="77" y="191"/>
                    </a:cubicBezTo>
                    <a:cubicBezTo>
                      <a:pt x="76" y="191"/>
                      <a:pt x="74" y="197"/>
                      <a:pt x="73" y="196"/>
                    </a:cubicBezTo>
                    <a:cubicBezTo>
                      <a:pt x="71" y="194"/>
                      <a:pt x="72" y="195"/>
                      <a:pt x="71" y="198"/>
                    </a:cubicBezTo>
                    <a:cubicBezTo>
                      <a:pt x="68" y="198"/>
                      <a:pt x="66" y="198"/>
                      <a:pt x="64" y="198"/>
                    </a:cubicBezTo>
                    <a:cubicBezTo>
                      <a:pt x="60" y="200"/>
                      <a:pt x="67" y="201"/>
                      <a:pt x="58" y="202"/>
                    </a:cubicBezTo>
                    <a:cubicBezTo>
                      <a:pt x="54" y="202"/>
                      <a:pt x="51" y="202"/>
                      <a:pt x="47" y="204"/>
                    </a:cubicBezTo>
                    <a:cubicBezTo>
                      <a:pt x="44" y="205"/>
                      <a:pt x="44" y="210"/>
                      <a:pt x="39" y="207"/>
                    </a:cubicBezTo>
                    <a:cubicBezTo>
                      <a:pt x="39" y="202"/>
                      <a:pt x="45" y="204"/>
                      <a:pt x="49" y="202"/>
                    </a:cubicBezTo>
                    <a:cubicBezTo>
                      <a:pt x="50" y="201"/>
                      <a:pt x="50" y="202"/>
                      <a:pt x="50" y="200"/>
                    </a:cubicBezTo>
                    <a:cubicBezTo>
                      <a:pt x="51" y="197"/>
                      <a:pt x="55" y="198"/>
                      <a:pt x="58" y="198"/>
                    </a:cubicBezTo>
                    <a:cubicBezTo>
                      <a:pt x="61" y="198"/>
                      <a:pt x="59" y="194"/>
                      <a:pt x="60" y="192"/>
                    </a:cubicBezTo>
                    <a:cubicBezTo>
                      <a:pt x="61" y="191"/>
                      <a:pt x="62" y="196"/>
                      <a:pt x="65" y="191"/>
                    </a:cubicBezTo>
                    <a:cubicBezTo>
                      <a:pt x="66" y="190"/>
                      <a:pt x="67" y="191"/>
                      <a:pt x="67" y="189"/>
                    </a:cubicBezTo>
                    <a:cubicBezTo>
                      <a:pt x="67" y="186"/>
                      <a:pt x="72" y="187"/>
                      <a:pt x="75" y="185"/>
                    </a:cubicBezTo>
                    <a:cubicBezTo>
                      <a:pt x="75" y="182"/>
                      <a:pt x="75" y="179"/>
                      <a:pt x="75" y="176"/>
                    </a:cubicBezTo>
                    <a:cubicBezTo>
                      <a:pt x="81" y="182"/>
                      <a:pt x="75" y="170"/>
                      <a:pt x="82" y="172"/>
                    </a:cubicBezTo>
                    <a:cubicBezTo>
                      <a:pt x="83" y="167"/>
                      <a:pt x="74" y="173"/>
                      <a:pt x="77" y="166"/>
                    </a:cubicBezTo>
                    <a:cubicBezTo>
                      <a:pt x="75" y="171"/>
                      <a:pt x="63" y="165"/>
                      <a:pt x="62" y="170"/>
                    </a:cubicBezTo>
                    <a:cubicBezTo>
                      <a:pt x="59" y="171"/>
                      <a:pt x="61" y="167"/>
                      <a:pt x="60" y="166"/>
                    </a:cubicBezTo>
                    <a:cubicBezTo>
                      <a:pt x="57" y="165"/>
                      <a:pt x="52" y="168"/>
                      <a:pt x="49" y="166"/>
                    </a:cubicBezTo>
                    <a:cubicBezTo>
                      <a:pt x="51" y="162"/>
                      <a:pt x="46" y="164"/>
                      <a:pt x="45" y="163"/>
                    </a:cubicBezTo>
                    <a:cubicBezTo>
                      <a:pt x="44" y="161"/>
                      <a:pt x="46" y="160"/>
                      <a:pt x="47" y="161"/>
                    </a:cubicBezTo>
                    <a:cubicBezTo>
                      <a:pt x="43" y="156"/>
                      <a:pt x="40" y="157"/>
                      <a:pt x="37" y="151"/>
                    </a:cubicBezTo>
                    <a:cubicBezTo>
                      <a:pt x="35" y="154"/>
                      <a:pt x="29" y="153"/>
                      <a:pt x="24" y="153"/>
                    </a:cubicBezTo>
                    <a:cubicBezTo>
                      <a:pt x="24" y="151"/>
                      <a:pt x="25" y="150"/>
                      <a:pt x="26" y="150"/>
                    </a:cubicBezTo>
                    <a:cubicBezTo>
                      <a:pt x="25" y="146"/>
                      <a:pt x="19" y="147"/>
                      <a:pt x="21" y="140"/>
                    </a:cubicBezTo>
                    <a:cubicBezTo>
                      <a:pt x="20" y="138"/>
                      <a:pt x="17" y="136"/>
                      <a:pt x="17" y="138"/>
                    </a:cubicBezTo>
                    <a:cubicBezTo>
                      <a:pt x="12" y="138"/>
                      <a:pt x="16" y="133"/>
                      <a:pt x="17" y="131"/>
                    </a:cubicBezTo>
                    <a:cubicBezTo>
                      <a:pt x="17" y="130"/>
                      <a:pt x="16" y="128"/>
                      <a:pt x="17" y="127"/>
                    </a:cubicBezTo>
                    <a:cubicBezTo>
                      <a:pt x="17" y="127"/>
                      <a:pt x="20" y="128"/>
                      <a:pt x="21" y="127"/>
                    </a:cubicBezTo>
                    <a:cubicBezTo>
                      <a:pt x="22" y="126"/>
                      <a:pt x="21" y="123"/>
                      <a:pt x="22" y="122"/>
                    </a:cubicBezTo>
                    <a:cubicBezTo>
                      <a:pt x="27" y="121"/>
                      <a:pt x="34" y="120"/>
                      <a:pt x="37" y="118"/>
                    </a:cubicBezTo>
                    <a:cubicBezTo>
                      <a:pt x="40" y="116"/>
                      <a:pt x="42" y="117"/>
                      <a:pt x="45" y="116"/>
                    </a:cubicBezTo>
                    <a:cubicBezTo>
                      <a:pt x="48" y="115"/>
                      <a:pt x="42" y="111"/>
                      <a:pt x="52" y="112"/>
                    </a:cubicBezTo>
                    <a:cubicBezTo>
                      <a:pt x="51" y="108"/>
                      <a:pt x="51" y="104"/>
                      <a:pt x="49" y="97"/>
                    </a:cubicBezTo>
                    <a:cubicBezTo>
                      <a:pt x="45" y="93"/>
                      <a:pt x="34" y="104"/>
                      <a:pt x="30" y="99"/>
                    </a:cubicBezTo>
                    <a:cubicBezTo>
                      <a:pt x="27" y="96"/>
                      <a:pt x="29" y="101"/>
                      <a:pt x="22" y="101"/>
                    </a:cubicBezTo>
                    <a:cubicBezTo>
                      <a:pt x="21" y="98"/>
                      <a:pt x="14" y="100"/>
                      <a:pt x="9" y="97"/>
                    </a:cubicBezTo>
                    <a:cubicBezTo>
                      <a:pt x="9" y="97"/>
                      <a:pt x="13" y="94"/>
                      <a:pt x="9" y="94"/>
                    </a:cubicBezTo>
                    <a:cubicBezTo>
                      <a:pt x="6" y="93"/>
                      <a:pt x="3" y="92"/>
                      <a:pt x="2" y="86"/>
                    </a:cubicBezTo>
                    <a:cubicBezTo>
                      <a:pt x="13" y="87"/>
                      <a:pt x="0" y="81"/>
                      <a:pt x="13" y="82"/>
                    </a:cubicBezTo>
                    <a:cubicBezTo>
                      <a:pt x="15" y="82"/>
                      <a:pt x="14" y="81"/>
                      <a:pt x="13" y="81"/>
                    </a:cubicBezTo>
                    <a:cubicBezTo>
                      <a:pt x="14" y="77"/>
                      <a:pt x="17" y="81"/>
                      <a:pt x="17" y="81"/>
                    </a:cubicBezTo>
                    <a:cubicBezTo>
                      <a:pt x="20" y="81"/>
                      <a:pt x="21" y="78"/>
                      <a:pt x="24" y="79"/>
                    </a:cubicBezTo>
                    <a:cubicBezTo>
                      <a:pt x="25" y="79"/>
                      <a:pt x="26" y="82"/>
                      <a:pt x="28" y="82"/>
                    </a:cubicBezTo>
                    <a:cubicBezTo>
                      <a:pt x="32" y="83"/>
                      <a:pt x="36" y="81"/>
                      <a:pt x="41" y="82"/>
                    </a:cubicBezTo>
                    <a:cubicBezTo>
                      <a:pt x="44" y="83"/>
                      <a:pt x="44" y="84"/>
                      <a:pt x="47" y="82"/>
                    </a:cubicBezTo>
                    <a:cubicBezTo>
                      <a:pt x="49" y="82"/>
                      <a:pt x="47" y="81"/>
                      <a:pt x="47" y="79"/>
                    </a:cubicBezTo>
                    <a:cubicBezTo>
                      <a:pt x="49" y="79"/>
                      <a:pt x="50" y="78"/>
                      <a:pt x="50" y="77"/>
                    </a:cubicBezTo>
                    <a:cubicBezTo>
                      <a:pt x="51" y="72"/>
                      <a:pt x="42" y="78"/>
                      <a:pt x="45" y="71"/>
                    </a:cubicBezTo>
                    <a:cubicBezTo>
                      <a:pt x="40" y="70"/>
                      <a:pt x="35" y="69"/>
                      <a:pt x="30" y="68"/>
                    </a:cubicBezTo>
                    <a:cubicBezTo>
                      <a:pt x="32" y="64"/>
                      <a:pt x="32" y="65"/>
                      <a:pt x="28" y="62"/>
                    </a:cubicBezTo>
                    <a:cubicBezTo>
                      <a:pt x="27" y="62"/>
                      <a:pt x="27" y="60"/>
                      <a:pt x="26" y="60"/>
                    </a:cubicBezTo>
                    <a:cubicBezTo>
                      <a:pt x="25" y="59"/>
                      <a:pt x="21" y="60"/>
                      <a:pt x="19" y="58"/>
                    </a:cubicBezTo>
                    <a:cubicBezTo>
                      <a:pt x="19" y="58"/>
                      <a:pt x="22" y="52"/>
                      <a:pt x="19" y="53"/>
                    </a:cubicBezTo>
                    <a:cubicBezTo>
                      <a:pt x="18" y="53"/>
                      <a:pt x="19" y="55"/>
                      <a:pt x="17" y="55"/>
                    </a:cubicBezTo>
                    <a:cubicBezTo>
                      <a:pt x="15" y="54"/>
                      <a:pt x="14" y="52"/>
                      <a:pt x="11" y="53"/>
                    </a:cubicBezTo>
                    <a:cubicBezTo>
                      <a:pt x="15" y="47"/>
                      <a:pt x="23" y="46"/>
                      <a:pt x="30" y="43"/>
                    </a:cubicBezTo>
                    <a:cubicBezTo>
                      <a:pt x="28" y="37"/>
                      <a:pt x="35" y="37"/>
                      <a:pt x="37" y="34"/>
                    </a:cubicBezTo>
                    <a:cubicBezTo>
                      <a:pt x="39" y="32"/>
                      <a:pt x="37" y="28"/>
                      <a:pt x="39" y="27"/>
                    </a:cubicBezTo>
                    <a:cubicBezTo>
                      <a:pt x="44" y="31"/>
                      <a:pt x="44" y="28"/>
                      <a:pt x="52" y="28"/>
                    </a:cubicBezTo>
                    <a:cubicBezTo>
                      <a:pt x="56" y="23"/>
                      <a:pt x="62" y="19"/>
                      <a:pt x="73" y="21"/>
                    </a:cubicBezTo>
                    <a:cubicBezTo>
                      <a:pt x="75" y="22"/>
                      <a:pt x="74" y="18"/>
                      <a:pt x="75" y="17"/>
                    </a:cubicBezTo>
                    <a:cubicBezTo>
                      <a:pt x="78" y="15"/>
                      <a:pt x="85" y="19"/>
                      <a:pt x="86" y="14"/>
                    </a:cubicBezTo>
                    <a:cubicBezTo>
                      <a:pt x="88" y="13"/>
                      <a:pt x="89" y="17"/>
                      <a:pt x="90" y="17"/>
                    </a:cubicBezTo>
                    <a:cubicBezTo>
                      <a:pt x="93" y="18"/>
                      <a:pt x="96" y="16"/>
                      <a:pt x="95" y="21"/>
                    </a:cubicBezTo>
                    <a:cubicBezTo>
                      <a:pt x="103" y="21"/>
                      <a:pt x="111" y="21"/>
                      <a:pt x="119" y="21"/>
                    </a:cubicBezTo>
                    <a:cubicBezTo>
                      <a:pt x="111" y="29"/>
                      <a:pt x="132" y="18"/>
                      <a:pt x="125" y="27"/>
                    </a:cubicBezTo>
                    <a:cubicBezTo>
                      <a:pt x="129" y="27"/>
                      <a:pt x="132" y="26"/>
                      <a:pt x="132" y="23"/>
                    </a:cubicBezTo>
                    <a:cubicBezTo>
                      <a:pt x="136" y="27"/>
                      <a:pt x="144" y="25"/>
                      <a:pt x="149" y="27"/>
                    </a:cubicBezTo>
                    <a:cubicBezTo>
                      <a:pt x="150" y="27"/>
                      <a:pt x="149" y="28"/>
                      <a:pt x="151" y="28"/>
                    </a:cubicBezTo>
                    <a:cubicBezTo>
                      <a:pt x="153" y="28"/>
                      <a:pt x="153" y="30"/>
                      <a:pt x="155" y="30"/>
                    </a:cubicBezTo>
                    <a:cubicBezTo>
                      <a:pt x="160" y="31"/>
                      <a:pt x="161" y="27"/>
                      <a:pt x="164" y="30"/>
                    </a:cubicBezTo>
                    <a:cubicBezTo>
                      <a:pt x="165" y="31"/>
                      <a:pt x="186" y="31"/>
                      <a:pt x="188" y="32"/>
                    </a:cubicBezTo>
                    <a:cubicBezTo>
                      <a:pt x="191" y="34"/>
                      <a:pt x="202" y="35"/>
                      <a:pt x="209" y="36"/>
                    </a:cubicBezTo>
                    <a:cubicBezTo>
                      <a:pt x="211" y="38"/>
                      <a:pt x="214" y="40"/>
                      <a:pt x="214" y="43"/>
                    </a:cubicBezTo>
                    <a:cubicBezTo>
                      <a:pt x="221" y="44"/>
                      <a:pt x="224" y="48"/>
                      <a:pt x="229" y="45"/>
                    </a:cubicBezTo>
                    <a:cubicBezTo>
                      <a:pt x="230" y="51"/>
                      <a:pt x="239" y="48"/>
                      <a:pt x="244" y="49"/>
                    </a:cubicBezTo>
                    <a:cubicBezTo>
                      <a:pt x="244" y="47"/>
                      <a:pt x="242" y="47"/>
                      <a:pt x="241" y="47"/>
                    </a:cubicBezTo>
                    <a:cubicBezTo>
                      <a:pt x="244" y="43"/>
                      <a:pt x="249" y="39"/>
                      <a:pt x="255" y="38"/>
                    </a:cubicBezTo>
                    <a:cubicBezTo>
                      <a:pt x="255" y="41"/>
                      <a:pt x="257" y="42"/>
                      <a:pt x="257" y="40"/>
                    </a:cubicBezTo>
                    <a:cubicBezTo>
                      <a:pt x="259" y="40"/>
                      <a:pt x="259" y="43"/>
                      <a:pt x="261" y="43"/>
                    </a:cubicBezTo>
                    <a:cubicBezTo>
                      <a:pt x="265" y="44"/>
                      <a:pt x="265" y="41"/>
                      <a:pt x="265" y="38"/>
                    </a:cubicBezTo>
                    <a:cubicBezTo>
                      <a:pt x="269" y="37"/>
                      <a:pt x="270" y="39"/>
                      <a:pt x="272" y="40"/>
                    </a:cubicBezTo>
                    <a:cubicBezTo>
                      <a:pt x="274" y="38"/>
                      <a:pt x="272" y="35"/>
                      <a:pt x="276" y="32"/>
                    </a:cubicBezTo>
                    <a:cubicBezTo>
                      <a:pt x="279" y="32"/>
                      <a:pt x="281" y="35"/>
                      <a:pt x="282" y="32"/>
                    </a:cubicBezTo>
                    <a:cubicBezTo>
                      <a:pt x="285" y="33"/>
                      <a:pt x="283" y="36"/>
                      <a:pt x="280" y="36"/>
                    </a:cubicBezTo>
                    <a:cubicBezTo>
                      <a:pt x="282" y="41"/>
                      <a:pt x="295" y="31"/>
                      <a:pt x="298" y="38"/>
                    </a:cubicBezTo>
                    <a:cubicBezTo>
                      <a:pt x="304" y="38"/>
                      <a:pt x="294" y="32"/>
                      <a:pt x="300" y="32"/>
                    </a:cubicBezTo>
                    <a:cubicBezTo>
                      <a:pt x="301" y="30"/>
                      <a:pt x="303" y="28"/>
                      <a:pt x="306" y="28"/>
                    </a:cubicBezTo>
                    <a:cubicBezTo>
                      <a:pt x="306" y="30"/>
                      <a:pt x="306" y="32"/>
                      <a:pt x="306" y="34"/>
                    </a:cubicBezTo>
                    <a:cubicBezTo>
                      <a:pt x="310" y="30"/>
                      <a:pt x="311" y="37"/>
                      <a:pt x="315" y="38"/>
                    </a:cubicBezTo>
                    <a:cubicBezTo>
                      <a:pt x="321" y="38"/>
                      <a:pt x="325" y="37"/>
                      <a:pt x="326" y="34"/>
                    </a:cubicBezTo>
                    <a:cubicBezTo>
                      <a:pt x="329" y="36"/>
                      <a:pt x="334" y="36"/>
                      <a:pt x="332" y="41"/>
                    </a:cubicBezTo>
                    <a:cubicBezTo>
                      <a:pt x="336" y="40"/>
                      <a:pt x="341" y="39"/>
                      <a:pt x="341" y="34"/>
                    </a:cubicBezTo>
                    <a:cubicBezTo>
                      <a:pt x="346" y="37"/>
                      <a:pt x="348" y="33"/>
                      <a:pt x="352" y="38"/>
                    </a:cubicBezTo>
                    <a:cubicBezTo>
                      <a:pt x="357" y="38"/>
                      <a:pt x="361" y="38"/>
                      <a:pt x="365" y="38"/>
                    </a:cubicBezTo>
                    <a:cubicBezTo>
                      <a:pt x="366" y="38"/>
                      <a:pt x="363" y="41"/>
                      <a:pt x="364" y="41"/>
                    </a:cubicBezTo>
                    <a:cubicBezTo>
                      <a:pt x="363" y="41"/>
                      <a:pt x="369" y="43"/>
                      <a:pt x="367" y="43"/>
                    </a:cubicBezTo>
                    <a:cubicBezTo>
                      <a:pt x="369" y="44"/>
                      <a:pt x="370" y="41"/>
                      <a:pt x="373" y="41"/>
                    </a:cubicBezTo>
                    <a:cubicBezTo>
                      <a:pt x="373" y="42"/>
                      <a:pt x="373" y="45"/>
                      <a:pt x="373" y="45"/>
                    </a:cubicBezTo>
                    <a:cubicBezTo>
                      <a:pt x="378" y="48"/>
                      <a:pt x="386" y="44"/>
                      <a:pt x="392" y="45"/>
                    </a:cubicBezTo>
                    <a:cubicBezTo>
                      <a:pt x="392" y="47"/>
                      <a:pt x="395" y="47"/>
                      <a:pt x="397" y="47"/>
                    </a:cubicBezTo>
                    <a:cubicBezTo>
                      <a:pt x="394" y="54"/>
                      <a:pt x="404" y="48"/>
                      <a:pt x="403" y="53"/>
                    </a:cubicBezTo>
                    <a:cubicBezTo>
                      <a:pt x="404" y="57"/>
                      <a:pt x="399" y="55"/>
                      <a:pt x="399" y="58"/>
                    </a:cubicBezTo>
                    <a:cubicBezTo>
                      <a:pt x="398" y="61"/>
                      <a:pt x="401" y="62"/>
                      <a:pt x="401" y="64"/>
                    </a:cubicBezTo>
                    <a:cubicBezTo>
                      <a:pt x="421" y="62"/>
                      <a:pt x="438" y="61"/>
                      <a:pt x="453" y="68"/>
                    </a:cubicBezTo>
                    <a:cubicBezTo>
                      <a:pt x="452" y="69"/>
                      <a:pt x="451" y="71"/>
                      <a:pt x="451" y="73"/>
                    </a:cubicBezTo>
                    <a:cubicBezTo>
                      <a:pt x="455" y="73"/>
                      <a:pt x="455" y="71"/>
                      <a:pt x="459" y="71"/>
                    </a:cubicBezTo>
                    <a:cubicBezTo>
                      <a:pt x="457" y="65"/>
                      <a:pt x="458" y="67"/>
                      <a:pt x="457" y="60"/>
                    </a:cubicBezTo>
                    <a:cubicBezTo>
                      <a:pt x="458" y="57"/>
                      <a:pt x="472" y="57"/>
                      <a:pt x="468" y="55"/>
                    </a:cubicBezTo>
                    <a:cubicBezTo>
                      <a:pt x="469" y="51"/>
                      <a:pt x="471" y="54"/>
                      <a:pt x="474" y="55"/>
                    </a:cubicBezTo>
                    <a:cubicBezTo>
                      <a:pt x="474" y="57"/>
                      <a:pt x="477" y="56"/>
                      <a:pt x="477" y="58"/>
                    </a:cubicBezTo>
                    <a:cubicBezTo>
                      <a:pt x="485" y="60"/>
                      <a:pt x="490" y="57"/>
                      <a:pt x="496" y="58"/>
                    </a:cubicBezTo>
                    <a:cubicBezTo>
                      <a:pt x="496" y="58"/>
                      <a:pt x="496" y="60"/>
                      <a:pt x="498" y="60"/>
                    </a:cubicBezTo>
                    <a:cubicBezTo>
                      <a:pt x="499" y="60"/>
                      <a:pt x="500" y="62"/>
                      <a:pt x="502" y="62"/>
                    </a:cubicBezTo>
                    <a:cubicBezTo>
                      <a:pt x="508" y="62"/>
                      <a:pt x="514" y="58"/>
                      <a:pt x="524" y="60"/>
                    </a:cubicBezTo>
                    <a:cubicBezTo>
                      <a:pt x="529" y="56"/>
                      <a:pt x="528" y="53"/>
                      <a:pt x="530" y="49"/>
                    </a:cubicBezTo>
                    <a:cubicBezTo>
                      <a:pt x="528" y="43"/>
                      <a:pt x="523" y="45"/>
                      <a:pt x="522" y="43"/>
                    </a:cubicBezTo>
                    <a:cubicBezTo>
                      <a:pt x="523" y="34"/>
                      <a:pt x="540" y="39"/>
                      <a:pt x="544" y="41"/>
                    </a:cubicBezTo>
                    <a:cubicBezTo>
                      <a:pt x="544" y="44"/>
                      <a:pt x="542" y="45"/>
                      <a:pt x="539" y="45"/>
                    </a:cubicBezTo>
                    <a:cubicBezTo>
                      <a:pt x="543" y="49"/>
                      <a:pt x="539" y="50"/>
                      <a:pt x="537" y="53"/>
                    </a:cubicBezTo>
                    <a:cubicBezTo>
                      <a:pt x="536" y="57"/>
                      <a:pt x="540" y="56"/>
                      <a:pt x="543" y="56"/>
                    </a:cubicBezTo>
                    <a:cubicBezTo>
                      <a:pt x="540" y="62"/>
                      <a:pt x="544" y="63"/>
                      <a:pt x="541" y="68"/>
                    </a:cubicBezTo>
                    <a:cubicBezTo>
                      <a:pt x="546" y="71"/>
                      <a:pt x="550" y="59"/>
                      <a:pt x="548" y="60"/>
                    </a:cubicBezTo>
                    <a:cubicBezTo>
                      <a:pt x="549" y="59"/>
                      <a:pt x="554" y="65"/>
                      <a:pt x="552" y="56"/>
                    </a:cubicBezTo>
                    <a:cubicBezTo>
                      <a:pt x="560" y="58"/>
                      <a:pt x="558" y="49"/>
                      <a:pt x="563" y="47"/>
                    </a:cubicBezTo>
                    <a:cubicBezTo>
                      <a:pt x="561" y="42"/>
                      <a:pt x="558" y="38"/>
                      <a:pt x="550" y="38"/>
                    </a:cubicBezTo>
                    <a:cubicBezTo>
                      <a:pt x="554" y="35"/>
                      <a:pt x="546" y="30"/>
                      <a:pt x="541" y="28"/>
                    </a:cubicBezTo>
                    <a:cubicBezTo>
                      <a:pt x="541" y="26"/>
                      <a:pt x="541" y="23"/>
                      <a:pt x="539" y="23"/>
                    </a:cubicBezTo>
                    <a:cubicBezTo>
                      <a:pt x="539" y="19"/>
                      <a:pt x="544" y="17"/>
                      <a:pt x="544" y="14"/>
                    </a:cubicBezTo>
                    <a:cubicBezTo>
                      <a:pt x="544" y="13"/>
                      <a:pt x="549" y="11"/>
                      <a:pt x="548" y="10"/>
                    </a:cubicBezTo>
                    <a:cubicBezTo>
                      <a:pt x="543" y="5"/>
                      <a:pt x="555" y="11"/>
                      <a:pt x="550" y="6"/>
                    </a:cubicBezTo>
                    <a:cubicBezTo>
                      <a:pt x="550" y="0"/>
                      <a:pt x="555" y="8"/>
                      <a:pt x="556" y="8"/>
                    </a:cubicBezTo>
                    <a:cubicBezTo>
                      <a:pt x="558" y="9"/>
                      <a:pt x="561" y="7"/>
                      <a:pt x="563" y="8"/>
                    </a:cubicBezTo>
                    <a:cubicBezTo>
                      <a:pt x="564" y="8"/>
                      <a:pt x="560" y="11"/>
                      <a:pt x="561" y="12"/>
                    </a:cubicBezTo>
                    <a:cubicBezTo>
                      <a:pt x="562" y="12"/>
                      <a:pt x="566" y="11"/>
                      <a:pt x="567" y="12"/>
                    </a:cubicBezTo>
                    <a:cubicBezTo>
                      <a:pt x="568" y="13"/>
                      <a:pt x="566" y="16"/>
                      <a:pt x="567" y="17"/>
                    </a:cubicBezTo>
                    <a:cubicBezTo>
                      <a:pt x="567" y="18"/>
                      <a:pt x="570" y="17"/>
                      <a:pt x="571" y="17"/>
                    </a:cubicBezTo>
                    <a:cubicBezTo>
                      <a:pt x="572" y="22"/>
                      <a:pt x="567" y="20"/>
                      <a:pt x="571" y="25"/>
                    </a:cubicBezTo>
                    <a:cubicBezTo>
                      <a:pt x="571" y="26"/>
                      <a:pt x="573" y="26"/>
                      <a:pt x="572" y="28"/>
                    </a:cubicBezTo>
                    <a:cubicBezTo>
                      <a:pt x="572" y="28"/>
                      <a:pt x="571" y="29"/>
                      <a:pt x="571" y="30"/>
                    </a:cubicBezTo>
                    <a:cubicBezTo>
                      <a:pt x="570" y="33"/>
                      <a:pt x="569" y="34"/>
                      <a:pt x="569" y="36"/>
                    </a:cubicBezTo>
                    <a:cubicBezTo>
                      <a:pt x="568" y="39"/>
                      <a:pt x="581" y="40"/>
                      <a:pt x="578" y="34"/>
                    </a:cubicBezTo>
                    <a:cubicBezTo>
                      <a:pt x="582" y="34"/>
                      <a:pt x="580" y="39"/>
                      <a:pt x="585" y="38"/>
                    </a:cubicBezTo>
                    <a:cubicBezTo>
                      <a:pt x="582" y="41"/>
                      <a:pt x="587" y="41"/>
                      <a:pt x="585" y="47"/>
                    </a:cubicBezTo>
                    <a:cubicBezTo>
                      <a:pt x="594" y="48"/>
                      <a:pt x="592" y="41"/>
                      <a:pt x="598" y="45"/>
                    </a:cubicBezTo>
                    <a:cubicBezTo>
                      <a:pt x="600" y="46"/>
                      <a:pt x="600" y="44"/>
                      <a:pt x="600" y="43"/>
                    </a:cubicBezTo>
                    <a:cubicBezTo>
                      <a:pt x="605" y="45"/>
                      <a:pt x="598" y="45"/>
                      <a:pt x="602" y="49"/>
                    </a:cubicBezTo>
                    <a:cubicBezTo>
                      <a:pt x="602" y="49"/>
                      <a:pt x="606" y="51"/>
                      <a:pt x="606" y="51"/>
                    </a:cubicBezTo>
                    <a:cubicBezTo>
                      <a:pt x="606" y="54"/>
                      <a:pt x="599" y="56"/>
                      <a:pt x="602" y="62"/>
                    </a:cubicBezTo>
                    <a:close/>
                    <a:moveTo>
                      <a:pt x="380" y="82"/>
                    </a:moveTo>
                    <a:cubicBezTo>
                      <a:pt x="380" y="79"/>
                      <a:pt x="383" y="78"/>
                      <a:pt x="380" y="77"/>
                    </a:cubicBezTo>
                    <a:cubicBezTo>
                      <a:pt x="380" y="78"/>
                      <a:pt x="380" y="79"/>
                      <a:pt x="379" y="79"/>
                    </a:cubicBezTo>
                    <a:cubicBezTo>
                      <a:pt x="378" y="77"/>
                      <a:pt x="379" y="73"/>
                      <a:pt x="377" y="73"/>
                    </a:cubicBezTo>
                    <a:cubicBezTo>
                      <a:pt x="374" y="76"/>
                      <a:pt x="366" y="82"/>
                      <a:pt x="362" y="77"/>
                    </a:cubicBezTo>
                    <a:cubicBezTo>
                      <a:pt x="361" y="72"/>
                      <a:pt x="370" y="78"/>
                      <a:pt x="367" y="71"/>
                    </a:cubicBezTo>
                    <a:cubicBezTo>
                      <a:pt x="366" y="71"/>
                      <a:pt x="364" y="71"/>
                      <a:pt x="364" y="69"/>
                    </a:cubicBezTo>
                    <a:cubicBezTo>
                      <a:pt x="360" y="68"/>
                      <a:pt x="359" y="72"/>
                      <a:pt x="356" y="73"/>
                    </a:cubicBezTo>
                    <a:cubicBezTo>
                      <a:pt x="352" y="74"/>
                      <a:pt x="348" y="74"/>
                      <a:pt x="343" y="75"/>
                    </a:cubicBezTo>
                    <a:cubicBezTo>
                      <a:pt x="343" y="75"/>
                      <a:pt x="343" y="77"/>
                      <a:pt x="341" y="77"/>
                    </a:cubicBezTo>
                    <a:cubicBezTo>
                      <a:pt x="335" y="79"/>
                      <a:pt x="329" y="79"/>
                      <a:pt x="323" y="79"/>
                    </a:cubicBezTo>
                    <a:cubicBezTo>
                      <a:pt x="323" y="82"/>
                      <a:pt x="320" y="84"/>
                      <a:pt x="323" y="84"/>
                    </a:cubicBezTo>
                    <a:cubicBezTo>
                      <a:pt x="323" y="82"/>
                      <a:pt x="325" y="83"/>
                      <a:pt x="324" y="86"/>
                    </a:cubicBezTo>
                    <a:cubicBezTo>
                      <a:pt x="333" y="87"/>
                      <a:pt x="344" y="79"/>
                      <a:pt x="347" y="86"/>
                    </a:cubicBezTo>
                    <a:cubicBezTo>
                      <a:pt x="343" y="82"/>
                      <a:pt x="345" y="87"/>
                      <a:pt x="341" y="88"/>
                    </a:cubicBezTo>
                    <a:cubicBezTo>
                      <a:pt x="338" y="88"/>
                      <a:pt x="335" y="89"/>
                      <a:pt x="334" y="92"/>
                    </a:cubicBezTo>
                    <a:cubicBezTo>
                      <a:pt x="344" y="93"/>
                      <a:pt x="349" y="90"/>
                      <a:pt x="358" y="90"/>
                    </a:cubicBezTo>
                    <a:cubicBezTo>
                      <a:pt x="358" y="92"/>
                      <a:pt x="358" y="95"/>
                      <a:pt x="360" y="96"/>
                    </a:cubicBezTo>
                    <a:cubicBezTo>
                      <a:pt x="360" y="93"/>
                      <a:pt x="363" y="94"/>
                      <a:pt x="365" y="94"/>
                    </a:cubicBezTo>
                    <a:cubicBezTo>
                      <a:pt x="366" y="90"/>
                      <a:pt x="367" y="87"/>
                      <a:pt x="369" y="86"/>
                    </a:cubicBezTo>
                    <a:cubicBezTo>
                      <a:pt x="373" y="83"/>
                      <a:pt x="372" y="86"/>
                      <a:pt x="377" y="86"/>
                    </a:cubicBezTo>
                    <a:cubicBezTo>
                      <a:pt x="377" y="84"/>
                      <a:pt x="377" y="82"/>
                      <a:pt x="380" y="82"/>
                    </a:cubicBezTo>
                    <a:close/>
                    <a:moveTo>
                      <a:pt x="393" y="146"/>
                    </a:moveTo>
                    <a:cubicBezTo>
                      <a:pt x="395" y="141"/>
                      <a:pt x="401" y="143"/>
                      <a:pt x="403" y="140"/>
                    </a:cubicBezTo>
                    <a:cubicBezTo>
                      <a:pt x="403" y="140"/>
                      <a:pt x="406" y="141"/>
                      <a:pt x="406" y="140"/>
                    </a:cubicBezTo>
                    <a:cubicBezTo>
                      <a:pt x="409" y="139"/>
                      <a:pt x="413" y="140"/>
                      <a:pt x="416" y="138"/>
                    </a:cubicBezTo>
                    <a:cubicBezTo>
                      <a:pt x="416" y="138"/>
                      <a:pt x="417" y="135"/>
                      <a:pt x="418" y="135"/>
                    </a:cubicBezTo>
                    <a:cubicBezTo>
                      <a:pt x="422" y="131"/>
                      <a:pt x="426" y="136"/>
                      <a:pt x="427" y="133"/>
                    </a:cubicBezTo>
                    <a:cubicBezTo>
                      <a:pt x="426" y="133"/>
                      <a:pt x="425" y="131"/>
                      <a:pt x="427" y="131"/>
                    </a:cubicBezTo>
                    <a:cubicBezTo>
                      <a:pt x="431" y="131"/>
                      <a:pt x="431" y="129"/>
                      <a:pt x="433" y="131"/>
                    </a:cubicBezTo>
                    <a:cubicBezTo>
                      <a:pt x="434" y="132"/>
                      <a:pt x="435" y="129"/>
                      <a:pt x="434" y="129"/>
                    </a:cubicBezTo>
                    <a:cubicBezTo>
                      <a:pt x="431" y="130"/>
                      <a:pt x="435" y="125"/>
                      <a:pt x="438" y="129"/>
                    </a:cubicBezTo>
                    <a:cubicBezTo>
                      <a:pt x="439" y="126"/>
                      <a:pt x="442" y="124"/>
                      <a:pt x="442" y="120"/>
                    </a:cubicBezTo>
                    <a:cubicBezTo>
                      <a:pt x="435" y="118"/>
                      <a:pt x="434" y="123"/>
                      <a:pt x="427" y="122"/>
                    </a:cubicBezTo>
                    <a:cubicBezTo>
                      <a:pt x="427" y="125"/>
                      <a:pt x="425" y="126"/>
                      <a:pt x="423" y="127"/>
                    </a:cubicBezTo>
                    <a:cubicBezTo>
                      <a:pt x="417" y="130"/>
                      <a:pt x="419" y="126"/>
                      <a:pt x="414" y="127"/>
                    </a:cubicBezTo>
                    <a:cubicBezTo>
                      <a:pt x="413" y="127"/>
                      <a:pt x="413" y="129"/>
                      <a:pt x="410" y="129"/>
                    </a:cubicBezTo>
                    <a:cubicBezTo>
                      <a:pt x="408" y="129"/>
                      <a:pt x="407" y="126"/>
                      <a:pt x="403" y="127"/>
                    </a:cubicBezTo>
                    <a:cubicBezTo>
                      <a:pt x="402" y="126"/>
                      <a:pt x="403" y="124"/>
                      <a:pt x="401" y="123"/>
                    </a:cubicBezTo>
                    <a:cubicBezTo>
                      <a:pt x="401" y="126"/>
                      <a:pt x="400" y="128"/>
                      <a:pt x="399" y="129"/>
                    </a:cubicBezTo>
                    <a:cubicBezTo>
                      <a:pt x="399" y="132"/>
                      <a:pt x="402" y="131"/>
                      <a:pt x="403" y="133"/>
                    </a:cubicBezTo>
                    <a:cubicBezTo>
                      <a:pt x="397" y="131"/>
                      <a:pt x="397" y="135"/>
                      <a:pt x="395" y="137"/>
                    </a:cubicBezTo>
                    <a:cubicBezTo>
                      <a:pt x="393" y="139"/>
                      <a:pt x="388" y="137"/>
                      <a:pt x="388" y="140"/>
                    </a:cubicBezTo>
                    <a:cubicBezTo>
                      <a:pt x="388" y="145"/>
                      <a:pt x="379" y="139"/>
                      <a:pt x="382" y="146"/>
                    </a:cubicBezTo>
                    <a:cubicBezTo>
                      <a:pt x="386" y="146"/>
                      <a:pt x="390" y="146"/>
                      <a:pt x="393" y="146"/>
                    </a:cubicBezTo>
                    <a:close/>
                    <a:moveTo>
                      <a:pt x="530" y="219"/>
                    </a:moveTo>
                    <a:cubicBezTo>
                      <a:pt x="528" y="219"/>
                      <a:pt x="528" y="220"/>
                      <a:pt x="528" y="220"/>
                    </a:cubicBezTo>
                    <a:cubicBezTo>
                      <a:pt x="527" y="221"/>
                      <a:pt x="522" y="222"/>
                      <a:pt x="522" y="222"/>
                    </a:cubicBezTo>
                    <a:cubicBezTo>
                      <a:pt x="521" y="224"/>
                      <a:pt x="524" y="230"/>
                      <a:pt x="520" y="230"/>
                    </a:cubicBezTo>
                    <a:cubicBezTo>
                      <a:pt x="520" y="228"/>
                      <a:pt x="521" y="224"/>
                      <a:pt x="518" y="224"/>
                    </a:cubicBezTo>
                    <a:cubicBezTo>
                      <a:pt x="518" y="227"/>
                      <a:pt x="518" y="229"/>
                      <a:pt x="518" y="232"/>
                    </a:cubicBezTo>
                    <a:cubicBezTo>
                      <a:pt x="521" y="232"/>
                      <a:pt x="525" y="232"/>
                      <a:pt x="528" y="232"/>
                    </a:cubicBezTo>
                    <a:cubicBezTo>
                      <a:pt x="526" y="234"/>
                      <a:pt x="531" y="237"/>
                      <a:pt x="531" y="239"/>
                    </a:cubicBezTo>
                    <a:cubicBezTo>
                      <a:pt x="533" y="245"/>
                      <a:pt x="534" y="243"/>
                      <a:pt x="537" y="247"/>
                    </a:cubicBezTo>
                    <a:cubicBezTo>
                      <a:pt x="535" y="247"/>
                      <a:pt x="533" y="247"/>
                      <a:pt x="533" y="250"/>
                    </a:cubicBezTo>
                    <a:cubicBezTo>
                      <a:pt x="533" y="253"/>
                      <a:pt x="536" y="253"/>
                      <a:pt x="535" y="256"/>
                    </a:cubicBezTo>
                    <a:cubicBezTo>
                      <a:pt x="538" y="256"/>
                      <a:pt x="540" y="256"/>
                      <a:pt x="543" y="256"/>
                    </a:cubicBezTo>
                    <a:cubicBezTo>
                      <a:pt x="545" y="254"/>
                      <a:pt x="545" y="249"/>
                      <a:pt x="544" y="245"/>
                    </a:cubicBezTo>
                    <a:cubicBezTo>
                      <a:pt x="542" y="244"/>
                      <a:pt x="540" y="243"/>
                      <a:pt x="539" y="241"/>
                    </a:cubicBezTo>
                    <a:cubicBezTo>
                      <a:pt x="542" y="231"/>
                      <a:pt x="539" y="236"/>
                      <a:pt x="537" y="233"/>
                    </a:cubicBezTo>
                    <a:cubicBezTo>
                      <a:pt x="534" y="230"/>
                      <a:pt x="535" y="223"/>
                      <a:pt x="533" y="219"/>
                    </a:cubicBezTo>
                    <a:cubicBezTo>
                      <a:pt x="532" y="219"/>
                      <a:pt x="531" y="218"/>
                      <a:pt x="530" y="219"/>
                    </a:cubicBezTo>
                    <a:close/>
                    <a:moveTo>
                      <a:pt x="602" y="276"/>
                    </a:moveTo>
                    <a:cubicBezTo>
                      <a:pt x="596" y="274"/>
                      <a:pt x="598" y="279"/>
                      <a:pt x="595" y="280"/>
                    </a:cubicBezTo>
                    <a:cubicBezTo>
                      <a:pt x="594" y="279"/>
                      <a:pt x="593" y="278"/>
                      <a:pt x="591" y="278"/>
                    </a:cubicBezTo>
                    <a:cubicBezTo>
                      <a:pt x="591" y="285"/>
                      <a:pt x="584" y="281"/>
                      <a:pt x="582" y="284"/>
                    </a:cubicBezTo>
                    <a:cubicBezTo>
                      <a:pt x="580" y="285"/>
                      <a:pt x="582" y="286"/>
                      <a:pt x="580" y="288"/>
                    </a:cubicBezTo>
                    <a:cubicBezTo>
                      <a:pt x="579" y="288"/>
                      <a:pt x="576" y="287"/>
                      <a:pt x="576" y="289"/>
                    </a:cubicBezTo>
                    <a:cubicBezTo>
                      <a:pt x="579" y="290"/>
                      <a:pt x="576" y="292"/>
                      <a:pt x="576" y="295"/>
                    </a:cubicBezTo>
                    <a:cubicBezTo>
                      <a:pt x="580" y="298"/>
                      <a:pt x="581" y="292"/>
                      <a:pt x="584" y="291"/>
                    </a:cubicBezTo>
                    <a:cubicBezTo>
                      <a:pt x="587" y="290"/>
                      <a:pt x="591" y="292"/>
                      <a:pt x="595" y="291"/>
                    </a:cubicBezTo>
                    <a:cubicBezTo>
                      <a:pt x="597" y="291"/>
                      <a:pt x="597" y="290"/>
                      <a:pt x="600" y="289"/>
                    </a:cubicBezTo>
                    <a:cubicBezTo>
                      <a:pt x="605" y="289"/>
                      <a:pt x="610" y="291"/>
                      <a:pt x="612" y="293"/>
                    </a:cubicBezTo>
                    <a:cubicBezTo>
                      <a:pt x="610" y="294"/>
                      <a:pt x="608" y="293"/>
                      <a:pt x="608" y="295"/>
                    </a:cubicBezTo>
                    <a:cubicBezTo>
                      <a:pt x="609" y="294"/>
                      <a:pt x="610" y="297"/>
                      <a:pt x="610" y="297"/>
                    </a:cubicBezTo>
                    <a:cubicBezTo>
                      <a:pt x="611" y="297"/>
                      <a:pt x="612" y="295"/>
                      <a:pt x="612" y="295"/>
                    </a:cubicBezTo>
                    <a:cubicBezTo>
                      <a:pt x="619" y="296"/>
                      <a:pt x="616" y="296"/>
                      <a:pt x="621" y="293"/>
                    </a:cubicBezTo>
                    <a:cubicBezTo>
                      <a:pt x="627" y="290"/>
                      <a:pt x="630" y="295"/>
                      <a:pt x="634" y="291"/>
                    </a:cubicBezTo>
                    <a:cubicBezTo>
                      <a:pt x="629" y="290"/>
                      <a:pt x="635" y="283"/>
                      <a:pt x="630" y="288"/>
                    </a:cubicBezTo>
                    <a:cubicBezTo>
                      <a:pt x="627" y="291"/>
                      <a:pt x="626" y="280"/>
                      <a:pt x="626" y="280"/>
                    </a:cubicBezTo>
                    <a:cubicBezTo>
                      <a:pt x="626" y="279"/>
                      <a:pt x="621" y="280"/>
                      <a:pt x="623" y="276"/>
                    </a:cubicBezTo>
                    <a:cubicBezTo>
                      <a:pt x="620" y="276"/>
                      <a:pt x="616" y="276"/>
                      <a:pt x="613" y="276"/>
                    </a:cubicBezTo>
                    <a:cubicBezTo>
                      <a:pt x="614" y="274"/>
                      <a:pt x="616" y="273"/>
                      <a:pt x="613" y="271"/>
                    </a:cubicBezTo>
                    <a:cubicBezTo>
                      <a:pt x="607" y="273"/>
                      <a:pt x="609" y="271"/>
                      <a:pt x="602" y="271"/>
                    </a:cubicBezTo>
                    <a:cubicBezTo>
                      <a:pt x="601" y="273"/>
                      <a:pt x="600" y="274"/>
                      <a:pt x="602" y="276"/>
                    </a:cubicBezTo>
                    <a:close/>
                    <a:moveTo>
                      <a:pt x="653" y="323"/>
                    </a:moveTo>
                    <a:cubicBezTo>
                      <a:pt x="651" y="323"/>
                      <a:pt x="650" y="323"/>
                      <a:pt x="651" y="321"/>
                    </a:cubicBezTo>
                    <a:cubicBezTo>
                      <a:pt x="659" y="323"/>
                      <a:pt x="651" y="309"/>
                      <a:pt x="658" y="310"/>
                    </a:cubicBezTo>
                    <a:cubicBezTo>
                      <a:pt x="662" y="314"/>
                      <a:pt x="663" y="309"/>
                      <a:pt x="669" y="310"/>
                    </a:cubicBezTo>
                    <a:cubicBezTo>
                      <a:pt x="666" y="299"/>
                      <a:pt x="653" y="297"/>
                      <a:pt x="641" y="299"/>
                    </a:cubicBezTo>
                    <a:cubicBezTo>
                      <a:pt x="640" y="298"/>
                      <a:pt x="639" y="297"/>
                      <a:pt x="639" y="295"/>
                    </a:cubicBezTo>
                    <a:cubicBezTo>
                      <a:pt x="635" y="294"/>
                      <a:pt x="634" y="299"/>
                      <a:pt x="630" y="299"/>
                    </a:cubicBezTo>
                    <a:cubicBezTo>
                      <a:pt x="628" y="299"/>
                      <a:pt x="627" y="296"/>
                      <a:pt x="625" y="297"/>
                    </a:cubicBezTo>
                    <a:cubicBezTo>
                      <a:pt x="622" y="298"/>
                      <a:pt x="621" y="300"/>
                      <a:pt x="619" y="301"/>
                    </a:cubicBezTo>
                    <a:cubicBezTo>
                      <a:pt x="616" y="302"/>
                      <a:pt x="614" y="301"/>
                      <a:pt x="612" y="302"/>
                    </a:cubicBezTo>
                    <a:cubicBezTo>
                      <a:pt x="612" y="306"/>
                      <a:pt x="610" y="307"/>
                      <a:pt x="608" y="308"/>
                    </a:cubicBezTo>
                    <a:cubicBezTo>
                      <a:pt x="608" y="323"/>
                      <a:pt x="605" y="324"/>
                      <a:pt x="606" y="340"/>
                    </a:cubicBezTo>
                    <a:cubicBezTo>
                      <a:pt x="613" y="342"/>
                      <a:pt x="609" y="335"/>
                      <a:pt x="615" y="336"/>
                    </a:cubicBezTo>
                    <a:cubicBezTo>
                      <a:pt x="615" y="333"/>
                      <a:pt x="616" y="330"/>
                      <a:pt x="617" y="329"/>
                    </a:cubicBezTo>
                    <a:cubicBezTo>
                      <a:pt x="620" y="324"/>
                      <a:pt x="618" y="319"/>
                      <a:pt x="619" y="314"/>
                    </a:cubicBezTo>
                    <a:cubicBezTo>
                      <a:pt x="619" y="313"/>
                      <a:pt x="622" y="311"/>
                      <a:pt x="623" y="310"/>
                    </a:cubicBezTo>
                    <a:cubicBezTo>
                      <a:pt x="624" y="308"/>
                      <a:pt x="622" y="304"/>
                      <a:pt x="625" y="304"/>
                    </a:cubicBezTo>
                    <a:cubicBezTo>
                      <a:pt x="628" y="304"/>
                      <a:pt x="630" y="304"/>
                      <a:pt x="632" y="302"/>
                    </a:cubicBezTo>
                    <a:cubicBezTo>
                      <a:pt x="629" y="309"/>
                      <a:pt x="638" y="304"/>
                      <a:pt x="638" y="308"/>
                    </a:cubicBezTo>
                    <a:cubicBezTo>
                      <a:pt x="639" y="314"/>
                      <a:pt x="639" y="312"/>
                      <a:pt x="638" y="317"/>
                    </a:cubicBezTo>
                    <a:cubicBezTo>
                      <a:pt x="639" y="318"/>
                      <a:pt x="641" y="317"/>
                      <a:pt x="641" y="319"/>
                    </a:cubicBezTo>
                    <a:cubicBezTo>
                      <a:pt x="640" y="320"/>
                      <a:pt x="638" y="319"/>
                      <a:pt x="638" y="321"/>
                    </a:cubicBezTo>
                    <a:cubicBezTo>
                      <a:pt x="644" y="319"/>
                      <a:pt x="650" y="327"/>
                      <a:pt x="653" y="323"/>
                    </a:cubicBezTo>
                    <a:close/>
                    <a:moveTo>
                      <a:pt x="686" y="315"/>
                    </a:moveTo>
                    <a:cubicBezTo>
                      <a:pt x="686" y="315"/>
                      <a:pt x="686" y="319"/>
                      <a:pt x="686" y="319"/>
                    </a:cubicBezTo>
                    <a:cubicBezTo>
                      <a:pt x="683" y="322"/>
                      <a:pt x="675" y="314"/>
                      <a:pt x="671" y="317"/>
                    </a:cubicBezTo>
                    <a:cubicBezTo>
                      <a:pt x="672" y="321"/>
                      <a:pt x="669" y="321"/>
                      <a:pt x="667" y="323"/>
                    </a:cubicBezTo>
                    <a:cubicBezTo>
                      <a:pt x="672" y="328"/>
                      <a:pt x="673" y="325"/>
                      <a:pt x="679" y="325"/>
                    </a:cubicBezTo>
                    <a:cubicBezTo>
                      <a:pt x="683" y="325"/>
                      <a:pt x="689" y="326"/>
                      <a:pt x="692" y="323"/>
                    </a:cubicBezTo>
                    <a:cubicBezTo>
                      <a:pt x="691" y="323"/>
                      <a:pt x="690" y="321"/>
                      <a:pt x="692" y="321"/>
                    </a:cubicBezTo>
                    <a:cubicBezTo>
                      <a:pt x="693" y="321"/>
                      <a:pt x="695" y="321"/>
                      <a:pt x="695" y="319"/>
                    </a:cubicBezTo>
                    <a:cubicBezTo>
                      <a:pt x="691" y="319"/>
                      <a:pt x="689" y="316"/>
                      <a:pt x="686" y="315"/>
                    </a:cubicBezTo>
                    <a:close/>
                    <a:moveTo>
                      <a:pt x="660" y="330"/>
                    </a:moveTo>
                    <a:cubicBezTo>
                      <a:pt x="659" y="330"/>
                      <a:pt x="659" y="327"/>
                      <a:pt x="656" y="329"/>
                    </a:cubicBezTo>
                    <a:cubicBezTo>
                      <a:pt x="656" y="329"/>
                      <a:pt x="657" y="332"/>
                      <a:pt x="656" y="332"/>
                    </a:cubicBezTo>
                    <a:cubicBezTo>
                      <a:pt x="653" y="332"/>
                      <a:pt x="650" y="332"/>
                      <a:pt x="647" y="332"/>
                    </a:cubicBezTo>
                    <a:cubicBezTo>
                      <a:pt x="650" y="339"/>
                      <a:pt x="641" y="333"/>
                      <a:pt x="641" y="338"/>
                    </a:cubicBezTo>
                    <a:cubicBezTo>
                      <a:pt x="643" y="338"/>
                      <a:pt x="645" y="338"/>
                      <a:pt x="647" y="338"/>
                    </a:cubicBezTo>
                    <a:cubicBezTo>
                      <a:pt x="647" y="340"/>
                      <a:pt x="645" y="340"/>
                      <a:pt x="645" y="342"/>
                    </a:cubicBezTo>
                    <a:cubicBezTo>
                      <a:pt x="650" y="343"/>
                      <a:pt x="649" y="338"/>
                      <a:pt x="653" y="338"/>
                    </a:cubicBezTo>
                    <a:cubicBezTo>
                      <a:pt x="655" y="339"/>
                      <a:pt x="658" y="340"/>
                      <a:pt x="662" y="340"/>
                    </a:cubicBezTo>
                    <a:cubicBezTo>
                      <a:pt x="661" y="332"/>
                      <a:pt x="674" y="338"/>
                      <a:pt x="671" y="329"/>
                    </a:cubicBezTo>
                    <a:cubicBezTo>
                      <a:pt x="665" y="327"/>
                      <a:pt x="662" y="331"/>
                      <a:pt x="660" y="33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119" name="iśḷiḋé">
                <a:extLst>
                  <a:ext uri="{FF2B5EF4-FFF2-40B4-BE49-F238E27FC236}">
                    <a16:creationId xmlns:a16="http://schemas.microsoft.com/office/drawing/2014/main" id="{3ACD0420-C99B-4774-90A1-01C2A36442F5}"/>
                  </a:ext>
                </a:extLst>
              </p:cNvPr>
              <p:cNvSpPr/>
              <p:nvPr/>
            </p:nvSpPr>
            <p:spPr bwMode="auto">
              <a:xfrm>
                <a:off x="5559320" y="1164304"/>
                <a:ext cx="126070" cy="191908"/>
              </a:xfrm>
              <a:custGeom>
                <a:avLst/>
                <a:gdLst>
                  <a:gd name="T0" fmla="*/ 16 w 60"/>
                  <a:gd name="T1" fmla="*/ 9 h 92"/>
                  <a:gd name="T2" fmla="*/ 30 w 60"/>
                  <a:gd name="T3" fmla="*/ 7 h 92"/>
                  <a:gd name="T4" fmla="*/ 31 w 60"/>
                  <a:gd name="T5" fmla="*/ 19 h 92"/>
                  <a:gd name="T6" fmla="*/ 22 w 60"/>
                  <a:gd name="T7" fmla="*/ 24 h 92"/>
                  <a:gd name="T8" fmla="*/ 33 w 60"/>
                  <a:gd name="T9" fmla="*/ 30 h 92"/>
                  <a:gd name="T10" fmla="*/ 39 w 60"/>
                  <a:gd name="T11" fmla="*/ 43 h 92"/>
                  <a:gd name="T12" fmla="*/ 43 w 60"/>
                  <a:gd name="T13" fmla="*/ 47 h 92"/>
                  <a:gd name="T14" fmla="*/ 50 w 60"/>
                  <a:gd name="T15" fmla="*/ 50 h 92"/>
                  <a:gd name="T16" fmla="*/ 46 w 60"/>
                  <a:gd name="T17" fmla="*/ 58 h 92"/>
                  <a:gd name="T18" fmla="*/ 58 w 60"/>
                  <a:gd name="T19" fmla="*/ 60 h 92"/>
                  <a:gd name="T20" fmla="*/ 58 w 60"/>
                  <a:gd name="T21" fmla="*/ 71 h 92"/>
                  <a:gd name="T22" fmla="*/ 54 w 60"/>
                  <a:gd name="T23" fmla="*/ 71 h 92"/>
                  <a:gd name="T24" fmla="*/ 58 w 60"/>
                  <a:gd name="T25" fmla="*/ 73 h 92"/>
                  <a:gd name="T26" fmla="*/ 54 w 60"/>
                  <a:gd name="T27" fmla="*/ 78 h 92"/>
                  <a:gd name="T28" fmla="*/ 48 w 60"/>
                  <a:gd name="T29" fmla="*/ 82 h 92"/>
                  <a:gd name="T30" fmla="*/ 30 w 60"/>
                  <a:gd name="T31" fmla="*/ 80 h 92"/>
                  <a:gd name="T32" fmla="*/ 22 w 60"/>
                  <a:gd name="T33" fmla="*/ 82 h 92"/>
                  <a:gd name="T34" fmla="*/ 9 w 60"/>
                  <a:gd name="T35" fmla="*/ 82 h 92"/>
                  <a:gd name="T36" fmla="*/ 13 w 60"/>
                  <a:gd name="T37" fmla="*/ 80 h 92"/>
                  <a:gd name="T38" fmla="*/ 15 w 60"/>
                  <a:gd name="T39" fmla="*/ 82 h 92"/>
                  <a:gd name="T40" fmla="*/ 16 w 60"/>
                  <a:gd name="T41" fmla="*/ 78 h 92"/>
                  <a:gd name="T42" fmla="*/ 28 w 60"/>
                  <a:gd name="T43" fmla="*/ 76 h 92"/>
                  <a:gd name="T44" fmla="*/ 13 w 60"/>
                  <a:gd name="T45" fmla="*/ 71 h 92"/>
                  <a:gd name="T46" fmla="*/ 13 w 60"/>
                  <a:gd name="T47" fmla="*/ 60 h 92"/>
                  <a:gd name="T48" fmla="*/ 16 w 60"/>
                  <a:gd name="T49" fmla="*/ 58 h 92"/>
                  <a:gd name="T50" fmla="*/ 24 w 60"/>
                  <a:gd name="T51" fmla="*/ 58 h 92"/>
                  <a:gd name="T52" fmla="*/ 26 w 60"/>
                  <a:gd name="T53" fmla="*/ 47 h 92"/>
                  <a:gd name="T54" fmla="*/ 20 w 60"/>
                  <a:gd name="T55" fmla="*/ 39 h 92"/>
                  <a:gd name="T56" fmla="*/ 13 w 60"/>
                  <a:gd name="T57" fmla="*/ 41 h 92"/>
                  <a:gd name="T58" fmla="*/ 13 w 60"/>
                  <a:gd name="T59" fmla="*/ 32 h 92"/>
                  <a:gd name="T60" fmla="*/ 5 w 60"/>
                  <a:gd name="T61" fmla="*/ 28 h 92"/>
                  <a:gd name="T62" fmla="*/ 0 w 60"/>
                  <a:gd name="T63" fmla="*/ 9 h 92"/>
                  <a:gd name="T64" fmla="*/ 9 w 60"/>
                  <a:gd name="T65" fmla="*/ 0 h 92"/>
                  <a:gd name="T66" fmla="*/ 26 w 60"/>
                  <a:gd name="T67" fmla="*/ 0 h 92"/>
                  <a:gd name="T68" fmla="*/ 16 w 60"/>
                  <a:gd name="T69" fmla="*/ 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0" h="92">
                    <a:moveTo>
                      <a:pt x="16" y="9"/>
                    </a:moveTo>
                    <a:cubicBezTo>
                      <a:pt x="18" y="13"/>
                      <a:pt x="26" y="7"/>
                      <a:pt x="30" y="7"/>
                    </a:cubicBezTo>
                    <a:cubicBezTo>
                      <a:pt x="32" y="10"/>
                      <a:pt x="32" y="14"/>
                      <a:pt x="31" y="19"/>
                    </a:cubicBezTo>
                    <a:cubicBezTo>
                      <a:pt x="27" y="19"/>
                      <a:pt x="23" y="21"/>
                      <a:pt x="22" y="24"/>
                    </a:cubicBezTo>
                    <a:cubicBezTo>
                      <a:pt x="24" y="28"/>
                      <a:pt x="28" y="30"/>
                      <a:pt x="33" y="30"/>
                    </a:cubicBezTo>
                    <a:cubicBezTo>
                      <a:pt x="33" y="37"/>
                      <a:pt x="41" y="35"/>
                      <a:pt x="39" y="43"/>
                    </a:cubicBezTo>
                    <a:cubicBezTo>
                      <a:pt x="39" y="45"/>
                      <a:pt x="43" y="44"/>
                      <a:pt x="43" y="47"/>
                    </a:cubicBezTo>
                    <a:cubicBezTo>
                      <a:pt x="43" y="50"/>
                      <a:pt x="49" y="48"/>
                      <a:pt x="50" y="50"/>
                    </a:cubicBezTo>
                    <a:cubicBezTo>
                      <a:pt x="49" y="53"/>
                      <a:pt x="47" y="55"/>
                      <a:pt x="46" y="58"/>
                    </a:cubicBezTo>
                    <a:cubicBezTo>
                      <a:pt x="51" y="57"/>
                      <a:pt x="55" y="57"/>
                      <a:pt x="58" y="60"/>
                    </a:cubicBezTo>
                    <a:cubicBezTo>
                      <a:pt x="55" y="62"/>
                      <a:pt x="60" y="68"/>
                      <a:pt x="58" y="71"/>
                    </a:cubicBezTo>
                    <a:cubicBezTo>
                      <a:pt x="57" y="71"/>
                      <a:pt x="54" y="70"/>
                      <a:pt x="54" y="71"/>
                    </a:cubicBezTo>
                    <a:cubicBezTo>
                      <a:pt x="53" y="73"/>
                      <a:pt x="56" y="72"/>
                      <a:pt x="58" y="73"/>
                    </a:cubicBezTo>
                    <a:cubicBezTo>
                      <a:pt x="56" y="75"/>
                      <a:pt x="53" y="75"/>
                      <a:pt x="54" y="78"/>
                    </a:cubicBezTo>
                    <a:cubicBezTo>
                      <a:pt x="51" y="79"/>
                      <a:pt x="51" y="82"/>
                      <a:pt x="48" y="82"/>
                    </a:cubicBezTo>
                    <a:cubicBezTo>
                      <a:pt x="42" y="81"/>
                      <a:pt x="38" y="79"/>
                      <a:pt x="30" y="80"/>
                    </a:cubicBezTo>
                    <a:cubicBezTo>
                      <a:pt x="26" y="84"/>
                      <a:pt x="28" y="84"/>
                      <a:pt x="22" y="82"/>
                    </a:cubicBezTo>
                    <a:cubicBezTo>
                      <a:pt x="20" y="86"/>
                      <a:pt x="9" y="92"/>
                      <a:pt x="9" y="82"/>
                    </a:cubicBezTo>
                    <a:cubicBezTo>
                      <a:pt x="11" y="83"/>
                      <a:pt x="12" y="80"/>
                      <a:pt x="13" y="80"/>
                    </a:cubicBezTo>
                    <a:cubicBezTo>
                      <a:pt x="14" y="80"/>
                      <a:pt x="15" y="82"/>
                      <a:pt x="15" y="82"/>
                    </a:cubicBezTo>
                    <a:cubicBezTo>
                      <a:pt x="17" y="81"/>
                      <a:pt x="15" y="79"/>
                      <a:pt x="16" y="78"/>
                    </a:cubicBezTo>
                    <a:cubicBezTo>
                      <a:pt x="19" y="76"/>
                      <a:pt x="23" y="78"/>
                      <a:pt x="28" y="76"/>
                    </a:cubicBezTo>
                    <a:cubicBezTo>
                      <a:pt x="26" y="67"/>
                      <a:pt x="18" y="74"/>
                      <a:pt x="13" y="71"/>
                    </a:cubicBezTo>
                    <a:cubicBezTo>
                      <a:pt x="13" y="67"/>
                      <a:pt x="13" y="63"/>
                      <a:pt x="13" y="60"/>
                    </a:cubicBezTo>
                    <a:cubicBezTo>
                      <a:pt x="16" y="60"/>
                      <a:pt x="20" y="58"/>
                      <a:pt x="16" y="58"/>
                    </a:cubicBezTo>
                    <a:cubicBezTo>
                      <a:pt x="18" y="52"/>
                      <a:pt x="21" y="60"/>
                      <a:pt x="24" y="58"/>
                    </a:cubicBezTo>
                    <a:cubicBezTo>
                      <a:pt x="28" y="58"/>
                      <a:pt x="21" y="50"/>
                      <a:pt x="26" y="47"/>
                    </a:cubicBezTo>
                    <a:cubicBezTo>
                      <a:pt x="25" y="43"/>
                      <a:pt x="19" y="45"/>
                      <a:pt x="20" y="39"/>
                    </a:cubicBezTo>
                    <a:cubicBezTo>
                      <a:pt x="19" y="41"/>
                      <a:pt x="16" y="41"/>
                      <a:pt x="13" y="41"/>
                    </a:cubicBezTo>
                    <a:cubicBezTo>
                      <a:pt x="13" y="38"/>
                      <a:pt x="13" y="35"/>
                      <a:pt x="13" y="32"/>
                    </a:cubicBezTo>
                    <a:cubicBezTo>
                      <a:pt x="13" y="28"/>
                      <a:pt x="6" y="31"/>
                      <a:pt x="5" y="28"/>
                    </a:cubicBezTo>
                    <a:cubicBezTo>
                      <a:pt x="9" y="21"/>
                      <a:pt x="8" y="10"/>
                      <a:pt x="0" y="9"/>
                    </a:cubicBezTo>
                    <a:cubicBezTo>
                      <a:pt x="3" y="6"/>
                      <a:pt x="8" y="5"/>
                      <a:pt x="9" y="0"/>
                    </a:cubicBezTo>
                    <a:cubicBezTo>
                      <a:pt x="15" y="0"/>
                      <a:pt x="20" y="0"/>
                      <a:pt x="26" y="0"/>
                    </a:cubicBezTo>
                    <a:cubicBezTo>
                      <a:pt x="22" y="3"/>
                      <a:pt x="19" y="6"/>
                      <a:pt x="16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475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120" name="ísļîḋé">
                <a:extLst>
                  <a:ext uri="{FF2B5EF4-FFF2-40B4-BE49-F238E27FC236}">
                    <a16:creationId xmlns:a16="http://schemas.microsoft.com/office/drawing/2014/main" id="{7E30B65F-BE56-46D1-8E14-9162C6AB1CB1}"/>
                  </a:ext>
                </a:extLst>
              </p:cNvPr>
              <p:cNvSpPr/>
              <p:nvPr/>
            </p:nvSpPr>
            <p:spPr bwMode="auto">
              <a:xfrm>
                <a:off x="3213011" y="1172709"/>
                <a:ext cx="35020" cy="28016"/>
              </a:xfrm>
              <a:custGeom>
                <a:avLst/>
                <a:gdLst>
                  <a:gd name="T0" fmla="*/ 15 w 17"/>
                  <a:gd name="T1" fmla="*/ 2 h 13"/>
                  <a:gd name="T2" fmla="*/ 17 w 17"/>
                  <a:gd name="T3" fmla="*/ 9 h 13"/>
                  <a:gd name="T4" fmla="*/ 8 w 17"/>
                  <a:gd name="T5" fmla="*/ 13 h 13"/>
                  <a:gd name="T6" fmla="*/ 8 w 17"/>
                  <a:gd name="T7" fmla="*/ 9 h 13"/>
                  <a:gd name="T8" fmla="*/ 4 w 17"/>
                  <a:gd name="T9" fmla="*/ 11 h 13"/>
                  <a:gd name="T10" fmla="*/ 6 w 17"/>
                  <a:gd name="T11" fmla="*/ 9 h 13"/>
                  <a:gd name="T12" fmla="*/ 15 w 17"/>
                  <a:gd name="T13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" h="13">
                    <a:moveTo>
                      <a:pt x="15" y="2"/>
                    </a:moveTo>
                    <a:cubicBezTo>
                      <a:pt x="13" y="4"/>
                      <a:pt x="14" y="7"/>
                      <a:pt x="17" y="9"/>
                    </a:cubicBezTo>
                    <a:cubicBezTo>
                      <a:pt x="15" y="12"/>
                      <a:pt x="11" y="12"/>
                      <a:pt x="8" y="13"/>
                    </a:cubicBezTo>
                    <a:cubicBezTo>
                      <a:pt x="8" y="12"/>
                      <a:pt x="8" y="10"/>
                      <a:pt x="8" y="9"/>
                    </a:cubicBezTo>
                    <a:cubicBezTo>
                      <a:pt x="6" y="9"/>
                      <a:pt x="6" y="11"/>
                      <a:pt x="4" y="11"/>
                    </a:cubicBezTo>
                    <a:cubicBezTo>
                      <a:pt x="0" y="9"/>
                      <a:pt x="5" y="10"/>
                      <a:pt x="6" y="9"/>
                    </a:cubicBezTo>
                    <a:cubicBezTo>
                      <a:pt x="7" y="8"/>
                      <a:pt x="11" y="0"/>
                      <a:pt x="15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121" name="i$ḷiďè">
                <a:extLst>
                  <a:ext uri="{FF2B5EF4-FFF2-40B4-BE49-F238E27FC236}">
                    <a16:creationId xmlns:a16="http://schemas.microsoft.com/office/drawing/2014/main" id="{71E75EC7-5063-4E49-8ABA-08C51A6FE423}"/>
                  </a:ext>
                </a:extLst>
              </p:cNvPr>
              <p:cNvSpPr/>
              <p:nvPr/>
            </p:nvSpPr>
            <p:spPr bwMode="auto">
              <a:xfrm>
                <a:off x="7869210" y="1485084"/>
                <a:ext cx="21012" cy="22413"/>
              </a:xfrm>
              <a:custGeom>
                <a:avLst/>
                <a:gdLst>
                  <a:gd name="T0" fmla="*/ 3 w 10"/>
                  <a:gd name="T1" fmla="*/ 3 h 11"/>
                  <a:gd name="T2" fmla="*/ 10 w 10"/>
                  <a:gd name="T3" fmla="*/ 1 h 11"/>
                  <a:gd name="T4" fmla="*/ 1 w 10"/>
                  <a:gd name="T5" fmla="*/ 10 h 11"/>
                  <a:gd name="T6" fmla="*/ 3 w 10"/>
                  <a:gd name="T7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11">
                    <a:moveTo>
                      <a:pt x="3" y="3"/>
                    </a:moveTo>
                    <a:cubicBezTo>
                      <a:pt x="4" y="0"/>
                      <a:pt x="5" y="3"/>
                      <a:pt x="10" y="1"/>
                    </a:cubicBezTo>
                    <a:cubicBezTo>
                      <a:pt x="8" y="5"/>
                      <a:pt x="8" y="11"/>
                      <a:pt x="1" y="10"/>
                    </a:cubicBezTo>
                    <a:cubicBezTo>
                      <a:pt x="0" y="8"/>
                      <a:pt x="8" y="4"/>
                      <a:pt x="3" y="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122" name="îṡḷiďè">
                <a:extLst>
                  <a:ext uri="{FF2B5EF4-FFF2-40B4-BE49-F238E27FC236}">
                    <a16:creationId xmlns:a16="http://schemas.microsoft.com/office/drawing/2014/main" id="{618DDA4B-C2AA-4D18-BF47-25E8CB928820}"/>
                  </a:ext>
                </a:extLst>
              </p:cNvPr>
              <p:cNvSpPr/>
              <p:nvPr/>
            </p:nvSpPr>
            <p:spPr bwMode="auto">
              <a:xfrm>
                <a:off x="7380337" y="2095825"/>
                <a:ext cx="155487" cy="180701"/>
              </a:xfrm>
              <a:custGeom>
                <a:avLst/>
                <a:gdLst>
                  <a:gd name="T0" fmla="*/ 60 w 75"/>
                  <a:gd name="T1" fmla="*/ 5 h 87"/>
                  <a:gd name="T2" fmla="*/ 68 w 75"/>
                  <a:gd name="T3" fmla="*/ 9 h 87"/>
                  <a:gd name="T4" fmla="*/ 75 w 75"/>
                  <a:gd name="T5" fmla="*/ 14 h 87"/>
                  <a:gd name="T6" fmla="*/ 68 w 75"/>
                  <a:gd name="T7" fmla="*/ 24 h 87"/>
                  <a:gd name="T8" fmla="*/ 66 w 75"/>
                  <a:gd name="T9" fmla="*/ 35 h 87"/>
                  <a:gd name="T10" fmla="*/ 70 w 75"/>
                  <a:gd name="T11" fmla="*/ 38 h 87"/>
                  <a:gd name="T12" fmla="*/ 70 w 75"/>
                  <a:gd name="T13" fmla="*/ 44 h 87"/>
                  <a:gd name="T14" fmla="*/ 73 w 75"/>
                  <a:gd name="T15" fmla="*/ 48 h 87"/>
                  <a:gd name="T16" fmla="*/ 64 w 75"/>
                  <a:gd name="T17" fmla="*/ 53 h 87"/>
                  <a:gd name="T18" fmla="*/ 62 w 75"/>
                  <a:gd name="T19" fmla="*/ 63 h 87"/>
                  <a:gd name="T20" fmla="*/ 62 w 75"/>
                  <a:gd name="T21" fmla="*/ 66 h 87"/>
                  <a:gd name="T22" fmla="*/ 59 w 75"/>
                  <a:gd name="T23" fmla="*/ 66 h 87"/>
                  <a:gd name="T24" fmla="*/ 53 w 75"/>
                  <a:gd name="T25" fmla="*/ 74 h 87"/>
                  <a:gd name="T26" fmla="*/ 53 w 75"/>
                  <a:gd name="T27" fmla="*/ 85 h 87"/>
                  <a:gd name="T28" fmla="*/ 34 w 75"/>
                  <a:gd name="T29" fmla="*/ 79 h 87"/>
                  <a:gd name="T30" fmla="*/ 32 w 75"/>
                  <a:gd name="T31" fmla="*/ 83 h 87"/>
                  <a:gd name="T32" fmla="*/ 27 w 75"/>
                  <a:gd name="T33" fmla="*/ 79 h 87"/>
                  <a:gd name="T34" fmla="*/ 18 w 75"/>
                  <a:gd name="T35" fmla="*/ 79 h 87"/>
                  <a:gd name="T36" fmla="*/ 12 w 75"/>
                  <a:gd name="T37" fmla="*/ 78 h 87"/>
                  <a:gd name="T38" fmla="*/ 4 w 75"/>
                  <a:gd name="T39" fmla="*/ 66 h 87"/>
                  <a:gd name="T40" fmla="*/ 6 w 75"/>
                  <a:gd name="T41" fmla="*/ 59 h 87"/>
                  <a:gd name="T42" fmla="*/ 4 w 75"/>
                  <a:gd name="T43" fmla="*/ 59 h 87"/>
                  <a:gd name="T44" fmla="*/ 3 w 75"/>
                  <a:gd name="T45" fmla="*/ 44 h 87"/>
                  <a:gd name="T46" fmla="*/ 21 w 75"/>
                  <a:gd name="T47" fmla="*/ 42 h 87"/>
                  <a:gd name="T48" fmla="*/ 21 w 75"/>
                  <a:gd name="T49" fmla="*/ 37 h 87"/>
                  <a:gd name="T50" fmla="*/ 34 w 75"/>
                  <a:gd name="T51" fmla="*/ 27 h 87"/>
                  <a:gd name="T52" fmla="*/ 46 w 75"/>
                  <a:gd name="T53" fmla="*/ 24 h 87"/>
                  <a:gd name="T54" fmla="*/ 47 w 75"/>
                  <a:gd name="T55" fmla="*/ 18 h 87"/>
                  <a:gd name="T56" fmla="*/ 51 w 75"/>
                  <a:gd name="T57" fmla="*/ 18 h 87"/>
                  <a:gd name="T58" fmla="*/ 55 w 75"/>
                  <a:gd name="T59" fmla="*/ 14 h 87"/>
                  <a:gd name="T60" fmla="*/ 62 w 75"/>
                  <a:gd name="T61" fmla="*/ 5 h 87"/>
                  <a:gd name="T62" fmla="*/ 60 w 75"/>
                  <a:gd name="T63" fmla="*/ 5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75" h="87">
                    <a:moveTo>
                      <a:pt x="60" y="5"/>
                    </a:moveTo>
                    <a:cubicBezTo>
                      <a:pt x="62" y="0"/>
                      <a:pt x="65" y="9"/>
                      <a:pt x="68" y="9"/>
                    </a:cubicBezTo>
                    <a:cubicBezTo>
                      <a:pt x="70" y="10"/>
                      <a:pt x="72" y="14"/>
                      <a:pt x="75" y="14"/>
                    </a:cubicBezTo>
                    <a:cubicBezTo>
                      <a:pt x="74" y="19"/>
                      <a:pt x="74" y="24"/>
                      <a:pt x="68" y="24"/>
                    </a:cubicBezTo>
                    <a:cubicBezTo>
                      <a:pt x="67" y="27"/>
                      <a:pt x="70" y="35"/>
                      <a:pt x="66" y="35"/>
                    </a:cubicBezTo>
                    <a:cubicBezTo>
                      <a:pt x="66" y="37"/>
                      <a:pt x="69" y="37"/>
                      <a:pt x="70" y="38"/>
                    </a:cubicBezTo>
                    <a:cubicBezTo>
                      <a:pt x="70" y="40"/>
                      <a:pt x="69" y="43"/>
                      <a:pt x="70" y="44"/>
                    </a:cubicBezTo>
                    <a:cubicBezTo>
                      <a:pt x="71" y="46"/>
                      <a:pt x="73" y="46"/>
                      <a:pt x="73" y="48"/>
                    </a:cubicBezTo>
                    <a:cubicBezTo>
                      <a:pt x="73" y="52"/>
                      <a:pt x="67" y="56"/>
                      <a:pt x="64" y="53"/>
                    </a:cubicBezTo>
                    <a:cubicBezTo>
                      <a:pt x="65" y="58"/>
                      <a:pt x="67" y="59"/>
                      <a:pt x="62" y="63"/>
                    </a:cubicBezTo>
                    <a:cubicBezTo>
                      <a:pt x="62" y="63"/>
                      <a:pt x="63" y="66"/>
                      <a:pt x="62" y="66"/>
                    </a:cubicBezTo>
                    <a:cubicBezTo>
                      <a:pt x="62" y="67"/>
                      <a:pt x="59" y="66"/>
                      <a:pt x="59" y="66"/>
                    </a:cubicBezTo>
                    <a:cubicBezTo>
                      <a:pt x="57" y="69"/>
                      <a:pt x="58" y="76"/>
                      <a:pt x="53" y="74"/>
                    </a:cubicBezTo>
                    <a:cubicBezTo>
                      <a:pt x="56" y="77"/>
                      <a:pt x="51" y="79"/>
                      <a:pt x="53" y="85"/>
                    </a:cubicBezTo>
                    <a:cubicBezTo>
                      <a:pt x="43" y="87"/>
                      <a:pt x="41" y="81"/>
                      <a:pt x="34" y="79"/>
                    </a:cubicBezTo>
                    <a:cubicBezTo>
                      <a:pt x="33" y="79"/>
                      <a:pt x="33" y="82"/>
                      <a:pt x="32" y="83"/>
                    </a:cubicBezTo>
                    <a:cubicBezTo>
                      <a:pt x="29" y="85"/>
                      <a:pt x="28" y="80"/>
                      <a:pt x="27" y="79"/>
                    </a:cubicBezTo>
                    <a:cubicBezTo>
                      <a:pt x="24" y="79"/>
                      <a:pt x="20" y="81"/>
                      <a:pt x="18" y="79"/>
                    </a:cubicBezTo>
                    <a:cubicBezTo>
                      <a:pt x="16" y="79"/>
                      <a:pt x="18" y="74"/>
                      <a:pt x="12" y="78"/>
                    </a:cubicBezTo>
                    <a:cubicBezTo>
                      <a:pt x="10" y="73"/>
                      <a:pt x="10" y="67"/>
                      <a:pt x="4" y="66"/>
                    </a:cubicBezTo>
                    <a:cubicBezTo>
                      <a:pt x="4" y="63"/>
                      <a:pt x="7" y="62"/>
                      <a:pt x="6" y="59"/>
                    </a:cubicBezTo>
                    <a:cubicBezTo>
                      <a:pt x="6" y="56"/>
                      <a:pt x="4" y="59"/>
                      <a:pt x="4" y="59"/>
                    </a:cubicBezTo>
                    <a:cubicBezTo>
                      <a:pt x="0" y="56"/>
                      <a:pt x="4" y="51"/>
                      <a:pt x="3" y="44"/>
                    </a:cubicBezTo>
                    <a:cubicBezTo>
                      <a:pt x="10" y="44"/>
                      <a:pt x="16" y="44"/>
                      <a:pt x="21" y="42"/>
                    </a:cubicBezTo>
                    <a:cubicBezTo>
                      <a:pt x="21" y="39"/>
                      <a:pt x="24" y="37"/>
                      <a:pt x="21" y="37"/>
                    </a:cubicBezTo>
                    <a:cubicBezTo>
                      <a:pt x="23" y="34"/>
                      <a:pt x="38" y="30"/>
                      <a:pt x="34" y="27"/>
                    </a:cubicBezTo>
                    <a:cubicBezTo>
                      <a:pt x="37" y="25"/>
                      <a:pt x="41" y="24"/>
                      <a:pt x="46" y="24"/>
                    </a:cubicBezTo>
                    <a:cubicBezTo>
                      <a:pt x="48" y="24"/>
                      <a:pt x="46" y="20"/>
                      <a:pt x="47" y="18"/>
                    </a:cubicBezTo>
                    <a:cubicBezTo>
                      <a:pt x="48" y="17"/>
                      <a:pt x="51" y="18"/>
                      <a:pt x="51" y="18"/>
                    </a:cubicBezTo>
                    <a:cubicBezTo>
                      <a:pt x="52" y="16"/>
                      <a:pt x="51" y="13"/>
                      <a:pt x="55" y="14"/>
                    </a:cubicBezTo>
                    <a:cubicBezTo>
                      <a:pt x="52" y="6"/>
                      <a:pt x="60" y="8"/>
                      <a:pt x="62" y="5"/>
                    </a:cubicBezTo>
                    <a:cubicBezTo>
                      <a:pt x="62" y="5"/>
                      <a:pt x="61" y="5"/>
                      <a:pt x="60" y="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40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123" name="ïşḷïdè">
                <a:extLst>
                  <a:ext uri="{FF2B5EF4-FFF2-40B4-BE49-F238E27FC236}">
                    <a16:creationId xmlns:a16="http://schemas.microsoft.com/office/drawing/2014/main" id="{873C4646-B8B1-4C50-9BF8-23BBFF18C551}"/>
                  </a:ext>
                </a:extLst>
              </p:cNvPr>
              <p:cNvSpPr/>
              <p:nvPr/>
            </p:nvSpPr>
            <p:spPr bwMode="auto">
              <a:xfrm>
                <a:off x="7540026" y="2224697"/>
                <a:ext cx="71440" cy="81245"/>
              </a:xfrm>
              <a:custGeom>
                <a:avLst/>
                <a:gdLst>
                  <a:gd name="T0" fmla="*/ 30 w 34"/>
                  <a:gd name="T1" fmla="*/ 1 h 39"/>
                  <a:gd name="T2" fmla="*/ 24 w 34"/>
                  <a:gd name="T3" fmla="*/ 8 h 39"/>
                  <a:gd name="T4" fmla="*/ 23 w 34"/>
                  <a:gd name="T5" fmla="*/ 8 h 39"/>
                  <a:gd name="T6" fmla="*/ 24 w 34"/>
                  <a:gd name="T7" fmla="*/ 14 h 39"/>
                  <a:gd name="T8" fmla="*/ 28 w 34"/>
                  <a:gd name="T9" fmla="*/ 17 h 39"/>
                  <a:gd name="T10" fmla="*/ 30 w 34"/>
                  <a:gd name="T11" fmla="*/ 34 h 39"/>
                  <a:gd name="T12" fmla="*/ 23 w 34"/>
                  <a:gd name="T13" fmla="*/ 34 h 39"/>
                  <a:gd name="T14" fmla="*/ 17 w 34"/>
                  <a:gd name="T15" fmla="*/ 16 h 39"/>
                  <a:gd name="T16" fmla="*/ 10 w 34"/>
                  <a:gd name="T17" fmla="*/ 21 h 39"/>
                  <a:gd name="T18" fmla="*/ 10 w 34"/>
                  <a:gd name="T19" fmla="*/ 32 h 39"/>
                  <a:gd name="T20" fmla="*/ 4 w 34"/>
                  <a:gd name="T21" fmla="*/ 38 h 39"/>
                  <a:gd name="T22" fmla="*/ 2 w 34"/>
                  <a:gd name="T23" fmla="*/ 29 h 39"/>
                  <a:gd name="T24" fmla="*/ 4 w 34"/>
                  <a:gd name="T25" fmla="*/ 27 h 39"/>
                  <a:gd name="T26" fmla="*/ 2 w 34"/>
                  <a:gd name="T27" fmla="*/ 25 h 39"/>
                  <a:gd name="T28" fmla="*/ 4 w 34"/>
                  <a:gd name="T29" fmla="*/ 17 h 39"/>
                  <a:gd name="T30" fmla="*/ 0 w 34"/>
                  <a:gd name="T31" fmla="*/ 14 h 39"/>
                  <a:gd name="T32" fmla="*/ 15 w 34"/>
                  <a:gd name="T33" fmla="*/ 1 h 39"/>
                  <a:gd name="T34" fmla="*/ 30 w 34"/>
                  <a:gd name="T35" fmla="*/ 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4" h="39">
                    <a:moveTo>
                      <a:pt x="30" y="1"/>
                    </a:moveTo>
                    <a:cubicBezTo>
                      <a:pt x="34" y="9"/>
                      <a:pt x="21" y="5"/>
                      <a:pt x="24" y="8"/>
                    </a:cubicBezTo>
                    <a:cubicBezTo>
                      <a:pt x="27" y="11"/>
                      <a:pt x="25" y="9"/>
                      <a:pt x="23" y="8"/>
                    </a:cubicBezTo>
                    <a:cubicBezTo>
                      <a:pt x="23" y="11"/>
                      <a:pt x="23" y="12"/>
                      <a:pt x="24" y="14"/>
                    </a:cubicBezTo>
                    <a:cubicBezTo>
                      <a:pt x="25" y="15"/>
                      <a:pt x="28" y="17"/>
                      <a:pt x="28" y="17"/>
                    </a:cubicBezTo>
                    <a:cubicBezTo>
                      <a:pt x="30" y="22"/>
                      <a:pt x="28" y="28"/>
                      <a:pt x="30" y="34"/>
                    </a:cubicBezTo>
                    <a:cubicBezTo>
                      <a:pt x="28" y="34"/>
                      <a:pt x="25" y="34"/>
                      <a:pt x="23" y="34"/>
                    </a:cubicBezTo>
                    <a:cubicBezTo>
                      <a:pt x="20" y="28"/>
                      <a:pt x="17" y="23"/>
                      <a:pt x="17" y="16"/>
                    </a:cubicBezTo>
                    <a:cubicBezTo>
                      <a:pt x="13" y="16"/>
                      <a:pt x="16" y="23"/>
                      <a:pt x="10" y="21"/>
                    </a:cubicBezTo>
                    <a:cubicBezTo>
                      <a:pt x="10" y="25"/>
                      <a:pt x="10" y="29"/>
                      <a:pt x="10" y="32"/>
                    </a:cubicBezTo>
                    <a:cubicBezTo>
                      <a:pt x="10" y="37"/>
                      <a:pt x="4" y="34"/>
                      <a:pt x="4" y="38"/>
                    </a:cubicBezTo>
                    <a:cubicBezTo>
                      <a:pt x="1" y="39"/>
                      <a:pt x="1" y="32"/>
                      <a:pt x="2" y="29"/>
                    </a:cubicBezTo>
                    <a:cubicBezTo>
                      <a:pt x="2" y="28"/>
                      <a:pt x="4" y="27"/>
                      <a:pt x="4" y="27"/>
                    </a:cubicBezTo>
                    <a:cubicBezTo>
                      <a:pt x="4" y="25"/>
                      <a:pt x="2" y="26"/>
                      <a:pt x="2" y="25"/>
                    </a:cubicBezTo>
                    <a:cubicBezTo>
                      <a:pt x="2" y="24"/>
                      <a:pt x="5" y="20"/>
                      <a:pt x="4" y="17"/>
                    </a:cubicBezTo>
                    <a:cubicBezTo>
                      <a:pt x="5" y="14"/>
                      <a:pt x="2" y="14"/>
                      <a:pt x="0" y="14"/>
                    </a:cubicBezTo>
                    <a:cubicBezTo>
                      <a:pt x="2" y="7"/>
                      <a:pt x="5" y="0"/>
                      <a:pt x="15" y="1"/>
                    </a:cubicBezTo>
                    <a:cubicBezTo>
                      <a:pt x="9" y="7"/>
                      <a:pt x="26" y="1"/>
                      <a:pt x="30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124" name="ïs1ïḍê">
                <a:extLst>
                  <a:ext uri="{FF2B5EF4-FFF2-40B4-BE49-F238E27FC236}">
                    <a16:creationId xmlns:a16="http://schemas.microsoft.com/office/drawing/2014/main" id="{8407D552-356F-4D0C-94E3-2FEA28F77CE7}"/>
                  </a:ext>
                </a:extLst>
              </p:cNvPr>
              <p:cNvSpPr/>
              <p:nvPr/>
            </p:nvSpPr>
            <p:spPr bwMode="auto">
              <a:xfrm>
                <a:off x="7328508" y="2304541"/>
                <a:ext cx="163892" cy="47627"/>
              </a:xfrm>
              <a:custGeom>
                <a:avLst/>
                <a:gdLst>
                  <a:gd name="T0" fmla="*/ 2 w 79"/>
                  <a:gd name="T1" fmla="*/ 7 h 23"/>
                  <a:gd name="T2" fmla="*/ 9 w 79"/>
                  <a:gd name="T3" fmla="*/ 2 h 23"/>
                  <a:gd name="T4" fmla="*/ 13 w 79"/>
                  <a:gd name="T5" fmla="*/ 6 h 23"/>
                  <a:gd name="T6" fmla="*/ 16 w 79"/>
                  <a:gd name="T7" fmla="*/ 7 h 23"/>
                  <a:gd name="T8" fmla="*/ 35 w 79"/>
                  <a:gd name="T9" fmla="*/ 11 h 23"/>
                  <a:gd name="T10" fmla="*/ 54 w 79"/>
                  <a:gd name="T11" fmla="*/ 9 h 23"/>
                  <a:gd name="T12" fmla="*/ 57 w 79"/>
                  <a:gd name="T13" fmla="*/ 13 h 23"/>
                  <a:gd name="T14" fmla="*/ 63 w 79"/>
                  <a:gd name="T15" fmla="*/ 15 h 23"/>
                  <a:gd name="T16" fmla="*/ 72 w 79"/>
                  <a:gd name="T17" fmla="*/ 15 h 23"/>
                  <a:gd name="T18" fmla="*/ 74 w 79"/>
                  <a:gd name="T19" fmla="*/ 20 h 23"/>
                  <a:gd name="T20" fmla="*/ 71 w 79"/>
                  <a:gd name="T21" fmla="*/ 20 h 23"/>
                  <a:gd name="T22" fmla="*/ 33 w 79"/>
                  <a:gd name="T23" fmla="*/ 15 h 23"/>
                  <a:gd name="T24" fmla="*/ 24 w 79"/>
                  <a:gd name="T25" fmla="*/ 15 h 23"/>
                  <a:gd name="T26" fmla="*/ 11 w 79"/>
                  <a:gd name="T27" fmla="*/ 11 h 23"/>
                  <a:gd name="T28" fmla="*/ 2 w 79"/>
                  <a:gd name="T29" fmla="*/ 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9" h="23">
                    <a:moveTo>
                      <a:pt x="2" y="7"/>
                    </a:moveTo>
                    <a:cubicBezTo>
                      <a:pt x="0" y="1"/>
                      <a:pt x="8" y="5"/>
                      <a:pt x="9" y="2"/>
                    </a:cubicBezTo>
                    <a:cubicBezTo>
                      <a:pt x="13" y="0"/>
                      <a:pt x="11" y="4"/>
                      <a:pt x="13" y="6"/>
                    </a:cubicBezTo>
                    <a:cubicBezTo>
                      <a:pt x="14" y="6"/>
                      <a:pt x="17" y="5"/>
                      <a:pt x="16" y="7"/>
                    </a:cubicBezTo>
                    <a:cubicBezTo>
                      <a:pt x="25" y="5"/>
                      <a:pt x="28" y="6"/>
                      <a:pt x="35" y="11"/>
                    </a:cubicBezTo>
                    <a:cubicBezTo>
                      <a:pt x="42" y="7"/>
                      <a:pt x="44" y="9"/>
                      <a:pt x="54" y="9"/>
                    </a:cubicBezTo>
                    <a:cubicBezTo>
                      <a:pt x="57" y="9"/>
                      <a:pt x="57" y="11"/>
                      <a:pt x="57" y="13"/>
                    </a:cubicBezTo>
                    <a:cubicBezTo>
                      <a:pt x="60" y="13"/>
                      <a:pt x="63" y="13"/>
                      <a:pt x="63" y="15"/>
                    </a:cubicBezTo>
                    <a:cubicBezTo>
                      <a:pt x="68" y="12"/>
                      <a:pt x="72" y="19"/>
                      <a:pt x="72" y="15"/>
                    </a:cubicBezTo>
                    <a:cubicBezTo>
                      <a:pt x="79" y="15"/>
                      <a:pt x="68" y="21"/>
                      <a:pt x="74" y="20"/>
                    </a:cubicBezTo>
                    <a:cubicBezTo>
                      <a:pt x="73" y="23"/>
                      <a:pt x="73" y="20"/>
                      <a:pt x="71" y="20"/>
                    </a:cubicBezTo>
                    <a:cubicBezTo>
                      <a:pt x="56" y="23"/>
                      <a:pt x="45" y="17"/>
                      <a:pt x="33" y="15"/>
                    </a:cubicBezTo>
                    <a:cubicBezTo>
                      <a:pt x="30" y="14"/>
                      <a:pt x="27" y="15"/>
                      <a:pt x="24" y="15"/>
                    </a:cubicBezTo>
                    <a:cubicBezTo>
                      <a:pt x="19" y="14"/>
                      <a:pt x="15" y="12"/>
                      <a:pt x="11" y="11"/>
                    </a:cubicBezTo>
                    <a:cubicBezTo>
                      <a:pt x="7" y="10"/>
                      <a:pt x="2" y="12"/>
                      <a:pt x="2" y="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125" name="iṧḻíďé">
                <a:extLst>
                  <a:ext uri="{FF2B5EF4-FFF2-40B4-BE49-F238E27FC236}">
                    <a16:creationId xmlns:a16="http://schemas.microsoft.com/office/drawing/2014/main" id="{958ED81E-0448-4F3D-9562-7D57F63BA89B}"/>
                  </a:ext>
                </a:extLst>
              </p:cNvPr>
              <p:cNvSpPr/>
              <p:nvPr/>
            </p:nvSpPr>
            <p:spPr bwMode="auto">
              <a:xfrm>
                <a:off x="7547030" y="2360572"/>
                <a:ext cx="25214" cy="9806"/>
              </a:xfrm>
              <a:custGeom>
                <a:avLst/>
                <a:gdLst>
                  <a:gd name="T0" fmla="*/ 5 w 12"/>
                  <a:gd name="T1" fmla="*/ 3 h 5"/>
                  <a:gd name="T2" fmla="*/ 12 w 12"/>
                  <a:gd name="T3" fmla="*/ 5 h 5"/>
                  <a:gd name="T4" fmla="*/ 5 w 12"/>
                  <a:gd name="T5" fmla="*/ 5 h 5"/>
                  <a:gd name="T6" fmla="*/ 3 w 12"/>
                  <a:gd name="T7" fmla="*/ 3 h 5"/>
                  <a:gd name="T8" fmla="*/ 5 w 12"/>
                  <a:gd name="T9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5">
                    <a:moveTo>
                      <a:pt x="5" y="3"/>
                    </a:moveTo>
                    <a:cubicBezTo>
                      <a:pt x="8" y="3"/>
                      <a:pt x="12" y="2"/>
                      <a:pt x="12" y="5"/>
                    </a:cubicBezTo>
                    <a:cubicBezTo>
                      <a:pt x="10" y="5"/>
                      <a:pt x="7" y="5"/>
                      <a:pt x="5" y="5"/>
                    </a:cubicBezTo>
                    <a:cubicBezTo>
                      <a:pt x="5" y="3"/>
                      <a:pt x="3" y="3"/>
                      <a:pt x="3" y="3"/>
                    </a:cubicBezTo>
                    <a:cubicBezTo>
                      <a:pt x="0" y="0"/>
                      <a:pt x="4" y="1"/>
                      <a:pt x="5" y="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126" name="îSḷïḋe">
                <a:extLst>
                  <a:ext uri="{FF2B5EF4-FFF2-40B4-BE49-F238E27FC236}">
                    <a16:creationId xmlns:a16="http://schemas.microsoft.com/office/drawing/2014/main" id="{FDFD6986-2FC1-4633-84ED-3F00F230BE59}"/>
                  </a:ext>
                </a:extLst>
              </p:cNvPr>
              <p:cNvSpPr/>
              <p:nvPr/>
            </p:nvSpPr>
            <p:spPr bwMode="auto">
              <a:xfrm>
                <a:off x="8288044" y="2892869"/>
                <a:ext cx="120467" cy="121868"/>
              </a:xfrm>
              <a:custGeom>
                <a:avLst/>
                <a:gdLst>
                  <a:gd name="T0" fmla="*/ 1 w 58"/>
                  <a:gd name="T1" fmla="*/ 51 h 59"/>
                  <a:gd name="T2" fmla="*/ 5 w 58"/>
                  <a:gd name="T3" fmla="*/ 43 h 59"/>
                  <a:gd name="T4" fmla="*/ 8 w 58"/>
                  <a:gd name="T5" fmla="*/ 41 h 59"/>
                  <a:gd name="T6" fmla="*/ 8 w 58"/>
                  <a:gd name="T7" fmla="*/ 38 h 59"/>
                  <a:gd name="T8" fmla="*/ 12 w 58"/>
                  <a:gd name="T9" fmla="*/ 38 h 59"/>
                  <a:gd name="T10" fmla="*/ 14 w 58"/>
                  <a:gd name="T11" fmla="*/ 34 h 59"/>
                  <a:gd name="T12" fmla="*/ 21 w 58"/>
                  <a:gd name="T13" fmla="*/ 32 h 59"/>
                  <a:gd name="T14" fmla="*/ 25 w 58"/>
                  <a:gd name="T15" fmla="*/ 28 h 59"/>
                  <a:gd name="T16" fmla="*/ 29 w 58"/>
                  <a:gd name="T17" fmla="*/ 23 h 59"/>
                  <a:gd name="T18" fmla="*/ 33 w 58"/>
                  <a:gd name="T19" fmla="*/ 19 h 59"/>
                  <a:gd name="T20" fmla="*/ 38 w 58"/>
                  <a:gd name="T21" fmla="*/ 21 h 59"/>
                  <a:gd name="T22" fmla="*/ 36 w 58"/>
                  <a:gd name="T23" fmla="*/ 13 h 59"/>
                  <a:gd name="T24" fmla="*/ 44 w 58"/>
                  <a:gd name="T25" fmla="*/ 4 h 59"/>
                  <a:gd name="T26" fmla="*/ 49 w 58"/>
                  <a:gd name="T27" fmla="*/ 0 h 59"/>
                  <a:gd name="T28" fmla="*/ 55 w 58"/>
                  <a:gd name="T29" fmla="*/ 4 h 59"/>
                  <a:gd name="T30" fmla="*/ 57 w 58"/>
                  <a:gd name="T31" fmla="*/ 13 h 59"/>
                  <a:gd name="T32" fmla="*/ 55 w 58"/>
                  <a:gd name="T33" fmla="*/ 19 h 59"/>
                  <a:gd name="T34" fmla="*/ 51 w 58"/>
                  <a:gd name="T35" fmla="*/ 19 h 59"/>
                  <a:gd name="T36" fmla="*/ 49 w 58"/>
                  <a:gd name="T37" fmla="*/ 28 h 59"/>
                  <a:gd name="T38" fmla="*/ 42 w 58"/>
                  <a:gd name="T39" fmla="*/ 30 h 59"/>
                  <a:gd name="T40" fmla="*/ 36 w 58"/>
                  <a:gd name="T41" fmla="*/ 43 h 59"/>
                  <a:gd name="T42" fmla="*/ 33 w 58"/>
                  <a:gd name="T43" fmla="*/ 51 h 59"/>
                  <a:gd name="T44" fmla="*/ 29 w 58"/>
                  <a:gd name="T45" fmla="*/ 54 h 59"/>
                  <a:gd name="T46" fmla="*/ 14 w 58"/>
                  <a:gd name="T47" fmla="*/ 49 h 59"/>
                  <a:gd name="T48" fmla="*/ 7 w 58"/>
                  <a:gd name="T49" fmla="*/ 51 h 59"/>
                  <a:gd name="T50" fmla="*/ 5 w 58"/>
                  <a:gd name="T51" fmla="*/ 47 h 59"/>
                  <a:gd name="T52" fmla="*/ 1 w 58"/>
                  <a:gd name="T53" fmla="*/ 5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8" h="59">
                    <a:moveTo>
                      <a:pt x="1" y="51"/>
                    </a:moveTo>
                    <a:cubicBezTo>
                      <a:pt x="0" y="48"/>
                      <a:pt x="3" y="45"/>
                      <a:pt x="5" y="43"/>
                    </a:cubicBezTo>
                    <a:cubicBezTo>
                      <a:pt x="5" y="43"/>
                      <a:pt x="8" y="42"/>
                      <a:pt x="8" y="41"/>
                    </a:cubicBezTo>
                    <a:cubicBezTo>
                      <a:pt x="9" y="41"/>
                      <a:pt x="8" y="38"/>
                      <a:pt x="8" y="38"/>
                    </a:cubicBezTo>
                    <a:cubicBezTo>
                      <a:pt x="9" y="37"/>
                      <a:pt x="12" y="38"/>
                      <a:pt x="12" y="38"/>
                    </a:cubicBezTo>
                    <a:cubicBezTo>
                      <a:pt x="13" y="37"/>
                      <a:pt x="13" y="34"/>
                      <a:pt x="14" y="34"/>
                    </a:cubicBezTo>
                    <a:cubicBezTo>
                      <a:pt x="16" y="33"/>
                      <a:pt x="20" y="34"/>
                      <a:pt x="21" y="32"/>
                    </a:cubicBezTo>
                    <a:cubicBezTo>
                      <a:pt x="23" y="29"/>
                      <a:pt x="21" y="29"/>
                      <a:pt x="25" y="28"/>
                    </a:cubicBezTo>
                    <a:cubicBezTo>
                      <a:pt x="29" y="28"/>
                      <a:pt x="27" y="25"/>
                      <a:pt x="29" y="23"/>
                    </a:cubicBezTo>
                    <a:cubicBezTo>
                      <a:pt x="29" y="22"/>
                      <a:pt x="35" y="27"/>
                      <a:pt x="33" y="19"/>
                    </a:cubicBezTo>
                    <a:cubicBezTo>
                      <a:pt x="36" y="18"/>
                      <a:pt x="36" y="21"/>
                      <a:pt x="38" y="21"/>
                    </a:cubicBezTo>
                    <a:cubicBezTo>
                      <a:pt x="38" y="17"/>
                      <a:pt x="36" y="17"/>
                      <a:pt x="36" y="13"/>
                    </a:cubicBezTo>
                    <a:cubicBezTo>
                      <a:pt x="43" y="15"/>
                      <a:pt x="42" y="7"/>
                      <a:pt x="44" y="4"/>
                    </a:cubicBezTo>
                    <a:cubicBezTo>
                      <a:pt x="45" y="2"/>
                      <a:pt x="50" y="4"/>
                      <a:pt x="49" y="0"/>
                    </a:cubicBezTo>
                    <a:cubicBezTo>
                      <a:pt x="51" y="1"/>
                      <a:pt x="51" y="5"/>
                      <a:pt x="55" y="4"/>
                    </a:cubicBezTo>
                    <a:cubicBezTo>
                      <a:pt x="53" y="9"/>
                      <a:pt x="58" y="9"/>
                      <a:pt x="57" y="13"/>
                    </a:cubicBezTo>
                    <a:cubicBezTo>
                      <a:pt x="54" y="13"/>
                      <a:pt x="56" y="17"/>
                      <a:pt x="55" y="19"/>
                    </a:cubicBezTo>
                    <a:cubicBezTo>
                      <a:pt x="55" y="19"/>
                      <a:pt x="52" y="18"/>
                      <a:pt x="51" y="19"/>
                    </a:cubicBezTo>
                    <a:cubicBezTo>
                      <a:pt x="50" y="20"/>
                      <a:pt x="50" y="24"/>
                      <a:pt x="49" y="28"/>
                    </a:cubicBezTo>
                    <a:cubicBezTo>
                      <a:pt x="46" y="31"/>
                      <a:pt x="46" y="27"/>
                      <a:pt x="42" y="30"/>
                    </a:cubicBezTo>
                    <a:cubicBezTo>
                      <a:pt x="37" y="33"/>
                      <a:pt x="38" y="39"/>
                      <a:pt x="36" y="43"/>
                    </a:cubicBezTo>
                    <a:cubicBezTo>
                      <a:pt x="36" y="44"/>
                      <a:pt x="31" y="45"/>
                      <a:pt x="33" y="51"/>
                    </a:cubicBezTo>
                    <a:cubicBezTo>
                      <a:pt x="29" y="50"/>
                      <a:pt x="29" y="52"/>
                      <a:pt x="29" y="54"/>
                    </a:cubicBezTo>
                    <a:cubicBezTo>
                      <a:pt x="24" y="49"/>
                      <a:pt x="15" y="59"/>
                      <a:pt x="14" y="49"/>
                    </a:cubicBezTo>
                    <a:cubicBezTo>
                      <a:pt x="13" y="49"/>
                      <a:pt x="9" y="52"/>
                      <a:pt x="7" y="51"/>
                    </a:cubicBezTo>
                    <a:cubicBezTo>
                      <a:pt x="6" y="51"/>
                      <a:pt x="4" y="47"/>
                      <a:pt x="5" y="47"/>
                    </a:cubicBezTo>
                    <a:cubicBezTo>
                      <a:pt x="1" y="47"/>
                      <a:pt x="9" y="54"/>
                      <a:pt x="1" y="5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127" name="íṥļîḍe">
                <a:extLst>
                  <a:ext uri="{FF2B5EF4-FFF2-40B4-BE49-F238E27FC236}">
                    <a16:creationId xmlns:a16="http://schemas.microsoft.com/office/drawing/2014/main" id="{CCEE2769-EA99-4009-9EEB-69599988D167}"/>
                  </a:ext>
                </a:extLst>
              </p:cNvPr>
              <p:cNvSpPr/>
              <p:nvPr/>
            </p:nvSpPr>
            <p:spPr bwMode="auto">
              <a:xfrm>
                <a:off x="4137527" y="505936"/>
                <a:ext cx="169495" cy="126070"/>
              </a:xfrm>
              <a:custGeom>
                <a:avLst/>
                <a:gdLst>
                  <a:gd name="T0" fmla="*/ 22 w 82"/>
                  <a:gd name="T1" fmla="*/ 0 h 61"/>
                  <a:gd name="T2" fmla="*/ 31 w 82"/>
                  <a:gd name="T3" fmla="*/ 8 h 61"/>
                  <a:gd name="T4" fmla="*/ 37 w 82"/>
                  <a:gd name="T5" fmla="*/ 9 h 61"/>
                  <a:gd name="T6" fmla="*/ 41 w 82"/>
                  <a:gd name="T7" fmla="*/ 9 h 61"/>
                  <a:gd name="T8" fmla="*/ 43 w 82"/>
                  <a:gd name="T9" fmla="*/ 11 h 61"/>
                  <a:gd name="T10" fmla="*/ 48 w 82"/>
                  <a:gd name="T11" fmla="*/ 15 h 61"/>
                  <a:gd name="T12" fmla="*/ 54 w 82"/>
                  <a:gd name="T13" fmla="*/ 15 h 61"/>
                  <a:gd name="T14" fmla="*/ 65 w 82"/>
                  <a:gd name="T15" fmla="*/ 19 h 61"/>
                  <a:gd name="T16" fmla="*/ 65 w 82"/>
                  <a:gd name="T17" fmla="*/ 24 h 61"/>
                  <a:gd name="T18" fmla="*/ 71 w 82"/>
                  <a:gd name="T19" fmla="*/ 24 h 61"/>
                  <a:gd name="T20" fmla="*/ 71 w 82"/>
                  <a:gd name="T21" fmla="*/ 28 h 61"/>
                  <a:gd name="T22" fmla="*/ 82 w 82"/>
                  <a:gd name="T23" fmla="*/ 36 h 61"/>
                  <a:gd name="T24" fmla="*/ 80 w 82"/>
                  <a:gd name="T25" fmla="*/ 41 h 61"/>
                  <a:gd name="T26" fmla="*/ 76 w 82"/>
                  <a:gd name="T27" fmla="*/ 39 h 61"/>
                  <a:gd name="T28" fmla="*/ 67 w 82"/>
                  <a:gd name="T29" fmla="*/ 45 h 61"/>
                  <a:gd name="T30" fmla="*/ 65 w 82"/>
                  <a:gd name="T31" fmla="*/ 49 h 61"/>
                  <a:gd name="T32" fmla="*/ 61 w 82"/>
                  <a:gd name="T33" fmla="*/ 52 h 61"/>
                  <a:gd name="T34" fmla="*/ 50 w 82"/>
                  <a:gd name="T35" fmla="*/ 52 h 61"/>
                  <a:gd name="T36" fmla="*/ 50 w 82"/>
                  <a:gd name="T37" fmla="*/ 54 h 61"/>
                  <a:gd name="T38" fmla="*/ 43 w 82"/>
                  <a:gd name="T39" fmla="*/ 56 h 61"/>
                  <a:gd name="T40" fmla="*/ 41 w 82"/>
                  <a:gd name="T41" fmla="*/ 52 h 61"/>
                  <a:gd name="T42" fmla="*/ 30 w 82"/>
                  <a:gd name="T43" fmla="*/ 52 h 61"/>
                  <a:gd name="T44" fmla="*/ 26 w 82"/>
                  <a:gd name="T45" fmla="*/ 49 h 61"/>
                  <a:gd name="T46" fmla="*/ 31 w 82"/>
                  <a:gd name="T47" fmla="*/ 45 h 61"/>
                  <a:gd name="T48" fmla="*/ 22 w 82"/>
                  <a:gd name="T49" fmla="*/ 43 h 61"/>
                  <a:gd name="T50" fmla="*/ 28 w 82"/>
                  <a:gd name="T51" fmla="*/ 39 h 61"/>
                  <a:gd name="T52" fmla="*/ 31 w 82"/>
                  <a:gd name="T53" fmla="*/ 36 h 61"/>
                  <a:gd name="T54" fmla="*/ 37 w 82"/>
                  <a:gd name="T55" fmla="*/ 37 h 61"/>
                  <a:gd name="T56" fmla="*/ 35 w 82"/>
                  <a:gd name="T57" fmla="*/ 32 h 61"/>
                  <a:gd name="T58" fmla="*/ 18 w 82"/>
                  <a:gd name="T59" fmla="*/ 36 h 61"/>
                  <a:gd name="T60" fmla="*/ 13 w 82"/>
                  <a:gd name="T61" fmla="*/ 34 h 61"/>
                  <a:gd name="T62" fmla="*/ 9 w 82"/>
                  <a:gd name="T63" fmla="*/ 30 h 61"/>
                  <a:gd name="T64" fmla="*/ 2 w 82"/>
                  <a:gd name="T65" fmla="*/ 26 h 61"/>
                  <a:gd name="T66" fmla="*/ 0 w 82"/>
                  <a:gd name="T67" fmla="*/ 21 h 61"/>
                  <a:gd name="T68" fmla="*/ 5 w 82"/>
                  <a:gd name="T69" fmla="*/ 17 h 61"/>
                  <a:gd name="T70" fmla="*/ 9 w 82"/>
                  <a:gd name="T71" fmla="*/ 13 h 61"/>
                  <a:gd name="T72" fmla="*/ 11 w 82"/>
                  <a:gd name="T73" fmla="*/ 8 h 61"/>
                  <a:gd name="T74" fmla="*/ 15 w 82"/>
                  <a:gd name="T75" fmla="*/ 8 h 61"/>
                  <a:gd name="T76" fmla="*/ 18 w 82"/>
                  <a:gd name="T77" fmla="*/ 4 h 61"/>
                  <a:gd name="T78" fmla="*/ 22 w 82"/>
                  <a:gd name="T79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82" h="61">
                    <a:moveTo>
                      <a:pt x="22" y="0"/>
                    </a:moveTo>
                    <a:cubicBezTo>
                      <a:pt x="25" y="3"/>
                      <a:pt x="30" y="3"/>
                      <a:pt x="31" y="8"/>
                    </a:cubicBezTo>
                    <a:cubicBezTo>
                      <a:pt x="35" y="6"/>
                      <a:pt x="36" y="9"/>
                      <a:pt x="37" y="9"/>
                    </a:cubicBezTo>
                    <a:cubicBezTo>
                      <a:pt x="38" y="10"/>
                      <a:pt x="40" y="9"/>
                      <a:pt x="41" y="9"/>
                    </a:cubicBezTo>
                    <a:cubicBezTo>
                      <a:pt x="41" y="10"/>
                      <a:pt x="41" y="13"/>
                      <a:pt x="43" y="11"/>
                    </a:cubicBezTo>
                    <a:cubicBezTo>
                      <a:pt x="46" y="8"/>
                      <a:pt x="45" y="13"/>
                      <a:pt x="48" y="15"/>
                    </a:cubicBezTo>
                    <a:cubicBezTo>
                      <a:pt x="49" y="16"/>
                      <a:pt x="52" y="14"/>
                      <a:pt x="54" y="15"/>
                    </a:cubicBezTo>
                    <a:cubicBezTo>
                      <a:pt x="55" y="16"/>
                      <a:pt x="58" y="21"/>
                      <a:pt x="65" y="19"/>
                    </a:cubicBezTo>
                    <a:cubicBezTo>
                      <a:pt x="65" y="21"/>
                      <a:pt x="65" y="22"/>
                      <a:pt x="65" y="24"/>
                    </a:cubicBezTo>
                    <a:cubicBezTo>
                      <a:pt x="66" y="25"/>
                      <a:pt x="69" y="23"/>
                      <a:pt x="71" y="24"/>
                    </a:cubicBezTo>
                    <a:cubicBezTo>
                      <a:pt x="71" y="25"/>
                      <a:pt x="70" y="28"/>
                      <a:pt x="71" y="28"/>
                    </a:cubicBezTo>
                    <a:cubicBezTo>
                      <a:pt x="73" y="30"/>
                      <a:pt x="78" y="32"/>
                      <a:pt x="82" y="36"/>
                    </a:cubicBezTo>
                    <a:cubicBezTo>
                      <a:pt x="82" y="37"/>
                      <a:pt x="81" y="41"/>
                      <a:pt x="80" y="41"/>
                    </a:cubicBezTo>
                    <a:cubicBezTo>
                      <a:pt x="78" y="42"/>
                      <a:pt x="76" y="39"/>
                      <a:pt x="76" y="39"/>
                    </a:cubicBezTo>
                    <a:cubicBezTo>
                      <a:pt x="73" y="41"/>
                      <a:pt x="71" y="44"/>
                      <a:pt x="67" y="45"/>
                    </a:cubicBezTo>
                    <a:cubicBezTo>
                      <a:pt x="65" y="45"/>
                      <a:pt x="65" y="47"/>
                      <a:pt x="65" y="49"/>
                    </a:cubicBezTo>
                    <a:cubicBezTo>
                      <a:pt x="62" y="48"/>
                      <a:pt x="61" y="50"/>
                      <a:pt x="61" y="52"/>
                    </a:cubicBezTo>
                    <a:cubicBezTo>
                      <a:pt x="55" y="53"/>
                      <a:pt x="54" y="48"/>
                      <a:pt x="50" y="52"/>
                    </a:cubicBezTo>
                    <a:cubicBezTo>
                      <a:pt x="48" y="53"/>
                      <a:pt x="49" y="54"/>
                      <a:pt x="50" y="54"/>
                    </a:cubicBezTo>
                    <a:cubicBezTo>
                      <a:pt x="49" y="61"/>
                      <a:pt x="43" y="49"/>
                      <a:pt x="43" y="56"/>
                    </a:cubicBezTo>
                    <a:cubicBezTo>
                      <a:pt x="41" y="56"/>
                      <a:pt x="41" y="54"/>
                      <a:pt x="41" y="52"/>
                    </a:cubicBezTo>
                    <a:cubicBezTo>
                      <a:pt x="37" y="56"/>
                      <a:pt x="35" y="51"/>
                      <a:pt x="30" y="52"/>
                    </a:cubicBezTo>
                    <a:cubicBezTo>
                      <a:pt x="30" y="49"/>
                      <a:pt x="28" y="49"/>
                      <a:pt x="26" y="49"/>
                    </a:cubicBezTo>
                    <a:cubicBezTo>
                      <a:pt x="26" y="46"/>
                      <a:pt x="31" y="48"/>
                      <a:pt x="31" y="45"/>
                    </a:cubicBezTo>
                    <a:cubicBezTo>
                      <a:pt x="32" y="41"/>
                      <a:pt x="25" y="44"/>
                      <a:pt x="22" y="43"/>
                    </a:cubicBezTo>
                    <a:cubicBezTo>
                      <a:pt x="21" y="38"/>
                      <a:pt x="25" y="40"/>
                      <a:pt x="28" y="39"/>
                    </a:cubicBezTo>
                    <a:cubicBezTo>
                      <a:pt x="28" y="39"/>
                      <a:pt x="31" y="36"/>
                      <a:pt x="31" y="36"/>
                    </a:cubicBezTo>
                    <a:cubicBezTo>
                      <a:pt x="33" y="35"/>
                      <a:pt x="34" y="38"/>
                      <a:pt x="37" y="37"/>
                    </a:cubicBezTo>
                    <a:cubicBezTo>
                      <a:pt x="37" y="34"/>
                      <a:pt x="35" y="34"/>
                      <a:pt x="35" y="32"/>
                    </a:cubicBezTo>
                    <a:cubicBezTo>
                      <a:pt x="33" y="33"/>
                      <a:pt x="22" y="32"/>
                      <a:pt x="18" y="36"/>
                    </a:cubicBezTo>
                    <a:cubicBezTo>
                      <a:pt x="15" y="39"/>
                      <a:pt x="18" y="35"/>
                      <a:pt x="13" y="34"/>
                    </a:cubicBezTo>
                    <a:cubicBezTo>
                      <a:pt x="7" y="32"/>
                      <a:pt x="3" y="35"/>
                      <a:pt x="9" y="30"/>
                    </a:cubicBezTo>
                    <a:cubicBezTo>
                      <a:pt x="9" y="26"/>
                      <a:pt x="3" y="29"/>
                      <a:pt x="2" y="26"/>
                    </a:cubicBezTo>
                    <a:cubicBezTo>
                      <a:pt x="4" y="22"/>
                      <a:pt x="8" y="17"/>
                      <a:pt x="0" y="21"/>
                    </a:cubicBezTo>
                    <a:cubicBezTo>
                      <a:pt x="0" y="18"/>
                      <a:pt x="2" y="17"/>
                      <a:pt x="5" y="17"/>
                    </a:cubicBezTo>
                    <a:cubicBezTo>
                      <a:pt x="7" y="16"/>
                      <a:pt x="7" y="13"/>
                      <a:pt x="9" y="13"/>
                    </a:cubicBezTo>
                    <a:cubicBezTo>
                      <a:pt x="12" y="13"/>
                      <a:pt x="9" y="9"/>
                      <a:pt x="11" y="8"/>
                    </a:cubicBezTo>
                    <a:cubicBezTo>
                      <a:pt x="11" y="7"/>
                      <a:pt x="14" y="8"/>
                      <a:pt x="15" y="8"/>
                    </a:cubicBezTo>
                    <a:cubicBezTo>
                      <a:pt x="17" y="7"/>
                      <a:pt x="16" y="4"/>
                      <a:pt x="18" y="4"/>
                    </a:cubicBezTo>
                    <a:cubicBezTo>
                      <a:pt x="19" y="2"/>
                      <a:pt x="22" y="3"/>
                      <a:pt x="2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128" name="ísľidè">
                <a:extLst>
                  <a:ext uri="{FF2B5EF4-FFF2-40B4-BE49-F238E27FC236}">
                    <a16:creationId xmlns:a16="http://schemas.microsoft.com/office/drawing/2014/main" id="{F851D572-D355-491A-BE85-878094146D5F}"/>
                  </a:ext>
                </a:extLst>
              </p:cNvPr>
              <p:cNvSpPr/>
              <p:nvPr/>
            </p:nvSpPr>
            <p:spPr bwMode="auto">
              <a:xfrm>
                <a:off x="5831072" y="552163"/>
                <a:ext cx="225526" cy="113464"/>
              </a:xfrm>
              <a:custGeom>
                <a:avLst/>
                <a:gdLst>
                  <a:gd name="T0" fmla="*/ 37 w 109"/>
                  <a:gd name="T1" fmla="*/ 38 h 55"/>
                  <a:gd name="T2" fmla="*/ 34 w 109"/>
                  <a:gd name="T3" fmla="*/ 40 h 55"/>
                  <a:gd name="T4" fmla="*/ 24 w 109"/>
                  <a:gd name="T5" fmla="*/ 38 h 55"/>
                  <a:gd name="T6" fmla="*/ 30 w 109"/>
                  <a:gd name="T7" fmla="*/ 34 h 55"/>
                  <a:gd name="T8" fmla="*/ 41 w 109"/>
                  <a:gd name="T9" fmla="*/ 27 h 55"/>
                  <a:gd name="T10" fmla="*/ 37 w 109"/>
                  <a:gd name="T11" fmla="*/ 21 h 55"/>
                  <a:gd name="T12" fmla="*/ 28 w 109"/>
                  <a:gd name="T13" fmla="*/ 21 h 55"/>
                  <a:gd name="T14" fmla="*/ 19 w 109"/>
                  <a:gd name="T15" fmla="*/ 28 h 55"/>
                  <a:gd name="T16" fmla="*/ 6 w 109"/>
                  <a:gd name="T17" fmla="*/ 27 h 55"/>
                  <a:gd name="T18" fmla="*/ 8 w 109"/>
                  <a:gd name="T19" fmla="*/ 14 h 55"/>
                  <a:gd name="T20" fmla="*/ 4 w 109"/>
                  <a:gd name="T21" fmla="*/ 15 h 55"/>
                  <a:gd name="T22" fmla="*/ 2 w 109"/>
                  <a:gd name="T23" fmla="*/ 6 h 55"/>
                  <a:gd name="T24" fmla="*/ 6 w 109"/>
                  <a:gd name="T25" fmla="*/ 8 h 55"/>
                  <a:gd name="T26" fmla="*/ 17 w 109"/>
                  <a:gd name="T27" fmla="*/ 4 h 55"/>
                  <a:gd name="T28" fmla="*/ 19 w 109"/>
                  <a:gd name="T29" fmla="*/ 10 h 55"/>
                  <a:gd name="T30" fmla="*/ 34 w 109"/>
                  <a:gd name="T31" fmla="*/ 12 h 55"/>
                  <a:gd name="T32" fmla="*/ 39 w 109"/>
                  <a:gd name="T33" fmla="*/ 4 h 55"/>
                  <a:gd name="T34" fmla="*/ 58 w 109"/>
                  <a:gd name="T35" fmla="*/ 6 h 55"/>
                  <a:gd name="T36" fmla="*/ 60 w 109"/>
                  <a:gd name="T37" fmla="*/ 6 h 55"/>
                  <a:gd name="T38" fmla="*/ 67 w 109"/>
                  <a:gd name="T39" fmla="*/ 12 h 55"/>
                  <a:gd name="T40" fmla="*/ 65 w 109"/>
                  <a:gd name="T41" fmla="*/ 15 h 55"/>
                  <a:gd name="T42" fmla="*/ 75 w 109"/>
                  <a:gd name="T43" fmla="*/ 14 h 55"/>
                  <a:gd name="T44" fmla="*/ 86 w 109"/>
                  <a:gd name="T45" fmla="*/ 17 h 55"/>
                  <a:gd name="T46" fmla="*/ 88 w 109"/>
                  <a:gd name="T47" fmla="*/ 21 h 55"/>
                  <a:gd name="T48" fmla="*/ 90 w 109"/>
                  <a:gd name="T49" fmla="*/ 23 h 55"/>
                  <a:gd name="T50" fmla="*/ 92 w 109"/>
                  <a:gd name="T51" fmla="*/ 27 h 55"/>
                  <a:gd name="T52" fmla="*/ 95 w 109"/>
                  <a:gd name="T53" fmla="*/ 27 h 55"/>
                  <a:gd name="T54" fmla="*/ 95 w 109"/>
                  <a:gd name="T55" fmla="*/ 30 h 55"/>
                  <a:gd name="T56" fmla="*/ 99 w 109"/>
                  <a:gd name="T57" fmla="*/ 30 h 55"/>
                  <a:gd name="T58" fmla="*/ 101 w 109"/>
                  <a:gd name="T59" fmla="*/ 36 h 55"/>
                  <a:gd name="T60" fmla="*/ 106 w 109"/>
                  <a:gd name="T61" fmla="*/ 36 h 55"/>
                  <a:gd name="T62" fmla="*/ 101 w 109"/>
                  <a:gd name="T63" fmla="*/ 40 h 55"/>
                  <a:gd name="T64" fmla="*/ 101 w 109"/>
                  <a:gd name="T65" fmla="*/ 41 h 55"/>
                  <a:gd name="T66" fmla="*/ 82 w 109"/>
                  <a:gd name="T67" fmla="*/ 41 h 55"/>
                  <a:gd name="T68" fmla="*/ 82 w 109"/>
                  <a:gd name="T69" fmla="*/ 30 h 55"/>
                  <a:gd name="T70" fmla="*/ 64 w 109"/>
                  <a:gd name="T71" fmla="*/ 28 h 55"/>
                  <a:gd name="T72" fmla="*/ 62 w 109"/>
                  <a:gd name="T73" fmla="*/ 34 h 55"/>
                  <a:gd name="T74" fmla="*/ 58 w 109"/>
                  <a:gd name="T75" fmla="*/ 34 h 55"/>
                  <a:gd name="T76" fmla="*/ 54 w 109"/>
                  <a:gd name="T77" fmla="*/ 38 h 55"/>
                  <a:gd name="T78" fmla="*/ 56 w 109"/>
                  <a:gd name="T79" fmla="*/ 40 h 55"/>
                  <a:gd name="T80" fmla="*/ 51 w 109"/>
                  <a:gd name="T81" fmla="*/ 41 h 55"/>
                  <a:gd name="T82" fmla="*/ 51 w 109"/>
                  <a:gd name="T83" fmla="*/ 53 h 55"/>
                  <a:gd name="T84" fmla="*/ 26 w 109"/>
                  <a:gd name="T85" fmla="*/ 45 h 55"/>
                  <a:gd name="T86" fmla="*/ 32 w 109"/>
                  <a:gd name="T87" fmla="*/ 41 h 55"/>
                  <a:gd name="T88" fmla="*/ 39 w 109"/>
                  <a:gd name="T89" fmla="*/ 41 h 55"/>
                  <a:gd name="T90" fmla="*/ 37 w 109"/>
                  <a:gd name="T91" fmla="*/ 38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09" h="55">
                    <a:moveTo>
                      <a:pt x="37" y="38"/>
                    </a:moveTo>
                    <a:cubicBezTo>
                      <a:pt x="37" y="34"/>
                      <a:pt x="34" y="40"/>
                      <a:pt x="34" y="40"/>
                    </a:cubicBezTo>
                    <a:cubicBezTo>
                      <a:pt x="31" y="40"/>
                      <a:pt x="29" y="36"/>
                      <a:pt x="24" y="38"/>
                    </a:cubicBezTo>
                    <a:cubicBezTo>
                      <a:pt x="25" y="34"/>
                      <a:pt x="28" y="35"/>
                      <a:pt x="30" y="34"/>
                    </a:cubicBezTo>
                    <a:cubicBezTo>
                      <a:pt x="34" y="32"/>
                      <a:pt x="36" y="27"/>
                      <a:pt x="41" y="27"/>
                    </a:cubicBezTo>
                    <a:cubicBezTo>
                      <a:pt x="40" y="25"/>
                      <a:pt x="37" y="25"/>
                      <a:pt x="37" y="21"/>
                    </a:cubicBezTo>
                    <a:cubicBezTo>
                      <a:pt x="34" y="20"/>
                      <a:pt x="30" y="26"/>
                      <a:pt x="28" y="21"/>
                    </a:cubicBezTo>
                    <a:cubicBezTo>
                      <a:pt x="25" y="24"/>
                      <a:pt x="23" y="27"/>
                      <a:pt x="19" y="28"/>
                    </a:cubicBezTo>
                    <a:cubicBezTo>
                      <a:pt x="13" y="29"/>
                      <a:pt x="12" y="25"/>
                      <a:pt x="6" y="27"/>
                    </a:cubicBezTo>
                    <a:cubicBezTo>
                      <a:pt x="10" y="23"/>
                      <a:pt x="10" y="19"/>
                      <a:pt x="8" y="14"/>
                    </a:cubicBezTo>
                    <a:cubicBezTo>
                      <a:pt x="5" y="13"/>
                      <a:pt x="4" y="14"/>
                      <a:pt x="4" y="15"/>
                    </a:cubicBezTo>
                    <a:cubicBezTo>
                      <a:pt x="0" y="16"/>
                      <a:pt x="3" y="9"/>
                      <a:pt x="2" y="6"/>
                    </a:cubicBezTo>
                    <a:cubicBezTo>
                      <a:pt x="4" y="6"/>
                      <a:pt x="5" y="6"/>
                      <a:pt x="6" y="8"/>
                    </a:cubicBezTo>
                    <a:cubicBezTo>
                      <a:pt x="7" y="4"/>
                      <a:pt x="16" y="8"/>
                      <a:pt x="17" y="4"/>
                    </a:cubicBezTo>
                    <a:cubicBezTo>
                      <a:pt x="19" y="4"/>
                      <a:pt x="19" y="8"/>
                      <a:pt x="19" y="10"/>
                    </a:cubicBezTo>
                    <a:cubicBezTo>
                      <a:pt x="26" y="11"/>
                      <a:pt x="33" y="0"/>
                      <a:pt x="34" y="12"/>
                    </a:cubicBezTo>
                    <a:cubicBezTo>
                      <a:pt x="39" y="12"/>
                      <a:pt x="40" y="9"/>
                      <a:pt x="39" y="4"/>
                    </a:cubicBezTo>
                    <a:cubicBezTo>
                      <a:pt x="44" y="6"/>
                      <a:pt x="51" y="5"/>
                      <a:pt x="58" y="6"/>
                    </a:cubicBezTo>
                    <a:cubicBezTo>
                      <a:pt x="59" y="6"/>
                      <a:pt x="60" y="9"/>
                      <a:pt x="60" y="6"/>
                    </a:cubicBezTo>
                    <a:cubicBezTo>
                      <a:pt x="63" y="7"/>
                      <a:pt x="60" y="15"/>
                      <a:pt x="67" y="12"/>
                    </a:cubicBezTo>
                    <a:cubicBezTo>
                      <a:pt x="67" y="13"/>
                      <a:pt x="65" y="13"/>
                      <a:pt x="65" y="15"/>
                    </a:cubicBezTo>
                    <a:cubicBezTo>
                      <a:pt x="68" y="14"/>
                      <a:pt x="75" y="18"/>
                      <a:pt x="75" y="14"/>
                    </a:cubicBezTo>
                    <a:cubicBezTo>
                      <a:pt x="76" y="15"/>
                      <a:pt x="78" y="19"/>
                      <a:pt x="86" y="17"/>
                    </a:cubicBezTo>
                    <a:cubicBezTo>
                      <a:pt x="83" y="21"/>
                      <a:pt x="85" y="20"/>
                      <a:pt x="88" y="21"/>
                    </a:cubicBezTo>
                    <a:cubicBezTo>
                      <a:pt x="89" y="21"/>
                      <a:pt x="88" y="23"/>
                      <a:pt x="90" y="23"/>
                    </a:cubicBezTo>
                    <a:cubicBezTo>
                      <a:pt x="92" y="23"/>
                      <a:pt x="90" y="25"/>
                      <a:pt x="92" y="27"/>
                    </a:cubicBezTo>
                    <a:cubicBezTo>
                      <a:pt x="92" y="27"/>
                      <a:pt x="95" y="26"/>
                      <a:pt x="95" y="27"/>
                    </a:cubicBezTo>
                    <a:cubicBezTo>
                      <a:pt x="96" y="27"/>
                      <a:pt x="95" y="30"/>
                      <a:pt x="95" y="30"/>
                    </a:cubicBezTo>
                    <a:cubicBezTo>
                      <a:pt x="96" y="31"/>
                      <a:pt x="99" y="30"/>
                      <a:pt x="99" y="30"/>
                    </a:cubicBezTo>
                    <a:cubicBezTo>
                      <a:pt x="100" y="32"/>
                      <a:pt x="99" y="35"/>
                      <a:pt x="101" y="36"/>
                    </a:cubicBezTo>
                    <a:cubicBezTo>
                      <a:pt x="104" y="36"/>
                      <a:pt x="106" y="33"/>
                      <a:pt x="106" y="36"/>
                    </a:cubicBezTo>
                    <a:cubicBezTo>
                      <a:pt x="109" y="41"/>
                      <a:pt x="102" y="38"/>
                      <a:pt x="101" y="40"/>
                    </a:cubicBezTo>
                    <a:cubicBezTo>
                      <a:pt x="101" y="40"/>
                      <a:pt x="101" y="41"/>
                      <a:pt x="101" y="41"/>
                    </a:cubicBezTo>
                    <a:cubicBezTo>
                      <a:pt x="96" y="43"/>
                      <a:pt x="88" y="40"/>
                      <a:pt x="82" y="41"/>
                    </a:cubicBezTo>
                    <a:cubicBezTo>
                      <a:pt x="80" y="36"/>
                      <a:pt x="82" y="37"/>
                      <a:pt x="82" y="30"/>
                    </a:cubicBezTo>
                    <a:cubicBezTo>
                      <a:pt x="80" y="25"/>
                      <a:pt x="68" y="25"/>
                      <a:pt x="64" y="28"/>
                    </a:cubicBezTo>
                    <a:cubicBezTo>
                      <a:pt x="61" y="28"/>
                      <a:pt x="63" y="32"/>
                      <a:pt x="62" y="34"/>
                    </a:cubicBezTo>
                    <a:cubicBezTo>
                      <a:pt x="61" y="35"/>
                      <a:pt x="58" y="33"/>
                      <a:pt x="58" y="34"/>
                    </a:cubicBezTo>
                    <a:cubicBezTo>
                      <a:pt x="57" y="36"/>
                      <a:pt x="58" y="39"/>
                      <a:pt x="54" y="38"/>
                    </a:cubicBezTo>
                    <a:cubicBezTo>
                      <a:pt x="54" y="39"/>
                      <a:pt x="55" y="40"/>
                      <a:pt x="56" y="40"/>
                    </a:cubicBezTo>
                    <a:cubicBezTo>
                      <a:pt x="56" y="42"/>
                      <a:pt x="53" y="41"/>
                      <a:pt x="51" y="41"/>
                    </a:cubicBezTo>
                    <a:cubicBezTo>
                      <a:pt x="48" y="47"/>
                      <a:pt x="50" y="46"/>
                      <a:pt x="51" y="53"/>
                    </a:cubicBezTo>
                    <a:cubicBezTo>
                      <a:pt x="44" y="54"/>
                      <a:pt x="27" y="55"/>
                      <a:pt x="26" y="45"/>
                    </a:cubicBezTo>
                    <a:cubicBezTo>
                      <a:pt x="30" y="45"/>
                      <a:pt x="31" y="44"/>
                      <a:pt x="32" y="41"/>
                    </a:cubicBezTo>
                    <a:cubicBezTo>
                      <a:pt x="37" y="41"/>
                      <a:pt x="36" y="45"/>
                      <a:pt x="39" y="41"/>
                    </a:cubicBezTo>
                    <a:cubicBezTo>
                      <a:pt x="38" y="40"/>
                      <a:pt x="34" y="39"/>
                      <a:pt x="37" y="3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129" name="îṩ1iḑe">
                <a:extLst>
                  <a:ext uri="{FF2B5EF4-FFF2-40B4-BE49-F238E27FC236}">
                    <a16:creationId xmlns:a16="http://schemas.microsoft.com/office/drawing/2014/main" id="{7AF1B7FB-1C27-4B89-9B9D-8628B3A0ACF5}"/>
                  </a:ext>
                </a:extLst>
              </p:cNvPr>
              <p:cNvSpPr/>
              <p:nvPr/>
            </p:nvSpPr>
            <p:spPr bwMode="auto">
              <a:xfrm>
                <a:off x="3721494" y="640411"/>
                <a:ext cx="105059" cy="56031"/>
              </a:xfrm>
              <a:custGeom>
                <a:avLst/>
                <a:gdLst>
                  <a:gd name="T0" fmla="*/ 51 w 51"/>
                  <a:gd name="T1" fmla="*/ 4 h 27"/>
                  <a:gd name="T2" fmla="*/ 51 w 51"/>
                  <a:gd name="T3" fmla="*/ 10 h 27"/>
                  <a:gd name="T4" fmla="*/ 47 w 51"/>
                  <a:gd name="T5" fmla="*/ 10 h 27"/>
                  <a:gd name="T6" fmla="*/ 47 w 51"/>
                  <a:gd name="T7" fmla="*/ 15 h 27"/>
                  <a:gd name="T8" fmla="*/ 41 w 51"/>
                  <a:gd name="T9" fmla="*/ 19 h 27"/>
                  <a:gd name="T10" fmla="*/ 36 w 51"/>
                  <a:gd name="T11" fmla="*/ 13 h 27"/>
                  <a:gd name="T12" fmla="*/ 30 w 51"/>
                  <a:gd name="T13" fmla="*/ 17 h 27"/>
                  <a:gd name="T14" fmla="*/ 23 w 51"/>
                  <a:gd name="T15" fmla="*/ 25 h 27"/>
                  <a:gd name="T16" fmla="*/ 2 w 51"/>
                  <a:gd name="T17" fmla="*/ 25 h 27"/>
                  <a:gd name="T18" fmla="*/ 0 w 51"/>
                  <a:gd name="T19" fmla="*/ 17 h 27"/>
                  <a:gd name="T20" fmla="*/ 8 w 51"/>
                  <a:gd name="T21" fmla="*/ 19 h 27"/>
                  <a:gd name="T22" fmla="*/ 15 w 51"/>
                  <a:gd name="T23" fmla="*/ 13 h 27"/>
                  <a:gd name="T24" fmla="*/ 19 w 51"/>
                  <a:gd name="T25" fmla="*/ 10 h 27"/>
                  <a:gd name="T26" fmla="*/ 24 w 51"/>
                  <a:gd name="T27" fmla="*/ 8 h 27"/>
                  <a:gd name="T28" fmla="*/ 26 w 51"/>
                  <a:gd name="T29" fmla="*/ 8 h 27"/>
                  <a:gd name="T30" fmla="*/ 30 w 51"/>
                  <a:gd name="T31" fmla="*/ 4 h 27"/>
                  <a:gd name="T32" fmla="*/ 38 w 51"/>
                  <a:gd name="T33" fmla="*/ 4 h 27"/>
                  <a:gd name="T34" fmla="*/ 51 w 51"/>
                  <a:gd name="T35" fmla="*/ 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1" h="27">
                    <a:moveTo>
                      <a:pt x="51" y="4"/>
                    </a:moveTo>
                    <a:cubicBezTo>
                      <a:pt x="50" y="5"/>
                      <a:pt x="51" y="9"/>
                      <a:pt x="51" y="10"/>
                    </a:cubicBezTo>
                    <a:cubicBezTo>
                      <a:pt x="50" y="10"/>
                      <a:pt x="47" y="9"/>
                      <a:pt x="47" y="10"/>
                    </a:cubicBezTo>
                    <a:cubicBezTo>
                      <a:pt x="47" y="10"/>
                      <a:pt x="49" y="15"/>
                      <a:pt x="47" y="15"/>
                    </a:cubicBezTo>
                    <a:cubicBezTo>
                      <a:pt x="45" y="16"/>
                      <a:pt x="42" y="12"/>
                      <a:pt x="41" y="19"/>
                    </a:cubicBezTo>
                    <a:cubicBezTo>
                      <a:pt x="38" y="19"/>
                      <a:pt x="40" y="13"/>
                      <a:pt x="36" y="13"/>
                    </a:cubicBezTo>
                    <a:cubicBezTo>
                      <a:pt x="32" y="12"/>
                      <a:pt x="33" y="17"/>
                      <a:pt x="30" y="17"/>
                    </a:cubicBezTo>
                    <a:cubicBezTo>
                      <a:pt x="28" y="20"/>
                      <a:pt x="22" y="19"/>
                      <a:pt x="23" y="25"/>
                    </a:cubicBezTo>
                    <a:cubicBezTo>
                      <a:pt x="15" y="27"/>
                      <a:pt x="11" y="25"/>
                      <a:pt x="2" y="25"/>
                    </a:cubicBezTo>
                    <a:cubicBezTo>
                      <a:pt x="2" y="21"/>
                      <a:pt x="0" y="21"/>
                      <a:pt x="0" y="17"/>
                    </a:cubicBezTo>
                    <a:cubicBezTo>
                      <a:pt x="2" y="19"/>
                      <a:pt x="4" y="19"/>
                      <a:pt x="8" y="19"/>
                    </a:cubicBezTo>
                    <a:cubicBezTo>
                      <a:pt x="11" y="19"/>
                      <a:pt x="11" y="14"/>
                      <a:pt x="15" y="13"/>
                    </a:cubicBezTo>
                    <a:cubicBezTo>
                      <a:pt x="16" y="13"/>
                      <a:pt x="18" y="9"/>
                      <a:pt x="19" y="10"/>
                    </a:cubicBezTo>
                    <a:cubicBezTo>
                      <a:pt x="23" y="13"/>
                      <a:pt x="19" y="8"/>
                      <a:pt x="24" y="8"/>
                    </a:cubicBezTo>
                    <a:cubicBezTo>
                      <a:pt x="25" y="8"/>
                      <a:pt x="26" y="8"/>
                      <a:pt x="26" y="8"/>
                    </a:cubicBezTo>
                    <a:cubicBezTo>
                      <a:pt x="27" y="7"/>
                      <a:pt x="30" y="4"/>
                      <a:pt x="30" y="4"/>
                    </a:cubicBezTo>
                    <a:cubicBezTo>
                      <a:pt x="32" y="3"/>
                      <a:pt x="35" y="5"/>
                      <a:pt x="38" y="4"/>
                    </a:cubicBezTo>
                    <a:cubicBezTo>
                      <a:pt x="39" y="4"/>
                      <a:pt x="46" y="0"/>
                      <a:pt x="51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130" name="îṡḷïďe">
                <a:extLst>
                  <a:ext uri="{FF2B5EF4-FFF2-40B4-BE49-F238E27FC236}">
                    <a16:creationId xmlns:a16="http://schemas.microsoft.com/office/drawing/2014/main" id="{AE63D1E2-5B26-4780-8FF3-CD9DEC977FAB}"/>
                  </a:ext>
                </a:extLst>
              </p:cNvPr>
              <p:cNvSpPr/>
              <p:nvPr/>
            </p:nvSpPr>
            <p:spPr bwMode="auto">
              <a:xfrm>
                <a:off x="4011456" y="664225"/>
                <a:ext cx="109261" cy="56031"/>
              </a:xfrm>
              <a:custGeom>
                <a:avLst/>
                <a:gdLst>
                  <a:gd name="T0" fmla="*/ 47 w 52"/>
                  <a:gd name="T1" fmla="*/ 2 h 27"/>
                  <a:gd name="T2" fmla="*/ 52 w 52"/>
                  <a:gd name="T3" fmla="*/ 19 h 27"/>
                  <a:gd name="T4" fmla="*/ 49 w 52"/>
                  <a:gd name="T5" fmla="*/ 17 h 27"/>
                  <a:gd name="T6" fmla="*/ 49 w 52"/>
                  <a:gd name="T7" fmla="*/ 23 h 27"/>
                  <a:gd name="T8" fmla="*/ 41 w 52"/>
                  <a:gd name="T9" fmla="*/ 25 h 27"/>
                  <a:gd name="T10" fmla="*/ 39 w 52"/>
                  <a:gd name="T11" fmla="*/ 27 h 27"/>
                  <a:gd name="T12" fmla="*/ 34 w 52"/>
                  <a:gd name="T13" fmla="*/ 27 h 27"/>
                  <a:gd name="T14" fmla="*/ 34 w 52"/>
                  <a:gd name="T15" fmla="*/ 19 h 27"/>
                  <a:gd name="T16" fmla="*/ 15 w 52"/>
                  <a:gd name="T17" fmla="*/ 17 h 27"/>
                  <a:gd name="T18" fmla="*/ 0 w 52"/>
                  <a:gd name="T19" fmla="*/ 8 h 27"/>
                  <a:gd name="T20" fmla="*/ 2 w 52"/>
                  <a:gd name="T21" fmla="*/ 4 h 27"/>
                  <a:gd name="T22" fmla="*/ 6 w 52"/>
                  <a:gd name="T23" fmla="*/ 6 h 27"/>
                  <a:gd name="T24" fmla="*/ 15 w 52"/>
                  <a:gd name="T25" fmla="*/ 10 h 27"/>
                  <a:gd name="T26" fmla="*/ 19 w 52"/>
                  <a:gd name="T27" fmla="*/ 10 h 27"/>
                  <a:gd name="T28" fmla="*/ 21 w 52"/>
                  <a:gd name="T29" fmla="*/ 14 h 27"/>
                  <a:gd name="T30" fmla="*/ 22 w 52"/>
                  <a:gd name="T31" fmla="*/ 6 h 27"/>
                  <a:gd name="T32" fmla="*/ 26 w 52"/>
                  <a:gd name="T33" fmla="*/ 10 h 27"/>
                  <a:gd name="T34" fmla="*/ 47 w 52"/>
                  <a:gd name="T35" fmla="*/ 2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2" h="27">
                    <a:moveTo>
                      <a:pt x="47" y="2"/>
                    </a:moveTo>
                    <a:cubicBezTo>
                      <a:pt x="44" y="12"/>
                      <a:pt x="52" y="12"/>
                      <a:pt x="52" y="19"/>
                    </a:cubicBezTo>
                    <a:cubicBezTo>
                      <a:pt x="51" y="20"/>
                      <a:pt x="49" y="16"/>
                      <a:pt x="49" y="17"/>
                    </a:cubicBezTo>
                    <a:cubicBezTo>
                      <a:pt x="48" y="18"/>
                      <a:pt x="49" y="22"/>
                      <a:pt x="49" y="23"/>
                    </a:cubicBezTo>
                    <a:cubicBezTo>
                      <a:pt x="47" y="24"/>
                      <a:pt x="44" y="24"/>
                      <a:pt x="41" y="25"/>
                    </a:cubicBezTo>
                    <a:cubicBezTo>
                      <a:pt x="40" y="25"/>
                      <a:pt x="41" y="27"/>
                      <a:pt x="39" y="27"/>
                    </a:cubicBezTo>
                    <a:cubicBezTo>
                      <a:pt x="37" y="27"/>
                      <a:pt x="35" y="27"/>
                      <a:pt x="34" y="27"/>
                    </a:cubicBezTo>
                    <a:cubicBezTo>
                      <a:pt x="31" y="24"/>
                      <a:pt x="31" y="22"/>
                      <a:pt x="34" y="19"/>
                    </a:cubicBezTo>
                    <a:cubicBezTo>
                      <a:pt x="27" y="22"/>
                      <a:pt x="23" y="17"/>
                      <a:pt x="15" y="17"/>
                    </a:cubicBezTo>
                    <a:cubicBezTo>
                      <a:pt x="13" y="11"/>
                      <a:pt x="4" y="12"/>
                      <a:pt x="0" y="8"/>
                    </a:cubicBezTo>
                    <a:cubicBezTo>
                      <a:pt x="1" y="8"/>
                      <a:pt x="1" y="4"/>
                      <a:pt x="2" y="4"/>
                    </a:cubicBezTo>
                    <a:cubicBezTo>
                      <a:pt x="5" y="3"/>
                      <a:pt x="5" y="6"/>
                      <a:pt x="6" y="6"/>
                    </a:cubicBezTo>
                    <a:cubicBezTo>
                      <a:pt x="8" y="6"/>
                      <a:pt x="13" y="8"/>
                      <a:pt x="15" y="10"/>
                    </a:cubicBezTo>
                    <a:cubicBezTo>
                      <a:pt x="15" y="10"/>
                      <a:pt x="18" y="9"/>
                      <a:pt x="19" y="10"/>
                    </a:cubicBezTo>
                    <a:cubicBezTo>
                      <a:pt x="20" y="11"/>
                      <a:pt x="18" y="14"/>
                      <a:pt x="21" y="14"/>
                    </a:cubicBezTo>
                    <a:cubicBezTo>
                      <a:pt x="26" y="12"/>
                      <a:pt x="18" y="9"/>
                      <a:pt x="22" y="6"/>
                    </a:cubicBezTo>
                    <a:cubicBezTo>
                      <a:pt x="26" y="4"/>
                      <a:pt x="26" y="10"/>
                      <a:pt x="26" y="10"/>
                    </a:cubicBezTo>
                    <a:cubicBezTo>
                      <a:pt x="33" y="10"/>
                      <a:pt x="36" y="0"/>
                      <a:pt x="47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131" name="í$ľíḑê">
                <a:extLst>
                  <a:ext uri="{FF2B5EF4-FFF2-40B4-BE49-F238E27FC236}">
                    <a16:creationId xmlns:a16="http://schemas.microsoft.com/office/drawing/2014/main" id="{C5213609-7685-40E5-B65B-05BCC4524603}"/>
                  </a:ext>
                </a:extLst>
              </p:cNvPr>
              <p:cNvSpPr/>
              <p:nvPr/>
            </p:nvSpPr>
            <p:spPr bwMode="auto">
              <a:xfrm>
                <a:off x="3805541" y="665625"/>
                <a:ext cx="191908" cy="72841"/>
              </a:xfrm>
              <a:custGeom>
                <a:avLst/>
                <a:gdLst>
                  <a:gd name="T0" fmla="*/ 41 w 92"/>
                  <a:gd name="T1" fmla="*/ 13 h 35"/>
                  <a:gd name="T2" fmla="*/ 60 w 92"/>
                  <a:gd name="T3" fmla="*/ 20 h 35"/>
                  <a:gd name="T4" fmla="*/ 60 w 92"/>
                  <a:gd name="T5" fmla="*/ 11 h 35"/>
                  <a:gd name="T6" fmla="*/ 54 w 92"/>
                  <a:gd name="T7" fmla="*/ 3 h 35"/>
                  <a:gd name="T8" fmla="*/ 67 w 92"/>
                  <a:gd name="T9" fmla="*/ 1 h 35"/>
                  <a:gd name="T10" fmla="*/ 71 w 92"/>
                  <a:gd name="T11" fmla="*/ 5 h 35"/>
                  <a:gd name="T12" fmla="*/ 71 w 92"/>
                  <a:gd name="T13" fmla="*/ 9 h 35"/>
                  <a:gd name="T14" fmla="*/ 79 w 92"/>
                  <a:gd name="T15" fmla="*/ 14 h 35"/>
                  <a:gd name="T16" fmla="*/ 84 w 92"/>
                  <a:gd name="T17" fmla="*/ 11 h 35"/>
                  <a:gd name="T18" fmla="*/ 90 w 92"/>
                  <a:gd name="T19" fmla="*/ 14 h 35"/>
                  <a:gd name="T20" fmla="*/ 92 w 92"/>
                  <a:gd name="T21" fmla="*/ 18 h 35"/>
                  <a:gd name="T22" fmla="*/ 90 w 92"/>
                  <a:gd name="T23" fmla="*/ 26 h 35"/>
                  <a:gd name="T24" fmla="*/ 79 w 92"/>
                  <a:gd name="T25" fmla="*/ 27 h 35"/>
                  <a:gd name="T26" fmla="*/ 71 w 92"/>
                  <a:gd name="T27" fmla="*/ 26 h 35"/>
                  <a:gd name="T28" fmla="*/ 54 w 92"/>
                  <a:gd name="T29" fmla="*/ 29 h 35"/>
                  <a:gd name="T30" fmla="*/ 51 w 92"/>
                  <a:gd name="T31" fmla="*/ 29 h 35"/>
                  <a:gd name="T32" fmla="*/ 45 w 92"/>
                  <a:gd name="T33" fmla="*/ 31 h 35"/>
                  <a:gd name="T34" fmla="*/ 26 w 92"/>
                  <a:gd name="T35" fmla="*/ 35 h 35"/>
                  <a:gd name="T36" fmla="*/ 43 w 92"/>
                  <a:gd name="T37" fmla="*/ 29 h 35"/>
                  <a:gd name="T38" fmla="*/ 34 w 92"/>
                  <a:gd name="T39" fmla="*/ 26 h 35"/>
                  <a:gd name="T40" fmla="*/ 26 w 92"/>
                  <a:gd name="T41" fmla="*/ 22 h 35"/>
                  <a:gd name="T42" fmla="*/ 19 w 92"/>
                  <a:gd name="T43" fmla="*/ 26 h 35"/>
                  <a:gd name="T44" fmla="*/ 13 w 92"/>
                  <a:gd name="T45" fmla="*/ 24 h 35"/>
                  <a:gd name="T46" fmla="*/ 0 w 92"/>
                  <a:gd name="T47" fmla="*/ 22 h 35"/>
                  <a:gd name="T48" fmla="*/ 4 w 92"/>
                  <a:gd name="T49" fmla="*/ 18 h 35"/>
                  <a:gd name="T50" fmla="*/ 6 w 92"/>
                  <a:gd name="T51" fmla="*/ 13 h 35"/>
                  <a:gd name="T52" fmla="*/ 13 w 92"/>
                  <a:gd name="T53" fmla="*/ 11 h 35"/>
                  <a:gd name="T54" fmla="*/ 11 w 92"/>
                  <a:gd name="T55" fmla="*/ 7 h 35"/>
                  <a:gd name="T56" fmla="*/ 15 w 92"/>
                  <a:gd name="T57" fmla="*/ 7 h 35"/>
                  <a:gd name="T58" fmla="*/ 21 w 92"/>
                  <a:gd name="T59" fmla="*/ 5 h 35"/>
                  <a:gd name="T60" fmla="*/ 30 w 92"/>
                  <a:gd name="T61" fmla="*/ 7 h 35"/>
                  <a:gd name="T62" fmla="*/ 32 w 92"/>
                  <a:gd name="T63" fmla="*/ 11 h 35"/>
                  <a:gd name="T64" fmla="*/ 36 w 92"/>
                  <a:gd name="T65" fmla="*/ 11 h 35"/>
                  <a:gd name="T66" fmla="*/ 36 w 92"/>
                  <a:gd name="T67" fmla="*/ 16 h 35"/>
                  <a:gd name="T68" fmla="*/ 41 w 92"/>
                  <a:gd name="T69" fmla="*/ 13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92" h="35">
                    <a:moveTo>
                      <a:pt x="41" y="13"/>
                    </a:moveTo>
                    <a:cubicBezTo>
                      <a:pt x="39" y="19"/>
                      <a:pt x="56" y="16"/>
                      <a:pt x="60" y="20"/>
                    </a:cubicBezTo>
                    <a:cubicBezTo>
                      <a:pt x="63" y="12"/>
                      <a:pt x="47" y="11"/>
                      <a:pt x="60" y="11"/>
                    </a:cubicBezTo>
                    <a:cubicBezTo>
                      <a:pt x="63" y="4"/>
                      <a:pt x="52" y="10"/>
                      <a:pt x="54" y="3"/>
                    </a:cubicBezTo>
                    <a:cubicBezTo>
                      <a:pt x="60" y="4"/>
                      <a:pt x="61" y="0"/>
                      <a:pt x="67" y="1"/>
                    </a:cubicBezTo>
                    <a:cubicBezTo>
                      <a:pt x="66" y="5"/>
                      <a:pt x="70" y="4"/>
                      <a:pt x="71" y="5"/>
                    </a:cubicBezTo>
                    <a:cubicBezTo>
                      <a:pt x="72" y="6"/>
                      <a:pt x="70" y="8"/>
                      <a:pt x="71" y="9"/>
                    </a:cubicBezTo>
                    <a:cubicBezTo>
                      <a:pt x="73" y="10"/>
                      <a:pt x="76" y="11"/>
                      <a:pt x="79" y="14"/>
                    </a:cubicBezTo>
                    <a:cubicBezTo>
                      <a:pt x="80" y="13"/>
                      <a:pt x="80" y="10"/>
                      <a:pt x="84" y="11"/>
                    </a:cubicBezTo>
                    <a:cubicBezTo>
                      <a:pt x="87" y="11"/>
                      <a:pt x="89" y="13"/>
                      <a:pt x="90" y="14"/>
                    </a:cubicBezTo>
                    <a:cubicBezTo>
                      <a:pt x="90" y="15"/>
                      <a:pt x="92" y="18"/>
                      <a:pt x="92" y="18"/>
                    </a:cubicBezTo>
                    <a:cubicBezTo>
                      <a:pt x="89" y="21"/>
                      <a:pt x="92" y="20"/>
                      <a:pt x="90" y="26"/>
                    </a:cubicBezTo>
                    <a:cubicBezTo>
                      <a:pt x="86" y="21"/>
                      <a:pt x="82" y="27"/>
                      <a:pt x="79" y="27"/>
                    </a:cubicBezTo>
                    <a:cubicBezTo>
                      <a:pt x="75" y="28"/>
                      <a:pt x="75" y="26"/>
                      <a:pt x="71" y="26"/>
                    </a:cubicBezTo>
                    <a:cubicBezTo>
                      <a:pt x="66" y="26"/>
                      <a:pt x="58" y="28"/>
                      <a:pt x="54" y="29"/>
                    </a:cubicBezTo>
                    <a:cubicBezTo>
                      <a:pt x="54" y="30"/>
                      <a:pt x="51" y="29"/>
                      <a:pt x="51" y="29"/>
                    </a:cubicBezTo>
                    <a:cubicBezTo>
                      <a:pt x="49" y="31"/>
                      <a:pt x="48" y="30"/>
                      <a:pt x="45" y="31"/>
                    </a:cubicBezTo>
                    <a:cubicBezTo>
                      <a:pt x="43" y="32"/>
                      <a:pt x="33" y="34"/>
                      <a:pt x="26" y="35"/>
                    </a:cubicBezTo>
                    <a:cubicBezTo>
                      <a:pt x="27" y="28"/>
                      <a:pt x="36" y="30"/>
                      <a:pt x="43" y="29"/>
                    </a:cubicBezTo>
                    <a:cubicBezTo>
                      <a:pt x="44" y="21"/>
                      <a:pt x="37" y="26"/>
                      <a:pt x="34" y="26"/>
                    </a:cubicBezTo>
                    <a:cubicBezTo>
                      <a:pt x="30" y="25"/>
                      <a:pt x="30" y="24"/>
                      <a:pt x="26" y="22"/>
                    </a:cubicBezTo>
                    <a:cubicBezTo>
                      <a:pt x="23" y="21"/>
                      <a:pt x="22" y="25"/>
                      <a:pt x="19" y="26"/>
                    </a:cubicBezTo>
                    <a:cubicBezTo>
                      <a:pt x="16" y="26"/>
                      <a:pt x="16" y="24"/>
                      <a:pt x="13" y="24"/>
                    </a:cubicBezTo>
                    <a:cubicBezTo>
                      <a:pt x="9" y="23"/>
                      <a:pt x="3" y="25"/>
                      <a:pt x="0" y="22"/>
                    </a:cubicBezTo>
                    <a:cubicBezTo>
                      <a:pt x="0" y="20"/>
                      <a:pt x="3" y="19"/>
                      <a:pt x="4" y="18"/>
                    </a:cubicBezTo>
                    <a:cubicBezTo>
                      <a:pt x="4" y="17"/>
                      <a:pt x="5" y="13"/>
                      <a:pt x="6" y="13"/>
                    </a:cubicBezTo>
                    <a:cubicBezTo>
                      <a:pt x="8" y="11"/>
                      <a:pt x="11" y="13"/>
                      <a:pt x="13" y="11"/>
                    </a:cubicBezTo>
                    <a:cubicBezTo>
                      <a:pt x="14" y="10"/>
                      <a:pt x="7" y="8"/>
                      <a:pt x="11" y="7"/>
                    </a:cubicBezTo>
                    <a:cubicBezTo>
                      <a:pt x="13" y="7"/>
                      <a:pt x="14" y="7"/>
                      <a:pt x="15" y="7"/>
                    </a:cubicBezTo>
                    <a:cubicBezTo>
                      <a:pt x="17" y="6"/>
                      <a:pt x="19" y="5"/>
                      <a:pt x="21" y="5"/>
                    </a:cubicBezTo>
                    <a:cubicBezTo>
                      <a:pt x="22" y="5"/>
                      <a:pt x="29" y="6"/>
                      <a:pt x="30" y="7"/>
                    </a:cubicBezTo>
                    <a:cubicBezTo>
                      <a:pt x="31" y="8"/>
                      <a:pt x="30" y="10"/>
                      <a:pt x="32" y="11"/>
                    </a:cubicBezTo>
                    <a:cubicBezTo>
                      <a:pt x="33" y="11"/>
                      <a:pt x="35" y="10"/>
                      <a:pt x="36" y="11"/>
                    </a:cubicBezTo>
                    <a:cubicBezTo>
                      <a:pt x="37" y="12"/>
                      <a:pt x="32" y="17"/>
                      <a:pt x="36" y="16"/>
                    </a:cubicBezTo>
                    <a:cubicBezTo>
                      <a:pt x="37" y="16"/>
                      <a:pt x="38" y="11"/>
                      <a:pt x="41" y="1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132" name="îSḷîḑé">
                <a:extLst>
                  <a:ext uri="{FF2B5EF4-FFF2-40B4-BE49-F238E27FC236}">
                    <a16:creationId xmlns:a16="http://schemas.microsoft.com/office/drawing/2014/main" id="{FBAF9DD0-D3CB-4C17-9341-A72BCBC16DE1}"/>
                  </a:ext>
                </a:extLst>
              </p:cNvPr>
              <p:cNvSpPr/>
              <p:nvPr/>
            </p:nvSpPr>
            <p:spPr bwMode="auto">
              <a:xfrm>
                <a:off x="3675269" y="741268"/>
                <a:ext cx="151284" cy="100856"/>
              </a:xfrm>
              <a:custGeom>
                <a:avLst/>
                <a:gdLst>
                  <a:gd name="T0" fmla="*/ 9 w 73"/>
                  <a:gd name="T1" fmla="*/ 1 h 49"/>
                  <a:gd name="T2" fmla="*/ 41 w 73"/>
                  <a:gd name="T3" fmla="*/ 3 h 49"/>
                  <a:gd name="T4" fmla="*/ 45 w 73"/>
                  <a:gd name="T5" fmla="*/ 3 h 49"/>
                  <a:gd name="T6" fmla="*/ 52 w 73"/>
                  <a:gd name="T7" fmla="*/ 5 h 49"/>
                  <a:gd name="T8" fmla="*/ 60 w 73"/>
                  <a:gd name="T9" fmla="*/ 5 h 49"/>
                  <a:gd name="T10" fmla="*/ 61 w 73"/>
                  <a:gd name="T11" fmla="*/ 6 h 49"/>
                  <a:gd name="T12" fmla="*/ 73 w 73"/>
                  <a:gd name="T13" fmla="*/ 14 h 49"/>
                  <a:gd name="T14" fmla="*/ 56 w 73"/>
                  <a:gd name="T15" fmla="*/ 18 h 49"/>
                  <a:gd name="T16" fmla="*/ 54 w 73"/>
                  <a:gd name="T17" fmla="*/ 21 h 49"/>
                  <a:gd name="T18" fmla="*/ 50 w 73"/>
                  <a:gd name="T19" fmla="*/ 19 h 49"/>
                  <a:gd name="T20" fmla="*/ 48 w 73"/>
                  <a:gd name="T21" fmla="*/ 21 h 49"/>
                  <a:gd name="T22" fmla="*/ 50 w 73"/>
                  <a:gd name="T23" fmla="*/ 23 h 49"/>
                  <a:gd name="T24" fmla="*/ 46 w 73"/>
                  <a:gd name="T25" fmla="*/ 25 h 49"/>
                  <a:gd name="T26" fmla="*/ 46 w 73"/>
                  <a:gd name="T27" fmla="*/ 29 h 49"/>
                  <a:gd name="T28" fmla="*/ 43 w 73"/>
                  <a:gd name="T29" fmla="*/ 29 h 49"/>
                  <a:gd name="T30" fmla="*/ 39 w 73"/>
                  <a:gd name="T31" fmla="*/ 32 h 49"/>
                  <a:gd name="T32" fmla="*/ 39 w 73"/>
                  <a:gd name="T33" fmla="*/ 40 h 49"/>
                  <a:gd name="T34" fmla="*/ 17 w 73"/>
                  <a:gd name="T35" fmla="*/ 46 h 49"/>
                  <a:gd name="T36" fmla="*/ 0 w 73"/>
                  <a:gd name="T37" fmla="*/ 34 h 49"/>
                  <a:gd name="T38" fmla="*/ 5 w 73"/>
                  <a:gd name="T39" fmla="*/ 31 h 49"/>
                  <a:gd name="T40" fmla="*/ 7 w 73"/>
                  <a:gd name="T41" fmla="*/ 27 h 49"/>
                  <a:gd name="T42" fmla="*/ 5 w 73"/>
                  <a:gd name="T43" fmla="*/ 19 h 49"/>
                  <a:gd name="T44" fmla="*/ 9 w 73"/>
                  <a:gd name="T45" fmla="*/ 18 h 49"/>
                  <a:gd name="T46" fmla="*/ 13 w 73"/>
                  <a:gd name="T47" fmla="*/ 10 h 49"/>
                  <a:gd name="T48" fmla="*/ 9 w 73"/>
                  <a:gd name="T49" fmla="*/ 1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3" h="49">
                    <a:moveTo>
                      <a:pt x="9" y="1"/>
                    </a:moveTo>
                    <a:cubicBezTo>
                      <a:pt x="21" y="1"/>
                      <a:pt x="33" y="0"/>
                      <a:pt x="41" y="3"/>
                    </a:cubicBezTo>
                    <a:cubicBezTo>
                      <a:pt x="42" y="3"/>
                      <a:pt x="44" y="2"/>
                      <a:pt x="45" y="3"/>
                    </a:cubicBezTo>
                    <a:cubicBezTo>
                      <a:pt x="46" y="5"/>
                      <a:pt x="50" y="3"/>
                      <a:pt x="52" y="5"/>
                    </a:cubicBezTo>
                    <a:cubicBezTo>
                      <a:pt x="55" y="8"/>
                      <a:pt x="52" y="2"/>
                      <a:pt x="60" y="5"/>
                    </a:cubicBezTo>
                    <a:cubicBezTo>
                      <a:pt x="60" y="5"/>
                      <a:pt x="60" y="6"/>
                      <a:pt x="61" y="6"/>
                    </a:cubicBezTo>
                    <a:cubicBezTo>
                      <a:pt x="63" y="6"/>
                      <a:pt x="73" y="9"/>
                      <a:pt x="73" y="14"/>
                    </a:cubicBezTo>
                    <a:cubicBezTo>
                      <a:pt x="66" y="15"/>
                      <a:pt x="60" y="16"/>
                      <a:pt x="56" y="18"/>
                    </a:cubicBezTo>
                    <a:cubicBezTo>
                      <a:pt x="54" y="18"/>
                      <a:pt x="55" y="21"/>
                      <a:pt x="54" y="21"/>
                    </a:cubicBezTo>
                    <a:cubicBezTo>
                      <a:pt x="53" y="22"/>
                      <a:pt x="51" y="19"/>
                      <a:pt x="50" y="19"/>
                    </a:cubicBezTo>
                    <a:cubicBezTo>
                      <a:pt x="51" y="19"/>
                      <a:pt x="48" y="23"/>
                      <a:pt x="48" y="21"/>
                    </a:cubicBezTo>
                    <a:cubicBezTo>
                      <a:pt x="48" y="22"/>
                      <a:pt x="50" y="24"/>
                      <a:pt x="50" y="23"/>
                    </a:cubicBezTo>
                    <a:cubicBezTo>
                      <a:pt x="49" y="25"/>
                      <a:pt x="47" y="24"/>
                      <a:pt x="46" y="25"/>
                    </a:cubicBezTo>
                    <a:cubicBezTo>
                      <a:pt x="46" y="26"/>
                      <a:pt x="47" y="28"/>
                      <a:pt x="46" y="29"/>
                    </a:cubicBezTo>
                    <a:cubicBezTo>
                      <a:pt x="46" y="29"/>
                      <a:pt x="43" y="28"/>
                      <a:pt x="43" y="29"/>
                    </a:cubicBezTo>
                    <a:cubicBezTo>
                      <a:pt x="42" y="30"/>
                      <a:pt x="41" y="32"/>
                      <a:pt x="39" y="32"/>
                    </a:cubicBezTo>
                    <a:cubicBezTo>
                      <a:pt x="39" y="35"/>
                      <a:pt x="39" y="37"/>
                      <a:pt x="39" y="40"/>
                    </a:cubicBezTo>
                    <a:cubicBezTo>
                      <a:pt x="30" y="40"/>
                      <a:pt x="31" y="49"/>
                      <a:pt x="17" y="46"/>
                    </a:cubicBezTo>
                    <a:cubicBezTo>
                      <a:pt x="18" y="34"/>
                      <a:pt x="7" y="37"/>
                      <a:pt x="0" y="34"/>
                    </a:cubicBezTo>
                    <a:cubicBezTo>
                      <a:pt x="1" y="32"/>
                      <a:pt x="4" y="32"/>
                      <a:pt x="5" y="31"/>
                    </a:cubicBezTo>
                    <a:cubicBezTo>
                      <a:pt x="6" y="30"/>
                      <a:pt x="2" y="25"/>
                      <a:pt x="7" y="27"/>
                    </a:cubicBezTo>
                    <a:cubicBezTo>
                      <a:pt x="8" y="24"/>
                      <a:pt x="5" y="23"/>
                      <a:pt x="5" y="19"/>
                    </a:cubicBezTo>
                    <a:cubicBezTo>
                      <a:pt x="8" y="22"/>
                      <a:pt x="8" y="21"/>
                      <a:pt x="9" y="18"/>
                    </a:cubicBezTo>
                    <a:cubicBezTo>
                      <a:pt x="10" y="15"/>
                      <a:pt x="13" y="16"/>
                      <a:pt x="13" y="10"/>
                    </a:cubicBezTo>
                    <a:cubicBezTo>
                      <a:pt x="14" y="4"/>
                      <a:pt x="7" y="8"/>
                      <a:pt x="9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133" name="ïśḷïḍè">
                <a:extLst>
                  <a:ext uri="{FF2B5EF4-FFF2-40B4-BE49-F238E27FC236}">
                    <a16:creationId xmlns:a16="http://schemas.microsoft.com/office/drawing/2014/main" id="{44F3EF8B-00C5-4344-A3FA-DB81A078DB25}"/>
                  </a:ext>
                </a:extLst>
              </p:cNvPr>
              <p:cNvSpPr/>
              <p:nvPr/>
            </p:nvSpPr>
            <p:spPr bwMode="auto">
              <a:xfrm>
                <a:off x="3980639" y="760879"/>
                <a:ext cx="30817" cy="23814"/>
              </a:xfrm>
              <a:custGeom>
                <a:avLst/>
                <a:gdLst>
                  <a:gd name="T0" fmla="*/ 2 w 15"/>
                  <a:gd name="T1" fmla="*/ 0 h 11"/>
                  <a:gd name="T2" fmla="*/ 13 w 15"/>
                  <a:gd name="T3" fmla="*/ 0 h 11"/>
                  <a:gd name="T4" fmla="*/ 15 w 15"/>
                  <a:gd name="T5" fmla="*/ 8 h 11"/>
                  <a:gd name="T6" fmla="*/ 11 w 15"/>
                  <a:gd name="T7" fmla="*/ 11 h 11"/>
                  <a:gd name="T8" fmla="*/ 0 w 15"/>
                  <a:gd name="T9" fmla="*/ 6 h 11"/>
                  <a:gd name="T10" fmla="*/ 2 w 15"/>
                  <a:gd name="T11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11">
                    <a:moveTo>
                      <a:pt x="2" y="0"/>
                    </a:moveTo>
                    <a:cubicBezTo>
                      <a:pt x="6" y="0"/>
                      <a:pt x="9" y="0"/>
                      <a:pt x="13" y="0"/>
                    </a:cubicBezTo>
                    <a:cubicBezTo>
                      <a:pt x="13" y="3"/>
                      <a:pt x="15" y="4"/>
                      <a:pt x="15" y="8"/>
                    </a:cubicBezTo>
                    <a:cubicBezTo>
                      <a:pt x="12" y="7"/>
                      <a:pt x="11" y="9"/>
                      <a:pt x="11" y="11"/>
                    </a:cubicBezTo>
                    <a:cubicBezTo>
                      <a:pt x="8" y="9"/>
                      <a:pt x="7" y="5"/>
                      <a:pt x="0" y="6"/>
                    </a:cubicBezTo>
                    <a:cubicBezTo>
                      <a:pt x="1" y="4"/>
                      <a:pt x="2" y="3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134" name="íšļîḓé">
                <a:extLst>
                  <a:ext uri="{FF2B5EF4-FFF2-40B4-BE49-F238E27FC236}">
                    <a16:creationId xmlns:a16="http://schemas.microsoft.com/office/drawing/2014/main" id="{CBAEE978-D229-4FB7-9AFA-FD05D6346636}"/>
                  </a:ext>
                </a:extLst>
              </p:cNvPr>
              <p:cNvSpPr/>
              <p:nvPr/>
            </p:nvSpPr>
            <p:spPr bwMode="auto">
              <a:xfrm>
                <a:off x="4148733" y="751074"/>
                <a:ext cx="77043" cy="54631"/>
              </a:xfrm>
              <a:custGeom>
                <a:avLst/>
                <a:gdLst>
                  <a:gd name="T0" fmla="*/ 33 w 37"/>
                  <a:gd name="T1" fmla="*/ 1 h 26"/>
                  <a:gd name="T2" fmla="*/ 35 w 37"/>
                  <a:gd name="T3" fmla="*/ 11 h 26"/>
                  <a:gd name="T4" fmla="*/ 31 w 37"/>
                  <a:gd name="T5" fmla="*/ 14 h 26"/>
                  <a:gd name="T6" fmla="*/ 22 w 37"/>
                  <a:gd name="T7" fmla="*/ 16 h 26"/>
                  <a:gd name="T8" fmla="*/ 7 w 37"/>
                  <a:gd name="T9" fmla="*/ 26 h 26"/>
                  <a:gd name="T10" fmla="*/ 5 w 37"/>
                  <a:gd name="T11" fmla="*/ 18 h 26"/>
                  <a:gd name="T12" fmla="*/ 1 w 37"/>
                  <a:gd name="T13" fmla="*/ 14 h 26"/>
                  <a:gd name="T14" fmla="*/ 1 w 37"/>
                  <a:gd name="T15" fmla="*/ 5 h 26"/>
                  <a:gd name="T16" fmla="*/ 5 w 37"/>
                  <a:gd name="T17" fmla="*/ 1 h 26"/>
                  <a:gd name="T18" fmla="*/ 10 w 37"/>
                  <a:gd name="T19" fmla="*/ 0 h 26"/>
                  <a:gd name="T20" fmla="*/ 25 w 37"/>
                  <a:gd name="T21" fmla="*/ 3 h 26"/>
                  <a:gd name="T22" fmla="*/ 33 w 37"/>
                  <a:gd name="T23" fmla="*/ 1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26">
                    <a:moveTo>
                      <a:pt x="33" y="1"/>
                    </a:moveTo>
                    <a:cubicBezTo>
                      <a:pt x="37" y="1"/>
                      <a:pt x="34" y="8"/>
                      <a:pt x="35" y="11"/>
                    </a:cubicBezTo>
                    <a:cubicBezTo>
                      <a:pt x="32" y="10"/>
                      <a:pt x="31" y="12"/>
                      <a:pt x="31" y="14"/>
                    </a:cubicBezTo>
                    <a:cubicBezTo>
                      <a:pt x="25" y="11"/>
                      <a:pt x="23" y="21"/>
                      <a:pt x="22" y="16"/>
                    </a:cubicBezTo>
                    <a:cubicBezTo>
                      <a:pt x="17" y="20"/>
                      <a:pt x="14" y="25"/>
                      <a:pt x="7" y="26"/>
                    </a:cubicBezTo>
                    <a:cubicBezTo>
                      <a:pt x="5" y="24"/>
                      <a:pt x="5" y="21"/>
                      <a:pt x="5" y="18"/>
                    </a:cubicBezTo>
                    <a:cubicBezTo>
                      <a:pt x="4" y="16"/>
                      <a:pt x="2" y="17"/>
                      <a:pt x="1" y="14"/>
                    </a:cubicBezTo>
                    <a:cubicBezTo>
                      <a:pt x="0" y="12"/>
                      <a:pt x="2" y="8"/>
                      <a:pt x="1" y="5"/>
                    </a:cubicBezTo>
                    <a:cubicBezTo>
                      <a:pt x="4" y="6"/>
                      <a:pt x="5" y="4"/>
                      <a:pt x="5" y="1"/>
                    </a:cubicBezTo>
                    <a:cubicBezTo>
                      <a:pt x="7" y="2"/>
                      <a:pt x="10" y="2"/>
                      <a:pt x="10" y="0"/>
                    </a:cubicBezTo>
                    <a:cubicBezTo>
                      <a:pt x="13" y="3"/>
                      <a:pt x="23" y="0"/>
                      <a:pt x="25" y="3"/>
                    </a:cubicBezTo>
                    <a:cubicBezTo>
                      <a:pt x="28" y="3"/>
                      <a:pt x="32" y="4"/>
                      <a:pt x="3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135" name="îṡľïḋê">
                <a:extLst>
                  <a:ext uri="{FF2B5EF4-FFF2-40B4-BE49-F238E27FC236}">
                    <a16:creationId xmlns:a16="http://schemas.microsoft.com/office/drawing/2014/main" id="{DA34D48F-EFD5-4E57-BFB6-5EC3C7402C3D}"/>
                  </a:ext>
                </a:extLst>
              </p:cNvPr>
              <p:cNvSpPr/>
              <p:nvPr/>
            </p:nvSpPr>
            <p:spPr bwMode="auto">
              <a:xfrm>
                <a:off x="5279164" y="962591"/>
                <a:ext cx="166694" cy="81245"/>
              </a:xfrm>
              <a:custGeom>
                <a:avLst/>
                <a:gdLst>
                  <a:gd name="T0" fmla="*/ 58 w 80"/>
                  <a:gd name="T1" fmla="*/ 0 h 39"/>
                  <a:gd name="T2" fmla="*/ 66 w 80"/>
                  <a:gd name="T3" fmla="*/ 4 h 39"/>
                  <a:gd name="T4" fmla="*/ 71 w 80"/>
                  <a:gd name="T5" fmla="*/ 6 h 39"/>
                  <a:gd name="T6" fmla="*/ 69 w 80"/>
                  <a:gd name="T7" fmla="*/ 9 h 39"/>
                  <a:gd name="T8" fmla="*/ 79 w 80"/>
                  <a:gd name="T9" fmla="*/ 15 h 39"/>
                  <a:gd name="T10" fmla="*/ 73 w 80"/>
                  <a:gd name="T11" fmla="*/ 26 h 39"/>
                  <a:gd name="T12" fmla="*/ 68 w 80"/>
                  <a:gd name="T13" fmla="*/ 28 h 39"/>
                  <a:gd name="T14" fmla="*/ 60 w 80"/>
                  <a:gd name="T15" fmla="*/ 32 h 39"/>
                  <a:gd name="T16" fmla="*/ 55 w 80"/>
                  <a:gd name="T17" fmla="*/ 34 h 39"/>
                  <a:gd name="T18" fmla="*/ 51 w 80"/>
                  <a:gd name="T19" fmla="*/ 35 h 39"/>
                  <a:gd name="T20" fmla="*/ 28 w 80"/>
                  <a:gd name="T21" fmla="*/ 37 h 39"/>
                  <a:gd name="T22" fmla="*/ 27 w 80"/>
                  <a:gd name="T23" fmla="*/ 35 h 39"/>
                  <a:gd name="T24" fmla="*/ 19 w 80"/>
                  <a:gd name="T25" fmla="*/ 32 h 39"/>
                  <a:gd name="T26" fmla="*/ 15 w 80"/>
                  <a:gd name="T27" fmla="*/ 30 h 39"/>
                  <a:gd name="T28" fmla="*/ 19 w 80"/>
                  <a:gd name="T29" fmla="*/ 28 h 39"/>
                  <a:gd name="T30" fmla="*/ 14 w 80"/>
                  <a:gd name="T31" fmla="*/ 24 h 39"/>
                  <a:gd name="T32" fmla="*/ 14 w 80"/>
                  <a:gd name="T33" fmla="*/ 13 h 39"/>
                  <a:gd name="T34" fmla="*/ 2 w 80"/>
                  <a:gd name="T35" fmla="*/ 15 h 39"/>
                  <a:gd name="T36" fmla="*/ 6 w 80"/>
                  <a:gd name="T37" fmla="*/ 7 h 39"/>
                  <a:gd name="T38" fmla="*/ 21 w 80"/>
                  <a:gd name="T39" fmla="*/ 7 h 39"/>
                  <a:gd name="T40" fmla="*/ 23 w 80"/>
                  <a:gd name="T41" fmla="*/ 15 h 39"/>
                  <a:gd name="T42" fmla="*/ 28 w 80"/>
                  <a:gd name="T43" fmla="*/ 7 h 39"/>
                  <a:gd name="T44" fmla="*/ 40 w 80"/>
                  <a:gd name="T45" fmla="*/ 11 h 39"/>
                  <a:gd name="T46" fmla="*/ 43 w 80"/>
                  <a:gd name="T47" fmla="*/ 7 h 39"/>
                  <a:gd name="T48" fmla="*/ 55 w 80"/>
                  <a:gd name="T49" fmla="*/ 6 h 39"/>
                  <a:gd name="T50" fmla="*/ 58 w 80"/>
                  <a:gd name="T51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80" h="39">
                    <a:moveTo>
                      <a:pt x="58" y="0"/>
                    </a:moveTo>
                    <a:cubicBezTo>
                      <a:pt x="60" y="1"/>
                      <a:pt x="63" y="2"/>
                      <a:pt x="66" y="4"/>
                    </a:cubicBezTo>
                    <a:cubicBezTo>
                      <a:pt x="66" y="4"/>
                      <a:pt x="71" y="5"/>
                      <a:pt x="71" y="6"/>
                    </a:cubicBezTo>
                    <a:cubicBezTo>
                      <a:pt x="72" y="6"/>
                      <a:pt x="69" y="9"/>
                      <a:pt x="69" y="9"/>
                    </a:cubicBezTo>
                    <a:cubicBezTo>
                      <a:pt x="70" y="13"/>
                      <a:pt x="74" y="16"/>
                      <a:pt x="79" y="15"/>
                    </a:cubicBezTo>
                    <a:cubicBezTo>
                      <a:pt x="80" y="20"/>
                      <a:pt x="78" y="22"/>
                      <a:pt x="73" y="26"/>
                    </a:cubicBezTo>
                    <a:cubicBezTo>
                      <a:pt x="72" y="27"/>
                      <a:pt x="69" y="27"/>
                      <a:pt x="68" y="28"/>
                    </a:cubicBezTo>
                    <a:cubicBezTo>
                      <a:pt x="64" y="30"/>
                      <a:pt x="65" y="30"/>
                      <a:pt x="60" y="32"/>
                    </a:cubicBezTo>
                    <a:cubicBezTo>
                      <a:pt x="60" y="32"/>
                      <a:pt x="55" y="33"/>
                      <a:pt x="55" y="34"/>
                    </a:cubicBezTo>
                    <a:cubicBezTo>
                      <a:pt x="53" y="35"/>
                      <a:pt x="53" y="35"/>
                      <a:pt x="51" y="35"/>
                    </a:cubicBezTo>
                    <a:cubicBezTo>
                      <a:pt x="49" y="36"/>
                      <a:pt x="35" y="39"/>
                      <a:pt x="28" y="37"/>
                    </a:cubicBezTo>
                    <a:cubicBezTo>
                      <a:pt x="28" y="37"/>
                      <a:pt x="28" y="36"/>
                      <a:pt x="27" y="35"/>
                    </a:cubicBezTo>
                    <a:cubicBezTo>
                      <a:pt x="24" y="35"/>
                      <a:pt x="23" y="32"/>
                      <a:pt x="19" y="32"/>
                    </a:cubicBezTo>
                    <a:cubicBezTo>
                      <a:pt x="18" y="32"/>
                      <a:pt x="17" y="30"/>
                      <a:pt x="15" y="30"/>
                    </a:cubicBezTo>
                    <a:cubicBezTo>
                      <a:pt x="15" y="28"/>
                      <a:pt x="18" y="28"/>
                      <a:pt x="19" y="28"/>
                    </a:cubicBezTo>
                    <a:cubicBezTo>
                      <a:pt x="19" y="26"/>
                      <a:pt x="14" y="26"/>
                      <a:pt x="14" y="24"/>
                    </a:cubicBezTo>
                    <a:cubicBezTo>
                      <a:pt x="12" y="21"/>
                      <a:pt x="15" y="18"/>
                      <a:pt x="14" y="13"/>
                    </a:cubicBezTo>
                    <a:cubicBezTo>
                      <a:pt x="6" y="11"/>
                      <a:pt x="7" y="20"/>
                      <a:pt x="2" y="15"/>
                    </a:cubicBezTo>
                    <a:cubicBezTo>
                      <a:pt x="0" y="9"/>
                      <a:pt x="8" y="14"/>
                      <a:pt x="6" y="7"/>
                    </a:cubicBezTo>
                    <a:cubicBezTo>
                      <a:pt x="14" y="9"/>
                      <a:pt x="13" y="8"/>
                      <a:pt x="21" y="7"/>
                    </a:cubicBezTo>
                    <a:cubicBezTo>
                      <a:pt x="22" y="11"/>
                      <a:pt x="27" y="11"/>
                      <a:pt x="23" y="15"/>
                    </a:cubicBezTo>
                    <a:cubicBezTo>
                      <a:pt x="28" y="15"/>
                      <a:pt x="29" y="12"/>
                      <a:pt x="28" y="7"/>
                    </a:cubicBezTo>
                    <a:cubicBezTo>
                      <a:pt x="29" y="11"/>
                      <a:pt x="45" y="3"/>
                      <a:pt x="40" y="11"/>
                    </a:cubicBezTo>
                    <a:cubicBezTo>
                      <a:pt x="44" y="13"/>
                      <a:pt x="42" y="8"/>
                      <a:pt x="43" y="7"/>
                    </a:cubicBezTo>
                    <a:cubicBezTo>
                      <a:pt x="46" y="6"/>
                      <a:pt x="51" y="7"/>
                      <a:pt x="55" y="6"/>
                    </a:cubicBezTo>
                    <a:cubicBezTo>
                      <a:pt x="57" y="5"/>
                      <a:pt x="58" y="3"/>
                      <a:pt x="58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136" name="íśļîḋe">
                <a:extLst>
                  <a:ext uri="{FF2B5EF4-FFF2-40B4-BE49-F238E27FC236}">
                    <a16:creationId xmlns:a16="http://schemas.microsoft.com/office/drawing/2014/main" id="{3159E96E-AEE6-4FAC-9EF3-ECDE2814917D}"/>
                  </a:ext>
                </a:extLst>
              </p:cNvPr>
              <p:cNvSpPr/>
              <p:nvPr/>
            </p:nvSpPr>
            <p:spPr bwMode="auto">
              <a:xfrm>
                <a:off x="4284608" y="982202"/>
                <a:ext cx="99456" cy="70039"/>
              </a:xfrm>
              <a:custGeom>
                <a:avLst/>
                <a:gdLst>
                  <a:gd name="T0" fmla="*/ 13 w 48"/>
                  <a:gd name="T1" fmla="*/ 0 h 34"/>
                  <a:gd name="T2" fmla="*/ 24 w 48"/>
                  <a:gd name="T3" fmla="*/ 12 h 34"/>
                  <a:gd name="T4" fmla="*/ 27 w 48"/>
                  <a:gd name="T5" fmla="*/ 10 h 34"/>
                  <a:gd name="T6" fmla="*/ 33 w 48"/>
                  <a:gd name="T7" fmla="*/ 15 h 34"/>
                  <a:gd name="T8" fmla="*/ 41 w 48"/>
                  <a:gd name="T9" fmla="*/ 25 h 34"/>
                  <a:gd name="T10" fmla="*/ 48 w 48"/>
                  <a:gd name="T11" fmla="*/ 26 h 34"/>
                  <a:gd name="T12" fmla="*/ 24 w 48"/>
                  <a:gd name="T13" fmla="*/ 28 h 34"/>
                  <a:gd name="T14" fmla="*/ 14 w 48"/>
                  <a:gd name="T15" fmla="*/ 34 h 34"/>
                  <a:gd name="T16" fmla="*/ 0 w 48"/>
                  <a:gd name="T17" fmla="*/ 28 h 34"/>
                  <a:gd name="T18" fmla="*/ 3 w 48"/>
                  <a:gd name="T19" fmla="*/ 26 h 34"/>
                  <a:gd name="T20" fmla="*/ 5 w 48"/>
                  <a:gd name="T21" fmla="*/ 23 h 34"/>
                  <a:gd name="T22" fmla="*/ 5 w 48"/>
                  <a:gd name="T23" fmla="*/ 6 h 34"/>
                  <a:gd name="T24" fmla="*/ 13 w 48"/>
                  <a:gd name="T25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8" h="34">
                    <a:moveTo>
                      <a:pt x="13" y="0"/>
                    </a:moveTo>
                    <a:cubicBezTo>
                      <a:pt x="15" y="5"/>
                      <a:pt x="25" y="3"/>
                      <a:pt x="24" y="12"/>
                    </a:cubicBezTo>
                    <a:cubicBezTo>
                      <a:pt x="25" y="13"/>
                      <a:pt x="28" y="10"/>
                      <a:pt x="27" y="10"/>
                    </a:cubicBezTo>
                    <a:cubicBezTo>
                      <a:pt x="30" y="11"/>
                      <a:pt x="29" y="15"/>
                      <a:pt x="33" y="15"/>
                    </a:cubicBezTo>
                    <a:cubicBezTo>
                      <a:pt x="36" y="15"/>
                      <a:pt x="38" y="22"/>
                      <a:pt x="41" y="25"/>
                    </a:cubicBezTo>
                    <a:cubicBezTo>
                      <a:pt x="46" y="23"/>
                      <a:pt x="44" y="23"/>
                      <a:pt x="48" y="26"/>
                    </a:cubicBezTo>
                    <a:cubicBezTo>
                      <a:pt x="44" y="31"/>
                      <a:pt x="31" y="27"/>
                      <a:pt x="24" y="28"/>
                    </a:cubicBezTo>
                    <a:cubicBezTo>
                      <a:pt x="21" y="30"/>
                      <a:pt x="16" y="31"/>
                      <a:pt x="14" y="34"/>
                    </a:cubicBezTo>
                    <a:cubicBezTo>
                      <a:pt x="10" y="31"/>
                      <a:pt x="8" y="26"/>
                      <a:pt x="0" y="28"/>
                    </a:cubicBezTo>
                    <a:cubicBezTo>
                      <a:pt x="0" y="27"/>
                      <a:pt x="2" y="27"/>
                      <a:pt x="3" y="26"/>
                    </a:cubicBezTo>
                    <a:cubicBezTo>
                      <a:pt x="1" y="24"/>
                      <a:pt x="2" y="23"/>
                      <a:pt x="5" y="23"/>
                    </a:cubicBezTo>
                    <a:cubicBezTo>
                      <a:pt x="2" y="16"/>
                      <a:pt x="5" y="14"/>
                      <a:pt x="5" y="6"/>
                    </a:cubicBezTo>
                    <a:cubicBezTo>
                      <a:pt x="9" y="5"/>
                      <a:pt x="13" y="5"/>
                      <a:pt x="1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137" name="ïSļîḑe">
                <a:extLst>
                  <a:ext uri="{FF2B5EF4-FFF2-40B4-BE49-F238E27FC236}">
                    <a16:creationId xmlns:a16="http://schemas.microsoft.com/office/drawing/2014/main" id="{901CB823-C6F4-4B16-AF29-B6361A7EFAC2}"/>
                  </a:ext>
                </a:extLst>
              </p:cNvPr>
              <p:cNvSpPr/>
              <p:nvPr/>
            </p:nvSpPr>
            <p:spPr bwMode="auto">
              <a:xfrm>
                <a:off x="7168819" y="2123840"/>
                <a:ext cx="165292" cy="177900"/>
              </a:xfrm>
              <a:custGeom>
                <a:avLst/>
                <a:gdLst>
                  <a:gd name="T0" fmla="*/ 8 w 80"/>
                  <a:gd name="T1" fmla="*/ 12 h 86"/>
                  <a:gd name="T2" fmla="*/ 4 w 80"/>
                  <a:gd name="T3" fmla="*/ 11 h 86"/>
                  <a:gd name="T4" fmla="*/ 0 w 80"/>
                  <a:gd name="T5" fmla="*/ 5 h 86"/>
                  <a:gd name="T6" fmla="*/ 15 w 80"/>
                  <a:gd name="T7" fmla="*/ 3 h 86"/>
                  <a:gd name="T8" fmla="*/ 23 w 80"/>
                  <a:gd name="T9" fmla="*/ 7 h 86"/>
                  <a:gd name="T10" fmla="*/ 23 w 80"/>
                  <a:gd name="T11" fmla="*/ 11 h 86"/>
                  <a:gd name="T12" fmla="*/ 26 w 80"/>
                  <a:gd name="T13" fmla="*/ 14 h 86"/>
                  <a:gd name="T14" fmla="*/ 34 w 80"/>
                  <a:gd name="T15" fmla="*/ 18 h 86"/>
                  <a:gd name="T16" fmla="*/ 47 w 80"/>
                  <a:gd name="T17" fmla="*/ 29 h 86"/>
                  <a:gd name="T18" fmla="*/ 51 w 80"/>
                  <a:gd name="T19" fmla="*/ 35 h 86"/>
                  <a:gd name="T20" fmla="*/ 56 w 80"/>
                  <a:gd name="T21" fmla="*/ 37 h 86"/>
                  <a:gd name="T22" fmla="*/ 60 w 80"/>
                  <a:gd name="T23" fmla="*/ 40 h 86"/>
                  <a:gd name="T24" fmla="*/ 60 w 80"/>
                  <a:gd name="T25" fmla="*/ 44 h 86"/>
                  <a:gd name="T26" fmla="*/ 64 w 80"/>
                  <a:gd name="T27" fmla="*/ 48 h 86"/>
                  <a:gd name="T28" fmla="*/ 69 w 80"/>
                  <a:gd name="T29" fmla="*/ 53 h 86"/>
                  <a:gd name="T30" fmla="*/ 73 w 80"/>
                  <a:gd name="T31" fmla="*/ 57 h 86"/>
                  <a:gd name="T32" fmla="*/ 77 w 80"/>
                  <a:gd name="T33" fmla="*/ 66 h 86"/>
                  <a:gd name="T34" fmla="*/ 79 w 80"/>
                  <a:gd name="T35" fmla="*/ 74 h 86"/>
                  <a:gd name="T36" fmla="*/ 80 w 80"/>
                  <a:gd name="T37" fmla="*/ 80 h 86"/>
                  <a:gd name="T38" fmla="*/ 71 w 80"/>
                  <a:gd name="T39" fmla="*/ 81 h 86"/>
                  <a:gd name="T40" fmla="*/ 64 w 80"/>
                  <a:gd name="T41" fmla="*/ 81 h 86"/>
                  <a:gd name="T42" fmla="*/ 64 w 80"/>
                  <a:gd name="T43" fmla="*/ 78 h 86"/>
                  <a:gd name="T44" fmla="*/ 60 w 80"/>
                  <a:gd name="T45" fmla="*/ 78 h 86"/>
                  <a:gd name="T46" fmla="*/ 51 w 80"/>
                  <a:gd name="T47" fmla="*/ 70 h 86"/>
                  <a:gd name="T48" fmla="*/ 52 w 80"/>
                  <a:gd name="T49" fmla="*/ 66 h 86"/>
                  <a:gd name="T50" fmla="*/ 51 w 80"/>
                  <a:gd name="T51" fmla="*/ 66 h 86"/>
                  <a:gd name="T52" fmla="*/ 49 w 80"/>
                  <a:gd name="T53" fmla="*/ 63 h 86"/>
                  <a:gd name="T54" fmla="*/ 45 w 80"/>
                  <a:gd name="T55" fmla="*/ 63 h 86"/>
                  <a:gd name="T56" fmla="*/ 38 w 80"/>
                  <a:gd name="T57" fmla="*/ 55 h 86"/>
                  <a:gd name="T58" fmla="*/ 34 w 80"/>
                  <a:gd name="T59" fmla="*/ 42 h 86"/>
                  <a:gd name="T60" fmla="*/ 32 w 80"/>
                  <a:gd name="T61" fmla="*/ 46 h 86"/>
                  <a:gd name="T62" fmla="*/ 28 w 80"/>
                  <a:gd name="T63" fmla="*/ 37 h 86"/>
                  <a:gd name="T64" fmla="*/ 24 w 80"/>
                  <a:gd name="T65" fmla="*/ 33 h 86"/>
                  <a:gd name="T66" fmla="*/ 21 w 80"/>
                  <a:gd name="T67" fmla="*/ 31 h 86"/>
                  <a:gd name="T68" fmla="*/ 19 w 80"/>
                  <a:gd name="T69" fmla="*/ 24 h 86"/>
                  <a:gd name="T70" fmla="*/ 13 w 80"/>
                  <a:gd name="T71" fmla="*/ 20 h 86"/>
                  <a:gd name="T72" fmla="*/ 10 w 80"/>
                  <a:gd name="T73" fmla="*/ 16 h 86"/>
                  <a:gd name="T74" fmla="*/ 8 w 80"/>
                  <a:gd name="T75" fmla="*/ 12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0" h="86">
                    <a:moveTo>
                      <a:pt x="8" y="12"/>
                    </a:moveTo>
                    <a:cubicBezTo>
                      <a:pt x="8" y="10"/>
                      <a:pt x="5" y="11"/>
                      <a:pt x="4" y="11"/>
                    </a:cubicBezTo>
                    <a:cubicBezTo>
                      <a:pt x="2" y="9"/>
                      <a:pt x="4" y="4"/>
                      <a:pt x="0" y="5"/>
                    </a:cubicBezTo>
                    <a:cubicBezTo>
                      <a:pt x="5" y="0"/>
                      <a:pt x="9" y="6"/>
                      <a:pt x="15" y="3"/>
                    </a:cubicBezTo>
                    <a:cubicBezTo>
                      <a:pt x="15" y="8"/>
                      <a:pt x="20" y="5"/>
                      <a:pt x="23" y="7"/>
                    </a:cubicBezTo>
                    <a:cubicBezTo>
                      <a:pt x="23" y="7"/>
                      <a:pt x="22" y="10"/>
                      <a:pt x="23" y="11"/>
                    </a:cubicBezTo>
                    <a:cubicBezTo>
                      <a:pt x="24" y="12"/>
                      <a:pt x="27" y="10"/>
                      <a:pt x="26" y="14"/>
                    </a:cubicBezTo>
                    <a:cubicBezTo>
                      <a:pt x="31" y="13"/>
                      <a:pt x="30" y="18"/>
                      <a:pt x="34" y="18"/>
                    </a:cubicBezTo>
                    <a:cubicBezTo>
                      <a:pt x="37" y="18"/>
                      <a:pt x="42" y="29"/>
                      <a:pt x="47" y="29"/>
                    </a:cubicBezTo>
                    <a:cubicBezTo>
                      <a:pt x="51" y="29"/>
                      <a:pt x="49" y="33"/>
                      <a:pt x="51" y="35"/>
                    </a:cubicBezTo>
                    <a:cubicBezTo>
                      <a:pt x="52" y="36"/>
                      <a:pt x="55" y="36"/>
                      <a:pt x="56" y="37"/>
                    </a:cubicBezTo>
                    <a:cubicBezTo>
                      <a:pt x="57" y="37"/>
                      <a:pt x="59" y="40"/>
                      <a:pt x="60" y="40"/>
                    </a:cubicBezTo>
                    <a:cubicBezTo>
                      <a:pt x="61" y="41"/>
                      <a:pt x="59" y="43"/>
                      <a:pt x="60" y="44"/>
                    </a:cubicBezTo>
                    <a:cubicBezTo>
                      <a:pt x="61" y="45"/>
                      <a:pt x="63" y="47"/>
                      <a:pt x="64" y="48"/>
                    </a:cubicBezTo>
                    <a:cubicBezTo>
                      <a:pt x="65" y="49"/>
                      <a:pt x="66" y="53"/>
                      <a:pt x="69" y="53"/>
                    </a:cubicBezTo>
                    <a:cubicBezTo>
                      <a:pt x="70" y="53"/>
                      <a:pt x="72" y="57"/>
                      <a:pt x="73" y="57"/>
                    </a:cubicBezTo>
                    <a:cubicBezTo>
                      <a:pt x="75" y="59"/>
                      <a:pt x="74" y="66"/>
                      <a:pt x="77" y="66"/>
                    </a:cubicBezTo>
                    <a:cubicBezTo>
                      <a:pt x="79" y="67"/>
                      <a:pt x="79" y="72"/>
                      <a:pt x="79" y="74"/>
                    </a:cubicBezTo>
                    <a:cubicBezTo>
                      <a:pt x="78" y="77"/>
                      <a:pt x="74" y="80"/>
                      <a:pt x="80" y="80"/>
                    </a:cubicBezTo>
                    <a:cubicBezTo>
                      <a:pt x="80" y="86"/>
                      <a:pt x="74" y="82"/>
                      <a:pt x="71" y="81"/>
                    </a:cubicBezTo>
                    <a:cubicBezTo>
                      <a:pt x="69" y="81"/>
                      <a:pt x="66" y="82"/>
                      <a:pt x="64" y="81"/>
                    </a:cubicBezTo>
                    <a:cubicBezTo>
                      <a:pt x="63" y="81"/>
                      <a:pt x="64" y="78"/>
                      <a:pt x="64" y="78"/>
                    </a:cubicBezTo>
                    <a:cubicBezTo>
                      <a:pt x="63" y="77"/>
                      <a:pt x="61" y="78"/>
                      <a:pt x="60" y="78"/>
                    </a:cubicBezTo>
                    <a:cubicBezTo>
                      <a:pt x="58" y="76"/>
                      <a:pt x="55" y="70"/>
                      <a:pt x="51" y="70"/>
                    </a:cubicBezTo>
                    <a:cubicBezTo>
                      <a:pt x="51" y="69"/>
                      <a:pt x="52" y="68"/>
                      <a:pt x="52" y="66"/>
                    </a:cubicBezTo>
                    <a:cubicBezTo>
                      <a:pt x="52" y="64"/>
                      <a:pt x="51" y="65"/>
                      <a:pt x="51" y="66"/>
                    </a:cubicBezTo>
                    <a:cubicBezTo>
                      <a:pt x="48" y="67"/>
                      <a:pt x="50" y="63"/>
                      <a:pt x="49" y="63"/>
                    </a:cubicBezTo>
                    <a:cubicBezTo>
                      <a:pt x="48" y="62"/>
                      <a:pt x="46" y="63"/>
                      <a:pt x="45" y="63"/>
                    </a:cubicBezTo>
                    <a:cubicBezTo>
                      <a:pt x="43" y="60"/>
                      <a:pt x="43" y="55"/>
                      <a:pt x="38" y="55"/>
                    </a:cubicBezTo>
                    <a:cubicBezTo>
                      <a:pt x="40" y="48"/>
                      <a:pt x="34" y="48"/>
                      <a:pt x="34" y="42"/>
                    </a:cubicBezTo>
                    <a:cubicBezTo>
                      <a:pt x="32" y="42"/>
                      <a:pt x="32" y="44"/>
                      <a:pt x="32" y="46"/>
                    </a:cubicBezTo>
                    <a:cubicBezTo>
                      <a:pt x="29" y="44"/>
                      <a:pt x="30" y="40"/>
                      <a:pt x="28" y="37"/>
                    </a:cubicBezTo>
                    <a:cubicBezTo>
                      <a:pt x="28" y="36"/>
                      <a:pt x="25" y="34"/>
                      <a:pt x="24" y="33"/>
                    </a:cubicBezTo>
                    <a:cubicBezTo>
                      <a:pt x="24" y="32"/>
                      <a:pt x="23" y="31"/>
                      <a:pt x="21" y="31"/>
                    </a:cubicBezTo>
                    <a:cubicBezTo>
                      <a:pt x="22" y="27"/>
                      <a:pt x="20" y="26"/>
                      <a:pt x="19" y="24"/>
                    </a:cubicBezTo>
                    <a:cubicBezTo>
                      <a:pt x="18" y="21"/>
                      <a:pt x="15" y="21"/>
                      <a:pt x="13" y="20"/>
                    </a:cubicBezTo>
                    <a:cubicBezTo>
                      <a:pt x="13" y="20"/>
                      <a:pt x="9" y="16"/>
                      <a:pt x="10" y="16"/>
                    </a:cubicBezTo>
                    <a:cubicBezTo>
                      <a:pt x="8" y="12"/>
                      <a:pt x="14" y="9"/>
                      <a:pt x="8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40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138" name="îsḷíḍè">
                <a:extLst>
                  <a:ext uri="{FF2B5EF4-FFF2-40B4-BE49-F238E27FC236}">
                    <a16:creationId xmlns:a16="http://schemas.microsoft.com/office/drawing/2014/main" id="{C9F63950-98D6-4104-9C38-B74EC59B7247}"/>
                  </a:ext>
                </a:extLst>
              </p:cNvPr>
              <p:cNvSpPr/>
              <p:nvPr/>
            </p:nvSpPr>
            <p:spPr bwMode="auto">
              <a:xfrm>
                <a:off x="6346560" y="2401195"/>
                <a:ext cx="119067" cy="217122"/>
              </a:xfrm>
              <a:custGeom>
                <a:avLst/>
                <a:gdLst>
                  <a:gd name="T0" fmla="*/ 43 w 57"/>
                  <a:gd name="T1" fmla="*/ 0 h 104"/>
                  <a:gd name="T2" fmla="*/ 50 w 57"/>
                  <a:gd name="T3" fmla="*/ 1 h 104"/>
                  <a:gd name="T4" fmla="*/ 47 w 57"/>
                  <a:gd name="T5" fmla="*/ 35 h 104"/>
                  <a:gd name="T6" fmla="*/ 43 w 57"/>
                  <a:gd name="T7" fmla="*/ 57 h 104"/>
                  <a:gd name="T8" fmla="*/ 37 w 57"/>
                  <a:gd name="T9" fmla="*/ 67 h 104"/>
                  <a:gd name="T10" fmla="*/ 36 w 57"/>
                  <a:gd name="T11" fmla="*/ 78 h 104"/>
                  <a:gd name="T12" fmla="*/ 36 w 57"/>
                  <a:gd name="T13" fmla="*/ 82 h 104"/>
                  <a:gd name="T14" fmla="*/ 32 w 57"/>
                  <a:gd name="T15" fmla="*/ 83 h 104"/>
                  <a:gd name="T16" fmla="*/ 30 w 57"/>
                  <a:gd name="T17" fmla="*/ 95 h 104"/>
                  <a:gd name="T18" fmla="*/ 28 w 57"/>
                  <a:gd name="T19" fmla="*/ 96 h 104"/>
                  <a:gd name="T20" fmla="*/ 26 w 57"/>
                  <a:gd name="T21" fmla="*/ 102 h 104"/>
                  <a:gd name="T22" fmla="*/ 8 w 57"/>
                  <a:gd name="T23" fmla="*/ 104 h 104"/>
                  <a:gd name="T24" fmla="*/ 6 w 57"/>
                  <a:gd name="T25" fmla="*/ 95 h 104"/>
                  <a:gd name="T26" fmla="*/ 4 w 57"/>
                  <a:gd name="T27" fmla="*/ 91 h 104"/>
                  <a:gd name="T28" fmla="*/ 0 w 57"/>
                  <a:gd name="T29" fmla="*/ 89 h 104"/>
                  <a:gd name="T30" fmla="*/ 0 w 57"/>
                  <a:gd name="T31" fmla="*/ 82 h 104"/>
                  <a:gd name="T32" fmla="*/ 2 w 57"/>
                  <a:gd name="T33" fmla="*/ 80 h 104"/>
                  <a:gd name="T34" fmla="*/ 0 w 57"/>
                  <a:gd name="T35" fmla="*/ 78 h 104"/>
                  <a:gd name="T36" fmla="*/ 4 w 57"/>
                  <a:gd name="T37" fmla="*/ 70 h 104"/>
                  <a:gd name="T38" fmla="*/ 4 w 57"/>
                  <a:gd name="T39" fmla="*/ 67 h 104"/>
                  <a:gd name="T40" fmla="*/ 8 w 57"/>
                  <a:gd name="T41" fmla="*/ 65 h 104"/>
                  <a:gd name="T42" fmla="*/ 11 w 57"/>
                  <a:gd name="T43" fmla="*/ 55 h 104"/>
                  <a:gd name="T44" fmla="*/ 8 w 57"/>
                  <a:gd name="T45" fmla="*/ 50 h 104"/>
                  <a:gd name="T46" fmla="*/ 8 w 57"/>
                  <a:gd name="T47" fmla="*/ 39 h 104"/>
                  <a:gd name="T48" fmla="*/ 11 w 57"/>
                  <a:gd name="T49" fmla="*/ 35 h 104"/>
                  <a:gd name="T50" fmla="*/ 17 w 57"/>
                  <a:gd name="T51" fmla="*/ 31 h 104"/>
                  <a:gd name="T52" fmla="*/ 26 w 57"/>
                  <a:gd name="T53" fmla="*/ 24 h 104"/>
                  <a:gd name="T54" fmla="*/ 32 w 57"/>
                  <a:gd name="T55" fmla="*/ 26 h 104"/>
                  <a:gd name="T56" fmla="*/ 34 w 57"/>
                  <a:gd name="T57" fmla="*/ 14 h 104"/>
                  <a:gd name="T58" fmla="*/ 39 w 57"/>
                  <a:gd name="T59" fmla="*/ 13 h 104"/>
                  <a:gd name="T60" fmla="*/ 43 w 57"/>
                  <a:gd name="T61" fmla="*/ 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57" h="104">
                    <a:moveTo>
                      <a:pt x="43" y="0"/>
                    </a:moveTo>
                    <a:cubicBezTo>
                      <a:pt x="45" y="1"/>
                      <a:pt x="47" y="2"/>
                      <a:pt x="50" y="1"/>
                    </a:cubicBezTo>
                    <a:cubicBezTo>
                      <a:pt x="47" y="11"/>
                      <a:pt x="57" y="28"/>
                      <a:pt x="47" y="35"/>
                    </a:cubicBezTo>
                    <a:cubicBezTo>
                      <a:pt x="47" y="43"/>
                      <a:pt x="46" y="50"/>
                      <a:pt x="43" y="57"/>
                    </a:cubicBezTo>
                    <a:cubicBezTo>
                      <a:pt x="42" y="61"/>
                      <a:pt x="41" y="66"/>
                      <a:pt x="37" y="67"/>
                    </a:cubicBezTo>
                    <a:cubicBezTo>
                      <a:pt x="39" y="71"/>
                      <a:pt x="36" y="75"/>
                      <a:pt x="36" y="78"/>
                    </a:cubicBezTo>
                    <a:cubicBezTo>
                      <a:pt x="35" y="79"/>
                      <a:pt x="36" y="81"/>
                      <a:pt x="36" y="82"/>
                    </a:cubicBezTo>
                    <a:cubicBezTo>
                      <a:pt x="35" y="82"/>
                      <a:pt x="32" y="83"/>
                      <a:pt x="32" y="83"/>
                    </a:cubicBezTo>
                    <a:cubicBezTo>
                      <a:pt x="31" y="87"/>
                      <a:pt x="32" y="91"/>
                      <a:pt x="30" y="95"/>
                    </a:cubicBezTo>
                    <a:cubicBezTo>
                      <a:pt x="30" y="95"/>
                      <a:pt x="28" y="95"/>
                      <a:pt x="28" y="96"/>
                    </a:cubicBezTo>
                    <a:cubicBezTo>
                      <a:pt x="28" y="98"/>
                      <a:pt x="25" y="99"/>
                      <a:pt x="26" y="102"/>
                    </a:cubicBezTo>
                    <a:cubicBezTo>
                      <a:pt x="21" y="104"/>
                      <a:pt x="15" y="104"/>
                      <a:pt x="8" y="104"/>
                    </a:cubicBezTo>
                    <a:cubicBezTo>
                      <a:pt x="8" y="99"/>
                      <a:pt x="4" y="100"/>
                      <a:pt x="6" y="95"/>
                    </a:cubicBezTo>
                    <a:cubicBezTo>
                      <a:pt x="4" y="95"/>
                      <a:pt x="4" y="92"/>
                      <a:pt x="4" y="91"/>
                    </a:cubicBezTo>
                    <a:cubicBezTo>
                      <a:pt x="2" y="91"/>
                      <a:pt x="1" y="90"/>
                      <a:pt x="0" y="89"/>
                    </a:cubicBezTo>
                    <a:cubicBezTo>
                      <a:pt x="0" y="87"/>
                      <a:pt x="0" y="84"/>
                      <a:pt x="0" y="82"/>
                    </a:cubicBezTo>
                    <a:cubicBezTo>
                      <a:pt x="0" y="80"/>
                      <a:pt x="2" y="80"/>
                      <a:pt x="2" y="80"/>
                    </a:cubicBezTo>
                    <a:cubicBezTo>
                      <a:pt x="2" y="78"/>
                      <a:pt x="0" y="78"/>
                      <a:pt x="0" y="78"/>
                    </a:cubicBezTo>
                    <a:cubicBezTo>
                      <a:pt x="1" y="75"/>
                      <a:pt x="3" y="72"/>
                      <a:pt x="4" y="70"/>
                    </a:cubicBezTo>
                    <a:cubicBezTo>
                      <a:pt x="4" y="70"/>
                      <a:pt x="3" y="67"/>
                      <a:pt x="4" y="67"/>
                    </a:cubicBezTo>
                    <a:cubicBezTo>
                      <a:pt x="4" y="66"/>
                      <a:pt x="8" y="65"/>
                      <a:pt x="8" y="65"/>
                    </a:cubicBezTo>
                    <a:cubicBezTo>
                      <a:pt x="9" y="62"/>
                      <a:pt x="5" y="49"/>
                      <a:pt x="11" y="55"/>
                    </a:cubicBezTo>
                    <a:cubicBezTo>
                      <a:pt x="12" y="51"/>
                      <a:pt x="8" y="53"/>
                      <a:pt x="8" y="50"/>
                    </a:cubicBezTo>
                    <a:cubicBezTo>
                      <a:pt x="8" y="46"/>
                      <a:pt x="8" y="42"/>
                      <a:pt x="8" y="39"/>
                    </a:cubicBezTo>
                    <a:cubicBezTo>
                      <a:pt x="11" y="39"/>
                      <a:pt x="11" y="37"/>
                      <a:pt x="11" y="35"/>
                    </a:cubicBezTo>
                    <a:cubicBezTo>
                      <a:pt x="15" y="36"/>
                      <a:pt x="15" y="32"/>
                      <a:pt x="17" y="31"/>
                    </a:cubicBezTo>
                    <a:cubicBezTo>
                      <a:pt x="19" y="30"/>
                      <a:pt x="27" y="31"/>
                      <a:pt x="26" y="24"/>
                    </a:cubicBezTo>
                    <a:cubicBezTo>
                      <a:pt x="29" y="23"/>
                      <a:pt x="29" y="26"/>
                      <a:pt x="32" y="26"/>
                    </a:cubicBezTo>
                    <a:cubicBezTo>
                      <a:pt x="30" y="20"/>
                      <a:pt x="34" y="19"/>
                      <a:pt x="34" y="14"/>
                    </a:cubicBezTo>
                    <a:cubicBezTo>
                      <a:pt x="39" y="17"/>
                      <a:pt x="38" y="2"/>
                      <a:pt x="39" y="13"/>
                    </a:cubicBezTo>
                    <a:cubicBezTo>
                      <a:pt x="46" y="10"/>
                      <a:pt x="40" y="2"/>
                      <a:pt x="4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625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139" name="íṣḻîḍe">
                <a:extLst>
                  <a:ext uri="{FF2B5EF4-FFF2-40B4-BE49-F238E27FC236}">
                    <a16:creationId xmlns:a16="http://schemas.microsoft.com/office/drawing/2014/main" id="{0E64BB3B-6EF1-463B-A27F-6D54509D0B67}"/>
                  </a:ext>
                </a:extLst>
              </p:cNvPr>
              <p:cNvSpPr/>
              <p:nvPr/>
            </p:nvSpPr>
            <p:spPr bwMode="auto">
              <a:xfrm>
                <a:off x="7448976" y="2389989"/>
                <a:ext cx="638757" cy="469263"/>
              </a:xfrm>
              <a:custGeom>
                <a:avLst/>
                <a:gdLst>
                  <a:gd name="T0" fmla="*/ 178 w 307"/>
                  <a:gd name="T1" fmla="*/ 19 h 226"/>
                  <a:gd name="T2" fmla="*/ 171 w 307"/>
                  <a:gd name="T3" fmla="*/ 22 h 226"/>
                  <a:gd name="T4" fmla="*/ 180 w 307"/>
                  <a:gd name="T5" fmla="*/ 34 h 226"/>
                  <a:gd name="T6" fmla="*/ 206 w 307"/>
                  <a:gd name="T7" fmla="*/ 48 h 226"/>
                  <a:gd name="T8" fmla="*/ 214 w 307"/>
                  <a:gd name="T9" fmla="*/ 37 h 226"/>
                  <a:gd name="T10" fmla="*/ 216 w 307"/>
                  <a:gd name="T11" fmla="*/ 30 h 226"/>
                  <a:gd name="T12" fmla="*/ 218 w 307"/>
                  <a:gd name="T13" fmla="*/ 13 h 226"/>
                  <a:gd name="T14" fmla="*/ 223 w 307"/>
                  <a:gd name="T15" fmla="*/ 4 h 226"/>
                  <a:gd name="T16" fmla="*/ 229 w 307"/>
                  <a:gd name="T17" fmla="*/ 11 h 226"/>
                  <a:gd name="T18" fmla="*/ 238 w 307"/>
                  <a:gd name="T19" fmla="*/ 30 h 226"/>
                  <a:gd name="T20" fmla="*/ 247 w 307"/>
                  <a:gd name="T21" fmla="*/ 43 h 226"/>
                  <a:gd name="T22" fmla="*/ 257 w 307"/>
                  <a:gd name="T23" fmla="*/ 56 h 226"/>
                  <a:gd name="T24" fmla="*/ 262 w 307"/>
                  <a:gd name="T25" fmla="*/ 71 h 226"/>
                  <a:gd name="T26" fmla="*/ 268 w 307"/>
                  <a:gd name="T27" fmla="*/ 75 h 226"/>
                  <a:gd name="T28" fmla="*/ 279 w 307"/>
                  <a:gd name="T29" fmla="*/ 82 h 226"/>
                  <a:gd name="T30" fmla="*/ 288 w 307"/>
                  <a:gd name="T31" fmla="*/ 101 h 226"/>
                  <a:gd name="T32" fmla="*/ 292 w 307"/>
                  <a:gd name="T33" fmla="*/ 104 h 226"/>
                  <a:gd name="T34" fmla="*/ 303 w 307"/>
                  <a:gd name="T35" fmla="*/ 112 h 226"/>
                  <a:gd name="T36" fmla="*/ 307 w 307"/>
                  <a:gd name="T37" fmla="*/ 143 h 226"/>
                  <a:gd name="T38" fmla="*/ 301 w 307"/>
                  <a:gd name="T39" fmla="*/ 158 h 226"/>
                  <a:gd name="T40" fmla="*/ 301 w 307"/>
                  <a:gd name="T41" fmla="*/ 164 h 226"/>
                  <a:gd name="T42" fmla="*/ 298 w 307"/>
                  <a:gd name="T43" fmla="*/ 175 h 226"/>
                  <a:gd name="T44" fmla="*/ 287 w 307"/>
                  <a:gd name="T45" fmla="*/ 185 h 226"/>
                  <a:gd name="T46" fmla="*/ 277 w 307"/>
                  <a:gd name="T47" fmla="*/ 212 h 226"/>
                  <a:gd name="T48" fmla="*/ 260 w 307"/>
                  <a:gd name="T49" fmla="*/ 220 h 226"/>
                  <a:gd name="T50" fmla="*/ 253 w 307"/>
                  <a:gd name="T51" fmla="*/ 226 h 226"/>
                  <a:gd name="T52" fmla="*/ 238 w 307"/>
                  <a:gd name="T53" fmla="*/ 222 h 226"/>
                  <a:gd name="T54" fmla="*/ 205 w 307"/>
                  <a:gd name="T55" fmla="*/ 216 h 226"/>
                  <a:gd name="T56" fmla="*/ 203 w 307"/>
                  <a:gd name="T57" fmla="*/ 205 h 226"/>
                  <a:gd name="T58" fmla="*/ 201 w 307"/>
                  <a:gd name="T59" fmla="*/ 199 h 226"/>
                  <a:gd name="T60" fmla="*/ 186 w 307"/>
                  <a:gd name="T61" fmla="*/ 188 h 226"/>
                  <a:gd name="T62" fmla="*/ 178 w 307"/>
                  <a:gd name="T63" fmla="*/ 179 h 226"/>
                  <a:gd name="T64" fmla="*/ 164 w 307"/>
                  <a:gd name="T65" fmla="*/ 173 h 226"/>
                  <a:gd name="T66" fmla="*/ 156 w 307"/>
                  <a:gd name="T67" fmla="*/ 170 h 226"/>
                  <a:gd name="T68" fmla="*/ 121 w 307"/>
                  <a:gd name="T69" fmla="*/ 162 h 226"/>
                  <a:gd name="T70" fmla="*/ 102 w 307"/>
                  <a:gd name="T71" fmla="*/ 168 h 226"/>
                  <a:gd name="T72" fmla="*/ 95 w 307"/>
                  <a:gd name="T73" fmla="*/ 171 h 226"/>
                  <a:gd name="T74" fmla="*/ 89 w 307"/>
                  <a:gd name="T75" fmla="*/ 177 h 226"/>
                  <a:gd name="T76" fmla="*/ 85 w 307"/>
                  <a:gd name="T77" fmla="*/ 177 h 226"/>
                  <a:gd name="T78" fmla="*/ 52 w 307"/>
                  <a:gd name="T79" fmla="*/ 183 h 226"/>
                  <a:gd name="T80" fmla="*/ 46 w 307"/>
                  <a:gd name="T81" fmla="*/ 186 h 226"/>
                  <a:gd name="T82" fmla="*/ 14 w 307"/>
                  <a:gd name="T83" fmla="*/ 192 h 226"/>
                  <a:gd name="T84" fmla="*/ 18 w 307"/>
                  <a:gd name="T85" fmla="*/ 171 h 226"/>
                  <a:gd name="T86" fmla="*/ 14 w 307"/>
                  <a:gd name="T87" fmla="*/ 160 h 226"/>
                  <a:gd name="T88" fmla="*/ 14 w 307"/>
                  <a:gd name="T89" fmla="*/ 153 h 226"/>
                  <a:gd name="T90" fmla="*/ 9 w 307"/>
                  <a:gd name="T91" fmla="*/ 142 h 226"/>
                  <a:gd name="T92" fmla="*/ 7 w 307"/>
                  <a:gd name="T93" fmla="*/ 132 h 226"/>
                  <a:gd name="T94" fmla="*/ 3 w 307"/>
                  <a:gd name="T95" fmla="*/ 121 h 226"/>
                  <a:gd name="T96" fmla="*/ 5 w 307"/>
                  <a:gd name="T97" fmla="*/ 112 h 226"/>
                  <a:gd name="T98" fmla="*/ 5 w 307"/>
                  <a:gd name="T99" fmla="*/ 88 h 226"/>
                  <a:gd name="T100" fmla="*/ 26 w 307"/>
                  <a:gd name="T101" fmla="*/ 75 h 226"/>
                  <a:gd name="T102" fmla="*/ 50 w 307"/>
                  <a:gd name="T103" fmla="*/ 69 h 226"/>
                  <a:gd name="T104" fmla="*/ 63 w 307"/>
                  <a:gd name="T105" fmla="*/ 63 h 226"/>
                  <a:gd name="T106" fmla="*/ 68 w 307"/>
                  <a:gd name="T107" fmla="*/ 43 h 226"/>
                  <a:gd name="T108" fmla="*/ 85 w 307"/>
                  <a:gd name="T109" fmla="*/ 43 h 226"/>
                  <a:gd name="T110" fmla="*/ 89 w 307"/>
                  <a:gd name="T111" fmla="*/ 30 h 226"/>
                  <a:gd name="T112" fmla="*/ 104 w 307"/>
                  <a:gd name="T113" fmla="*/ 20 h 226"/>
                  <a:gd name="T114" fmla="*/ 115 w 307"/>
                  <a:gd name="T115" fmla="*/ 26 h 226"/>
                  <a:gd name="T116" fmla="*/ 119 w 307"/>
                  <a:gd name="T117" fmla="*/ 28 h 226"/>
                  <a:gd name="T118" fmla="*/ 123 w 307"/>
                  <a:gd name="T119" fmla="*/ 24 h 226"/>
                  <a:gd name="T120" fmla="*/ 136 w 307"/>
                  <a:gd name="T121" fmla="*/ 13 h 226"/>
                  <a:gd name="T122" fmla="*/ 145 w 307"/>
                  <a:gd name="T123" fmla="*/ 9 h 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07" h="226">
                    <a:moveTo>
                      <a:pt x="178" y="9"/>
                    </a:moveTo>
                    <a:cubicBezTo>
                      <a:pt x="178" y="12"/>
                      <a:pt x="178" y="16"/>
                      <a:pt x="178" y="19"/>
                    </a:cubicBezTo>
                    <a:cubicBezTo>
                      <a:pt x="177" y="19"/>
                      <a:pt x="175" y="19"/>
                      <a:pt x="173" y="19"/>
                    </a:cubicBezTo>
                    <a:cubicBezTo>
                      <a:pt x="175" y="21"/>
                      <a:pt x="174" y="22"/>
                      <a:pt x="171" y="22"/>
                    </a:cubicBezTo>
                    <a:cubicBezTo>
                      <a:pt x="174" y="26"/>
                      <a:pt x="171" y="25"/>
                      <a:pt x="171" y="30"/>
                    </a:cubicBezTo>
                    <a:cubicBezTo>
                      <a:pt x="173" y="33"/>
                      <a:pt x="176" y="34"/>
                      <a:pt x="180" y="34"/>
                    </a:cubicBezTo>
                    <a:cubicBezTo>
                      <a:pt x="181" y="42"/>
                      <a:pt x="193" y="38"/>
                      <a:pt x="193" y="47"/>
                    </a:cubicBezTo>
                    <a:cubicBezTo>
                      <a:pt x="198" y="47"/>
                      <a:pt x="204" y="46"/>
                      <a:pt x="206" y="48"/>
                    </a:cubicBezTo>
                    <a:cubicBezTo>
                      <a:pt x="210" y="48"/>
                      <a:pt x="207" y="40"/>
                      <a:pt x="214" y="43"/>
                    </a:cubicBezTo>
                    <a:cubicBezTo>
                      <a:pt x="213" y="42"/>
                      <a:pt x="211" y="37"/>
                      <a:pt x="214" y="37"/>
                    </a:cubicBezTo>
                    <a:cubicBezTo>
                      <a:pt x="216" y="37"/>
                      <a:pt x="213" y="34"/>
                      <a:pt x="214" y="32"/>
                    </a:cubicBezTo>
                    <a:cubicBezTo>
                      <a:pt x="214" y="32"/>
                      <a:pt x="216" y="31"/>
                      <a:pt x="216" y="30"/>
                    </a:cubicBezTo>
                    <a:cubicBezTo>
                      <a:pt x="216" y="28"/>
                      <a:pt x="218" y="26"/>
                      <a:pt x="218" y="22"/>
                    </a:cubicBezTo>
                    <a:cubicBezTo>
                      <a:pt x="217" y="21"/>
                      <a:pt x="215" y="19"/>
                      <a:pt x="218" y="13"/>
                    </a:cubicBezTo>
                    <a:cubicBezTo>
                      <a:pt x="218" y="13"/>
                      <a:pt x="221" y="13"/>
                      <a:pt x="221" y="13"/>
                    </a:cubicBezTo>
                    <a:cubicBezTo>
                      <a:pt x="223" y="11"/>
                      <a:pt x="221" y="5"/>
                      <a:pt x="223" y="4"/>
                    </a:cubicBezTo>
                    <a:cubicBezTo>
                      <a:pt x="227" y="3"/>
                      <a:pt x="224" y="9"/>
                      <a:pt x="227" y="11"/>
                    </a:cubicBezTo>
                    <a:cubicBezTo>
                      <a:pt x="227" y="11"/>
                      <a:pt x="229" y="11"/>
                      <a:pt x="229" y="11"/>
                    </a:cubicBezTo>
                    <a:cubicBezTo>
                      <a:pt x="230" y="14"/>
                      <a:pt x="231" y="18"/>
                      <a:pt x="232" y="20"/>
                    </a:cubicBezTo>
                    <a:cubicBezTo>
                      <a:pt x="234" y="24"/>
                      <a:pt x="238" y="26"/>
                      <a:pt x="238" y="30"/>
                    </a:cubicBezTo>
                    <a:cubicBezTo>
                      <a:pt x="243" y="25"/>
                      <a:pt x="240" y="33"/>
                      <a:pt x="246" y="32"/>
                    </a:cubicBezTo>
                    <a:cubicBezTo>
                      <a:pt x="245" y="36"/>
                      <a:pt x="245" y="40"/>
                      <a:pt x="247" y="43"/>
                    </a:cubicBezTo>
                    <a:cubicBezTo>
                      <a:pt x="250" y="46"/>
                      <a:pt x="247" y="50"/>
                      <a:pt x="249" y="56"/>
                    </a:cubicBezTo>
                    <a:cubicBezTo>
                      <a:pt x="254" y="50"/>
                      <a:pt x="250" y="55"/>
                      <a:pt x="257" y="56"/>
                    </a:cubicBezTo>
                    <a:cubicBezTo>
                      <a:pt x="257" y="59"/>
                      <a:pt x="255" y="59"/>
                      <a:pt x="255" y="61"/>
                    </a:cubicBezTo>
                    <a:cubicBezTo>
                      <a:pt x="258" y="64"/>
                      <a:pt x="263" y="64"/>
                      <a:pt x="262" y="71"/>
                    </a:cubicBezTo>
                    <a:cubicBezTo>
                      <a:pt x="264" y="71"/>
                      <a:pt x="267" y="70"/>
                      <a:pt x="268" y="71"/>
                    </a:cubicBezTo>
                    <a:cubicBezTo>
                      <a:pt x="268" y="71"/>
                      <a:pt x="267" y="74"/>
                      <a:pt x="268" y="75"/>
                    </a:cubicBezTo>
                    <a:cubicBezTo>
                      <a:pt x="268" y="75"/>
                      <a:pt x="271" y="74"/>
                      <a:pt x="272" y="75"/>
                    </a:cubicBezTo>
                    <a:cubicBezTo>
                      <a:pt x="274" y="77"/>
                      <a:pt x="273" y="83"/>
                      <a:pt x="279" y="82"/>
                    </a:cubicBezTo>
                    <a:cubicBezTo>
                      <a:pt x="279" y="87"/>
                      <a:pt x="282" y="92"/>
                      <a:pt x="285" y="95"/>
                    </a:cubicBezTo>
                    <a:cubicBezTo>
                      <a:pt x="286" y="97"/>
                      <a:pt x="287" y="99"/>
                      <a:pt x="288" y="101"/>
                    </a:cubicBezTo>
                    <a:cubicBezTo>
                      <a:pt x="289" y="101"/>
                      <a:pt x="291" y="100"/>
                      <a:pt x="292" y="101"/>
                    </a:cubicBezTo>
                    <a:cubicBezTo>
                      <a:pt x="293" y="101"/>
                      <a:pt x="291" y="104"/>
                      <a:pt x="292" y="104"/>
                    </a:cubicBezTo>
                    <a:cubicBezTo>
                      <a:pt x="294" y="106"/>
                      <a:pt x="297" y="105"/>
                      <a:pt x="296" y="104"/>
                    </a:cubicBezTo>
                    <a:cubicBezTo>
                      <a:pt x="300" y="108"/>
                      <a:pt x="297" y="113"/>
                      <a:pt x="303" y="112"/>
                    </a:cubicBezTo>
                    <a:cubicBezTo>
                      <a:pt x="299" y="117"/>
                      <a:pt x="304" y="124"/>
                      <a:pt x="305" y="132"/>
                    </a:cubicBezTo>
                    <a:cubicBezTo>
                      <a:pt x="306" y="137"/>
                      <a:pt x="303" y="141"/>
                      <a:pt x="307" y="143"/>
                    </a:cubicBezTo>
                    <a:cubicBezTo>
                      <a:pt x="303" y="146"/>
                      <a:pt x="304" y="149"/>
                      <a:pt x="303" y="157"/>
                    </a:cubicBezTo>
                    <a:cubicBezTo>
                      <a:pt x="303" y="156"/>
                      <a:pt x="300" y="157"/>
                      <a:pt x="301" y="158"/>
                    </a:cubicBezTo>
                    <a:cubicBezTo>
                      <a:pt x="302" y="158"/>
                      <a:pt x="303" y="158"/>
                      <a:pt x="303" y="158"/>
                    </a:cubicBezTo>
                    <a:cubicBezTo>
                      <a:pt x="303" y="159"/>
                      <a:pt x="302" y="163"/>
                      <a:pt x="301" y="164"/>
                    </a:cubicBezTo>
                    <a:cubicBezTo>
                      <a:pt x="301" y="164"/>
                      <a:pt x="298" y="166"/>
                      <a:pt x="298" y="166"/>
                    </a:cubicBezTo>
                    <a:cubicBezTo>
                      <a:pt x="297" y="168"/>
                      <a:pt x="301" y="171"/>
                      <a:pt x="298" y="175"/>
                    </a:cubicBezTo>
                    <a:cubicBezTo>
                      <a:pt x="294" y="175"/>
                      <a:pt x="295" y="180"/>
                      <a:pt x="290" y="179"/>
                    </a:cubicBezTo>
                    <a:cubicBezTo>
                      <a:pt x="291" y="183"/>
                      <a:pt x="290" y="185"/>
                      <a:pt x="287" y="185"/>
                    </a:cubicBezTo>
                    <a:cubicBezTo>
                      <a:pt x="288" y="192"/>
                      <a:pt x="284" y="194"/>
                      <a:pt x="285" y="201"/>
                    </a:cubicBezTo>
                    <a:cubicBezTo>
                      <a:pt x="277" y="200"/>
                      <a:pt x="278" y="207"/>
                      <a:pt x="277" y="212"/>
                    </a:cubicBezTo>
                    <a:cubicBezTo>
                      <a:pt x="275" y="212"/>
                      <a:pt x="272" y="212"/>
                      <a:pt x="272" y="214"/>
                    </a:cubicBezTo>
                    <a:cubicBezTo>
                      <a:pt x="271" y="218"/>
                      <a:pt x="264" y="218"/>
                      <a:pt x="260" y="220"/>
                    </a:cubicBezTo>
                    <a:cubicBezTo>
                      <a:pt x="259" y="221"/>
                      <a:pt x="258" y="223"/>
                      <a:pt x="257" y="224"/>
                    </a:cubicBezTo>
                    <a:cubicBezTo>
                      <a:pt x="255" y="224"/>
                      <a:pt x="253" y="223"/>
                      <a:pt x="253" y="226"/>
                    </a:cubicBezTo>
                    <a:cubicBezTo>
                      <a:pt x="249" y="223"/>
                      <a:pt x="247" y="219"/>
                      <a:pt x="242" y="218"/>
                    </a:cubicBezTo>
                    <a:cubicBezTo>
                      <a:pt x="238" y="216"/>
                      <a:pt x="239" y="221"/>
                      <a:pt x="238" y="222"/>
                    </a:cubicBezTo>
                    <a:cubicBezTo>
                      <a:pt x="234" y="224"/>
                      <a:pt x="228" y="221"/>
                      <a:pt x="225" y="226"/>
                    </a:cubicBezTo>
                    <a:cubicBezTo>
                      <a:pt x="218" y="222"/>
                      <a:pt x="213" y="217"/>
                      <a:pt x="205" y="216"/>
                    </a:cubicBezTo>
                    <a:cubicBezTo>
                      <a:pt x="207" y="214"/>
                      <a:pt x="207" y="212"/>
                      <a:pt x="205" y="207"/>
                    </a:cubicBezTo>
                    <a:cubicBezTo>
                      <a:pt x="204" y="206"/>
                      <a:pt x="203" y="207"/>
                      <a:pt x="203" y="205"/>
                    </a:cubicBezTo>
                    <a:cubicBezTo>
                      <a:pt x="203" y="205"/>
                      <a:pt x="203" y="203"/>
                      <a:pt x="203" y="203"/>
                    </a:cubicBezTo>
                    <a:cubicBezTo>
                      <a:pt x="202" y="201"/>
                      <a:pt x="197" y="200"/>
                      <a:pt x="201" y="199"/>
                    </a:cubicBezTo>
                    <a:cubicBezTo>
                      <a:pt x="200" y="198"/>
                      <a:pt x="192" y="194"/>
                      <a:pt x="191" y="198"/>
                    </a:cubicBezTo>
                    <a:cubicBezTo>
                      <a:pt x="189" y="195"/>
                      <a:pt x="189" y="190"/>
                      <a:pt x="186" y="188"/>
                    </a:cubicBezTo>
                    <a:cubicBezTo>
                      <a:pt x="185" y="184"/>
                      <a:pt x="187" y="183"/>
                      <a:pt x="188" y="181"/>
                    </a:cubicBezTo>
                    <a:cubicBezTo>
                      <a:pt x="186" y="179"/>
                      <a:pt x="184" y="180"/>
                      <a:pt x="178" y="179"/>
                    </a:cubicBezTo>
                    <a:cubicBezTo>
                      <a:pt x="175" y="181"/>
                      <a:pt x="175" y="188"/>
                      <a:pt x="167" y="186"/>
                    </a:cubicBezTo>
                    <a:cubicBezTo>
                      <a:pt x="169" y="179"/>
                      <a:pt x="162" y="181"/>
                      <a:pt x="164" y="173"/>
                    </a:cubicBezTo>
                    <a:cubicBezTo>
                      <a:pt x="159" y="173"/>
                      <a:pt x="158" y="170"/>
                      <a:pt x="152" y="171"/>
                    </a:cubicBezTo>
                    <a:cubicBezTo>
                      <a:pt x="152" y="170"/>
                      <a:pt x="155" y="170"/>
                      <a:pt x="156" y="170"/>
                    </a:cubicBezTo>
                    <a:cubicBezTo>
                      <a:pt x="151" y="164"/>
                      <a:pt x="147" y="169"/>
                      <a:pt x="137" y="168"/>
                    </a:cubicBezTo>
                    <a:cubicBezTo>
                      <a:pt x="131" y="166"/>
                      <a:pt x="126" y="164"/>
                      <a:pt x="121" y="162"/>
                    </a:cubicBezTo>
                    <a:cubicBezTo>
                      <a:pt x="116" y="164"/>
                      <a:pt x="111" y="163"/>
                      <a:pt x="109" y="168"/>
                    </a:cubicBezTo>
                    <a:cubicBezTo>
                      <a:pt x="107" y="168"/>
                      <a:pt x="104" y="167"/>
                      <a:pt x="102" y="168"/>
                    </a:cubicBezTo>
                    <a:cubicBezTo>
                      <a:pt x="100" y="168"/>
                      <a:pt x="101" y="169"/>
                      <a:pt x="100" y="170"/>
                    </a:cubicBezTo>
                    <a:cubicBezTo>
                      <a:pt x="97" y="170"/>
                      <a:pt x="98" y="166"/>
                      <a:pt x="95" y="171"/>
                    </a:cubicBezTo>
                    <a:cubicBezTo>
                      <a:pt x="94" y="172"/>
                      <a:pt x="92" y="173"/>
                      <a:pt x="93" y="175"/>
                    </a:cubicBezTo>
                    <a:cubicBezTo>
                      <a:pt x="90" y="173"/>
                      <a:pt x="89" y="169"/>
                      <a:pt x="89" y="177"/>
                    </a:cubicBezTo>
                    <a:cubicBezTo>
                      <a:pt x="87" y="177"/>
                      <a:pt x="87" y="175"/>
                      <a:pt x="85" y="175"/>
                    </a:cubicBezTo>
                    <a:cubicBezTo>
                      <a:pt x="83" y="175"/>
                      <a:pt x="85" y="177"/>
                      <a:pt x="85" y="177"/>
                    </a:cubicBezTo>
                    <a:cubicBezTo>
                      <a:pt x="83" y="181"/>
                      <a:pt x="77" y="179"/>
                      <a:pt x="76" y="185"/>
                    </a:cubicBezTo>
                    <a:cubicBezTo>
                      <a:pt x="71" y="181"/>
                      <a:pt x="60" y="183"/>
                      <a:pt x="52" y="183"/>
                    </a:cubicBezTo>
                    <a:cubicBezTo>
                      <a:pt x="49" y="182"/>
                      <a:pt x="51" y="186"/>
                      <a:pt x="50" y="186"/>
                    </a:cubicBezTo>
                    <a:cubicBezTo>
                      <a:pt x="49" y="187"/>
                      <a:pt x="47" y="186"/>
                      <a:pt x="46" y="186"/>
                    </a:cubicBezTo>
                    <a:cubicBezTo>
                      <a:pt x="44" y="187"/>
                      <a:pt x="43" y="188"/>
                      <a:pt x="40" y="188"/>
                    </a:cubicBezTo>
                    <a:cubicBezTo>
                      <a:pt x="35" y="190"/>
                      <a:pt x="26" y="194"/>
                      <a:pt x="14" y="192"/>
                    </a:cubicBezTo>
                    <a:cubicBezTo>
                      <a:pt x="15" y="187"/>
                      <a:pt x="14" y="181"/>
                      <a:pt x="20" y="181"/>
                    </a:cubicBezTo>
                    <a:cubicBezTo>
                      <a:pt x="19" y="178"/>
                      <a:pt x="22" y="172"/>
                      <a:pt x="18" y="171"/>
                    </a:cubicBezTo>
                    <a:cubicBezTo>
                      <a:pt x="13" y="171"/>
                      <a:pt x="20" y="170"/>
                      <a:pt x="18" y="164"/>
                    </a:cubicBezTo>
                    <a:cubicBezTo>
                      <a:pt x="16" y="159"/>
                      <a:pt x="16" y="168"/>
                      <a:pt x="14" y="160"/>
                    </a:cubicBezTo>
                    <a:cubicBezTo>
                      <a:pt x="14" y="160"/>
                      <a:pt x="15" y="157"/>
                      <a:pt x="14" y="157"/>
                    </a:cubicBezTo>
                    <a:cubicBezTo>
                      <a:pt x="12" y="154"/>
                      <a:pt x="15" y="156"/>
                      <a:pt x="14" y="153"/>
                    </a:cubicBezTo>
                    <a:cubicBezTo>
                      <a:pt x="14" y="149"/>
                      <a:pt x="10" y="146"/>
                      <a:pt x="13" y="143"/>
                    </a:cubicBezTo>
                    <a:cubicBezTo>
                      <a:pt x="13" y="141"/>
                      <a:pt x="10" y="143"/>
                      <a:pt x="9" y="142"/>
                    </a:cubicBezTo>
                    <a:cubicBezTo>
                      <a:pt x="8" y="141"/>
                      <a:pt x="9" y="139"/>
                      <a:pt x="9" y="138"/>
                    </a:cubicBezTo>
                    <a:cubicBezTo>
                      <a:pt x="9" y="138"/>
                      <a:pt x="7" y="132"/>
                      <a:pt x="7" y="132"/>
                    </a:cubicBezTo>
                    <a:cubicBezTo>
                      <a:pt x="4" y="130"/>
                      <a:pt x="8" y="131"/>
                      <a:pt x="7" y="129"/>
                    </a:cubicBezTo>
                    <a:cubicBezTo>
                      <a:pt x="6" y="126"/>
                      <a:pt x="2" y="125"/>
                      <a:pt x="3" y="121"/>
                    </a:cubicBezTo>
                    <a:cubicBezTo>
                      <a:pt x="8" y="122"/>
                      <a:pt x="5" y="114"/>
                      <a:pt x="9" y="114"/>
                    </a:cubicBezTo>
                    <a:cubicBezTo>
                      <a:pt x="9" y="111"/>
                      <a:pt x="6" y="113"/>
                      <a:pt x="5" y="112"/>
                    </a:cubicBezTo>
                    <a:cubicBezTo>
                      <a:pt x="4" y="110"/>
                      <a:pt x="6" y="105"/>
                      <a:pt x="1" y="106"/>
                    </a:cubicBezTo>
                    <a:cubicBezTo>
                      <a:pt x="0" y="98"/>
                      <a:pt x="4" y="94"/>
                      <a:pt x="5" y="88"/>
                    </a:cubicBezTo>
                    <a:cubicBezTo>
                      <a:pt x="7" y="91"/>
                      <a:pt x="14" y="89"/>
                      <a:pt x="14" y="84"/>
                    </a:cubicBezTo>
                    <a:cubicBezTo>
                      <a:pt x="15" y="80"/>
                      <a:pt x="26" y="83"/>
                      <a:pt x="26" y="75"/>
                    </a:cubicBezTo>
                    <a:cubicBezTo>
                      <a:pt x="36" y="76"/>
                      <a:pt x="41" y="71"/>
                      <a:pt x="50" y="71"/>
                    </a:cubicBezTo>
                    <a:cubicBezTo>
                      <a:pt x="52" y="71"/>
                      <a:pt x="50" y="68"/>
                      <a:pt x="50" y="69"/>
                    </a:cubicBezTo>
                    <a:cubicBezTo>
                      <a:pt x="53" y="65"/>
                      <a:pt x="59" y="68"/>
                      <a:pt x="59" y="61"/>
                    </a:cubicBezTo>
                    <a:cubicBezTo>
                      <a:pt x="61" y="62"/>
                      <a:pt x="61" y="63"/>
                      <a:pt x="63" y="63"/>
                    </a:cubicBezTo>
                    <a:cubicBezTo>
                      <a:pt x="67" y="64"/>
                      <a:pt x="62" y="55"/>
                      <a:pt x="68" y="58"/>
                    </a:cubicBezTo>
                    <a:cubicBezTo>
                      <a:pt x="67" y="50"/>
                      <a:pt x="68" y="51"/>
                      <a:pt x="68" y="43"/>
                    </a:cubicBezTo>
                    <a:cubicBezTo>
                      <a:pt x="73" y="43"/>
                      <a:pt x="76" y="45"/>
                      <a:pt x="80" y="47"/>
                    </a:cubicBezTo>
                    <a:cubicBezTo>
                      <a:pt x="82" y="45"/>
                      <a:pt x="82" y="42"/>
                      <a:pt x="85" y="43"/>
                    </a:cubicBezTo>
                    <a:cubicBezTo>
                      <a:pt x="83" y="39"/>
                      <a:pt x="90" y="36"/>
                      <a:pt x="85" y="35"/>
                    </a:cubicBezTo>
                    <a:cubicBezTo>
                      <a:pt x="86" y="33"/>
                      <a:pt x="89" y="33"/>
                      <a:pt x="89" y="30"/>
                    </a:cubicBezTo>
                    <a:cubicBezTo>
                      <a:pt x="95" y="31"/>
                      <a:pt x="91" y="23"/>
                      <a:pt x="98" y="26"/>
                    </a:cubicBezTo>
                    <a:cubicBezTo>
                      <a:pt x="100" y="24"/>
                      <a:pt x="102" y="22"/>
                      <a:pt x="104" y="20"/>
                    </a:cubicBezTo>
                    <a:cubicBezTo>
                      <a:pt x="106" y="22"/>
                      <a:pt x="109" y="23"/>
                      <a:pt x="113" y="22"/>
                    </a:cubicBezTo>
                    <a:cubicBezTo>
                      <a:pt x="109" y="26"/>
                      <a:pt x="114" y="24"/>
                      <a:pt x="115" y="26"/>
                    </a:cubicBezTo>
                    <a:cubicBezTo>
                      <a:pt x="115" y="26"/>
                      <a:pt x="115" y="28"/>
                      <a:pt x="115" y="28"/>
                    </a:cubicBezTo>
                    <a:cubicBezTo>
                      <a:pt x="116" y="28"/>
                      <a:pt x="118" y="27"/>
                      <a:pt x="119" y="28"/>
                    </a:cubicBezTo>
                    <a:cubicBezTo>
                      <a:pt x="119" y="28"/>
                      <a:pt x="121" y="33"/>
                      <a:pt x="126" y="32"/>
                    </a:cubicBezTo>
                    <a:cubicBezTo>
                      <a:pt x="129" y="33"/>
                      <a:pt x="127" y="22"/>
                      <a:pt x="123" y="24"/>
                    </a:cubicBezTo>
                    <a:cubicBezTo>
                      <a:pt x="124" y="22"/>
                      <a:pt x="126" y="21"/>
                      <a:pt x="128" y="20"/>
                    </a:cubicBezTo>
                    <a:cubicBezTo>
                      <a:pt x="128" y="16"/>
                      <a:pt x="131" y="13"/>
                      <a:pt x="136" y="13"/>
                    </a:cubicBezTo>
                    <a:cubicBezTo>
                      <a:pt x="135" y="9"/>
                      <a:pt x="137" y="7"/>
                      <a:pt x="141" y="7"/>
                    </a:cubicBezTo>
                    <a:cubicBezTo>
                      <a:pt x="138" y="13"/>
                      <a:pt x="140" y="10"/>
                      <a:pt x="145" y="9"/>
                    </a:cubicBezTo>
                    <a:cubicBezTo>
                      <a:pt x="153" y="0"/>
                      <a:pt x="168" y="9"/>
                      <a:pt x="178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 dirty="0"/>
              </a:p>
            </p:txBody>
          </p:sp>
        </p:grpSp>
        <p:grpSp>
          <p:nvGrpSpPr>
            <p:cNvPr id="7" name="íṣľïḓe">
              <a:extLst>
                <a:ext uri="{FF2B5EF4-FFF2-40B4-BE49-F238E27FC236}">
                  <a16:creationId xmlns:a16="http://schemas.microsoft.com/office/drawing/2014/main" id="{8DC6CEC7-E5C3-4B76-85FB-84232A4D9EA6}"/>
                </a:ext>
              </a:extLst>
            </p:cNvPr>
            <p:cNvGrpSpPr/>
            <p:nvPr/>
          </p:nvGrpSpPr>
          <p:grpSpPr>
            <a:xfrm>
              <a:off x="1503800" y="2992330"/>
              <a:ext cx="318389" cy="431544"/>
              <a:chOff x="654918" y="1726002"/>
              <a:chExt cx="1800994" cy="2441075"/>
            </a:xfrm>
          </p:grpSpPr>
          <p:sp>
            <p:nvSpPr>
              <p:cNvPr id="31" name="íšḷïḋè">
                <a:extLst>
                  <a:ext uri="{FF2B5EF4-FFF2-40B4-BE49-F238E27FC236}">
                    <a16:creationId xmlns:a16="http://schemas.microsoft.com/office/drawing/2014/main" id="{E1738C83-B21B-4680-AFAA-81224A86349D}"/>
                  </a:ext>
                </a:extLst>
              </p:cNvPr>
              <p:cNvSpPr/>
              <p:nvPr/>
            </p:nvSpPr>
            <p:spPr>
              <a:xfrm>
                <a:off x="946966" y="3644191"/>
                <a:ext cx="1216897" cy="522886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32" name="ïśḻîdè">
                <a:extLst>
                  <a:ext uri="{FF2B5EF4-FFF2-40B4-BE49-F238E27FC236}">
                    <a16:creationId xmlns:a16="http://schemas.microsoft.com/office/drawing/2014/main" id="{6EEDA127-2D29-4B8B-9DE2-2A75BCEA435B}"/>
                  </a:ext>
                </a:extLst>
              </p:cNvPr>
              <p:cNvSpPr/>
              <p:nvPr/>
            </p:nvSpPr>
            <p:spPr>
              <a:xfrm rot="8100000">
                <a:off x="654918" y="1726002"/>
                <a:ext cx="1800994" cy="1800993"/>
              </a:xfrm>
              <a:prstGeom prst="teardrop">
                <a:avLst/>
              </a:prstGeom>
              <a:solidFill>
                <a:schemeClr val="accent1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 fontScale="55000" lnSpcReduction="20000"/>
              </a:bodyPr>
              <a:lstStyle/>
              <a:p>
                <a:pPr algn="ctr"/>
                <a:endParaRPr dirty="0"/>
              </a:p>
            </p:txBody>
          </p:sp>
        </p:grpSp>
        <p:grpSp>
          <p:nvGrpSpPr>
            <p:cNvPr id="8" name="îšlîdé">
              <a:extLst>
                <a:ext uri="{FF2B5EF4-FFF2-40B4-BE49-F238E27FC236}">
                  <a16:creationId xmlns:a16="http://schemas.microsoft.com/office/drawing/2014/main" id="{F07450FF-416D-4198-BCCE-820A195C1039}"/>
                </a:ext>
              </a:extLst>
            </p:cNvPr>
            <p:cNvGrpSpPr/>
            <p:nvPr/>
          </p:nvGrpSpPr>
          <p:grpSpPr>
            <a:xfrm>
              <a:off x="6839796" y="2410192"/>
              <a:ext cx="4679104" cy="737491"/>
              <a:chOff x="684195" y="1130300"/>
              <a:chExt cx="4679104" cy="737491"/>
            </a:xfrm>
          </p:grpSpPr>
          <p:sp>
            <p:nvSpPr>
              <p:cNvPr id="27" name="îSḻiḍé">
                <a:extLst>
                  <a:ext uri="{FF2B5EF4-FFF2-40B4-BE49-F238E27FC236}">
                    <a16:creationId xmlns:a16="http://schemas.microsoft.com/office/drawing/2014/main" id="{90DADC5E-DCBF-4034-B3AF-0AA3D206AA0E}"/>
                  </a:ext>
                </a:extLst>
              </p:cNvPr>
              <p:cNvSpPr/>
              <p:nvPr/>
            </p:nvSpPr>
            <p:spPr>
              <a:xfrm>
                <a:off x="684195" y="1195327"/>
                <a:ext cx="611206" cy="61120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round/>
              </a:ln>
            </p:spPr>
            <p:txBody>
              <a:bodyPr vert="horz" wrap="square" lIns="91440" tIns="45720" rIns="91440" bIns="45720" anchor="ctr" anchorCtr="1" compatLnSpc="1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1600" b="1" i="1" dirty="0">
                    <a:solidFill>
                      <a:schemeClr val="accent1"/>
                    </a:solidFill>
                  </a:rPr>
                  <a:t>01</a:t>
                </a:r>
                <a:endParaRPr sz="1600" b="1" i="1" dirty="0">
                  <a:solidFill>
                    <a:schemeClr val="accent1"/>
                  </a:solidFill>
                </a:endParaRPr>
              </a:p>
            </p:txBody>
          </p:sp>
          <p:grpSp>
            <p:nvGrpSpPr>
              <p:cNvPr id="28" name="ïšḻîdé">
                <a:extLst>
                  <a:ext uri="{FF2B5EF4-FFF2-40B4-BE49-F238E27FC236}">
                    <a16:creationId xmlns:a16="http://schemas.microsoft.com/office/drawing/2014/main" id="{43895CDA-10A1-4278-8E10-C7702CB88DB6}"/>
                  </a:ext>
                </a:extLst>
              </p:cNvPr>
              <p:cNvGrpSpPr/>
              <p:nvPr/>
            </p:nvGrpSpPr>
            <p:grpSpPr>
              <a:xfrm>
                <a:off x="1441616" y="1130300"/>
                <a:ext cx="3921683" cy="737491"/>
                <a:chOff x="7597216" y="1272952"/>
                <a:chExt cx="3921683" cy="737491"/>
              </a:xfrm>
            </p:grpSpPr>
            <p:sp>
              <p:nvSpPr>
                <p:cNvPr id="29" name="îšlíḋê">
                  <a:extLst>
                    <a:ext uri="{FF2B5EF4-FFF2-40B4-BE49-F238E27FC236}">
                      <a16:creationId xmlns:a16="http://schemas.microsoft.com/office/drawing/2014/main" id="{DA9264D8-ADBE-4D3D-96AA-03044094EFB9}"/>
                    </a:ext>
                  </a:extLst>
                </p:cNvPr>
                <p:cNvSpPr txBox="1"/>
                <p:nvPr/>
              </p:nvSpPr>
              <p:spPr>
                <a:xfrm>
                  <a:off x="7597216" y="1272952"/>
                  <a:ext cx="3921683" cy="368746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anchor="b" anchorCtr="0">
                  <a:normAutofit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r>
                    <a:rPr lang="en-US" altLang="zh-CN" b="1" dirty="0"/>
                    <a:t>Text here</a:t>
                  </a:r>
                  <a:endParaRPr lang="zh-CN" altLang="en-US" b="1" dirty="0"/>
                </a:p>
              </p:txBody>
            </p:sp>
            <p:sp>
              <p:nvSpPr>
                <p:cNvPr id="30" name="íŝḻîḑe">
                  <a:extLst>
                    <a:ext uri="{FF2B5EF4-FFF2-40B4-BE49-F238E27FC236}">
                      <a16:creationId xmlns:a16="http://schemas.microsoft.com/office/drawing/2014/main" id="{B7B8EB93-4CA2-4AED-AA15-910925040362}"/>
                    </a:ext>
                  </a:extLst>
                </p:cNvPr>
                <p:cNvSpPr txBox="1"/>
                <p:nvPr/>
              </p:nvSpPr>
              <p:spPr>
                <a:xfrm>
                  <a:off x="7597216" y="1641696"/>
                  <a:ext cx="3921683" cy="368747"/>
                </a:xfrm>
                <a:prstGeom prst="rect">
                  <a:avLst/>
                </a:prstGeom>
              </p:spPr>
              <p:txBody>
                <a:bodyPr vert="horz"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20000"/>
                    </a:lnSpc>
                  </a:pPr>
                  <a:r>
                    <a:rPr lang="en-US" altLang="zh-CN" sz="1100" dirty="0">
                      <a:solidFill>
                        <a:schemeClr val="dk1">
                          <a:lumMod val="100000"/>
                        </a:schemeClr>
                      </a:solidFill>
                    </a:rPr>
                    <a:t>Copy paste fonts. Choose the only option to retain text……</a:t>
                  </a:r>
                </a:p>
              </p:txBody>
            </p:sp>
          </p:grpSp>
        </p:grpSp>
        <p:grpSp>
          <p:nvGrpSpPr>
            <p:cNvPr id="9" name="íŝľíďé">
              <a:extLst>
                <a:ext uri="{FF2B5EF4-FFF2-40B4-BE49-F238E27FC236}">
                  <a16:creationId xmlns:a16="http://schemas.microsoft.com/office/drawing/2014/main" id="{CAA77519-4AAA-4F28-9722-BA33614F6D27}"/>
                </a:ext>
              </a:extLst>
            </p:cNvPr>
            <p:cNvGrpSpPr/>
            <p:nvPr/>
          </p:nvGrpSpPr>
          <p:grpSpPr>
            <a:xfrm>
              <a:off x="6839796" y="3263455"/>
              <a:ext cx="4679104" cy="737491"/>
              <a:chOff x="684195" y="1130300"/>
              <a:chExt cx="4679104" cy="737491"/>
            </a:xfrm>
          </p:grpSpPr>
          <p:sp>
            <p:nvSpPr>
              <p:cNvPr id="23" name="îşļïḋé">
                <a:extLst>
                  <a:ext uri="{FF2B5EF4-FFF2-40B4-BE49-F238E27FC236}">
                    <a16:creationId xmlns:a16="http://schemas.microsoft.com/office/drawing/2014/main" id="{048C68C4-2AEE-44DB-8049-49048683474E}"/>
                  </a:ext>
                </a:extLst>
              </p:cNvPr>
              <p:cNvSpPr/>
              <p:nvPr/>
            </p:nvSpPr>
            <p:spPr>
              <a:xfrm>
                <a:off x="684195" y="1195327"/>
                <a:ext cx="611206" cy="61120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round/>
              </a:ln>
            </p:spPr>
            <p:txBody>
              <a:bodyPr vert="horz" wrap="square" lIns="91440" tIns="45720" rIns="91440" bIns="45720" anchor="ctr" anchorCtr="1" compatLnSpc="1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1600" b="1" i="1" dirty="0">
                    <a:solidFill>
                      <a:schemeClr val="accent1"/>
                    </a:solidFill>
                  </a:rPr>
                  <a:t>02</a:t>
                </a:r>
                <a:endParaRPr sz="1600" b="1" i="1" dirty="0">
                  <a:solidFill>
                    <a:schemeClr val="accent1"/>
                  </a:solidFill>
                </a:endParaRPr>
              </a:p>
            </p:txBody>
          </p:sp>
          <p:grpSp>
            <p:nvGrpSpPr>
              <p:cNvPr id="24" name="iśľiďè">
                <a:extLst>
                  <a:ext uri="{FF2B5EF4-FFF2-40B4-BE49-F238E27FC236}">
                    <a16:creationId xmlns:a16="http://schemas.microsoft.com/office/drawing/2014/main" id="{76DB9663-D046-430B-8341-4FE77F3AA751}"/>
                  </a:ext>
                </a:extLst>
              </p:cNvPr>
              <p:cNvGrpSpPr/>
              <p:nvPr/>
            </p:nvGrpSpPr>
            <p:grpSpPr>
              <a:xfrm>
                <a:off x="1441616" y="1130300"/>
                <a:ext cx="3921683" cy="737491"/>
                <a:chOff x="7597216" y="1272952"/>
                <a:chExt cx="3921683" cy="737491"/>
              </a:xfrm>
            </p:grpSpPr>
            <p:sp>
              <p:nvSpPr>
                <p:cNvPr id="25" name="íślíḓè">
                  <a:extLst>
                    <a:ext uri="{FF2B5EF4-FFF2-40B4-BE49-F238E27FC236}">
                      <a16:creationId xmlns:a16="http://schemas.microsoft.com/office/drawing/2014/main" id="{F2CC35B1-450F-4DDC-A092-A641C3007E67}"/>
                    </a:ext>
                  </a:extLst>
                </p:cNvPr>
                <p:cNvSpPr txBox="1"/>
                <p:nvPr/>
              </p:nvSpPr>
              <p:spPr>
                <a:xfrm>
                  <a:off x="7597216" y="1272952"/>
                  <a:ext cx="3921683" cy="368746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anchor="b" anchorCtr="0">
                  <a:normAutofit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r>
                    <a:rPr lang="en-US" altLang="zh-CN" b="1" dirty="0"/>
                    <a:t>Text here</a:t>
                  </a:r>
                  <a:endParaRPr lang="zh-CN" altLang="en-US" b="1" dirty="0"/>
                </a:p>
              </p:txBody>
            </p:sp>
            <p:sp>
              <p:nvSpPr>
                <p:cNvPr id="26" name="isḷîdè">
                  <a:extLst>
                    <a:ext uri="{FF2B5EF4-FFF2-40B4-BE49-F238E27FC236}">
                      <a16:creationId xmlns:a16="http://schemas.microsoft.com/office/drawing/2014/main" id="{9477C3C8-24ED-4492-BBFD-308BF311667F}"/>
                    </a:ext>
                  </a:extLst>
                </p:cNvPr>
                <p:cNvSpPr txBox="1"/>
                <p:nvPr/>
              </p:nvSpPr>
              <p:spPr>
                <a:xfrm>
                  <a:off x="7597216" y="1641696"/>
                  <a:ext cx="3921683" cy="368747"/>
                </a:xfrm>
                <a:prstGeom prst="rect">
                  <a:avLst/>
                </a:prstGeom>
              </p:spPr>
              <p:txBody>
                <a:bodyPr vert="horz"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20000"/>
                    </a:lnSpc>
                  </a:pPr>
                  <a:r>
                    <a:rPr lang="en-US" altLang="zh-CN" sz="1100" dirty="0">
                      <a:solidFill>
                        <a:schemeClr val="dk1">
                          <a:lumMod val="100000"/>
                        </a:schemeClr>
                      </a:solidFill>
                    </a:rPr>
                    <a:t>Copy paste fonts. Choose the only option to retain text……</a:t>
                  </a:r>
                </a:p>
              </p:txBody>
            </p:sp>
          </p:grpSp>
        </p:grpSp>
        <p:grpSp>
          <p:nvGrpSpPr>
            <p:cNvPr id="10" name="îsļïḓé">
              <a:extLst>
                <a:ext uri="{FF2B5EF4-FFF2-40B4-BE49-F238E27FC236}">
                  <a16:creationId xmlns:a16="http://schemas.microsoft.com/office/drawing/2014/main" id="{176B2F76-02E4-47AE-BD5C-57F06BB3DFE7}"/>
                </a:ext>
              </a:extLst>
            </p:cNvPr>
            <p:cNvGrpSpPr/>
            <p:nvPr/>
          </p:nvGrpSpPr>
          <p:grpSpPr>
            <a:xfrm>
              <a:off x="6839796" y="4116717"/>
              <a:ext cx="4679104" cy="737491"/>
              <a:chOff x="684195" y="1130300"/>
              <a:chExt cx="4679104" cy="737491"/>
            </a:xfrm>
          </p:grpSpPr>
          <p:sp>
            <p:nvSpPr>
              <p:cNvPr id="19" name="iṥḻíďe">
                <a:extLst>
                  <a:ext uri="{FF2B5EF4-FFF2-40B4-BE49-F238E27FC236}">
                    <a16:creationId xmlns:a16="http://schemas.microsoft.com/office/drawing/2014/main" id="{8E650159-2C22-4657-A1E4-D76A391F7F7B}"/>
                  </a:ext>
                </a:extLst>
              </p:cNvPr>
              <p:cNvSpPr/>
              <p:nvPr/>
            </p:nvSpPr>
            <p:spPr>
              <a:xfrm>
                <a:off x="684195" y="1195327"/>
                <a:ext cx="611206" cy="61120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round/>
              </a:ln>
            </p:spPr>
            <p:txBody>
              <a:bodyPr vert="horz" wrap="square" lIns="91440" tIns="45720" rIns="91440" bIns="45720" anchor="ctr" anchorCtr="1" compatLnSpc="1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1600" b="1" i="1" dirty="0">
                    <a:solidFill>
                      <a:schemeClr val="accent1"/>
                    </a:solidFill>
                  </a:rPr>
                  <a:t>03</a:t>
                </a:r>
                <a:endParaRPr sz="1600" b="1" i="1" dirty="0">
                  <a:solidFill>
                    <a:schemeClr val="accent1"/>
                  </a:solidFill>
                </a:endParaRPr>
              </a:p>
            </p:txBody>
          </p:sp>
          <p:grpSp>
            <p:nvGrpSpPr>
              <p:cNvPr id="20" name="išļîḋê">
                <a:extLst>
                  <a:ext uri="{FF2B5EF4-FFF2-40B4-BE49-F238E27FC236}">
                    <a16:creationId xmlns:a16="http://schemas.microsoft.com/office/drawing/2014/main" id="{52154EB4-A00D-4148-8231-0C8BF8CAFDE6}"/>
                  </a:ext>
                </a:extLst>
              </p:cNvPr>
              <p:cNvGrpSpPr/>
              <p:nvPr/>
            </p:nvGrpSpPr>
            <p:grpSpPr>
              <a:xfrm>
                <a:off x="1441616" y="1130300"/>
                <a:ext cx="3921683" cy="737491"/>
                <a:chOff x="7597216" y="1272952"/>
                <a:chExt cx="3921683" cy="737491"/>
              </a:xfrm>
            </p:grpSpPr>
            <p:sp>
              <p:nvSpPr>
                <p:cNvPr id="21" name="íṡḷîdè">
                  <a:extLst>
                    <a:ext uri="{FF2B5EF4-FFF2-40B4-BE49-F238E27FC236}">
                      <a16:creationId xmlns:a16="http://schemas.microsoft.com/office/drawing/2014/main" id="{D549D173-4ED1-453A-9327-88E0756E8D1B}"/>
                    </a:ext>
                  </a:extLst>
                </p:cNvPr>
                <p:cNvSpPr txBox="1"/>
                <p:nvPr/>
              </p:nvSpPr>
              <p:spPr>
                <a:xfrm>
                  <a:off x="7597216" y="1272952"/>
                  <a:ext cx="3921683" cy="368746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anchor="b" anchorCtr="0">
                  <a:normAutofit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r>
                    <a:rPr lang="en-US" altLang="zh-CN" b="1" dirty="0"/>
                    <a:t>Text here</a:t>
                  </a:r>
                  <a:endParaRPr lang="zh-CN" altLang="en-US" b="1" dirty="0"/>
                </a:p>
              </p:txBody>
            </p:sp>
            <p:sp>
              <p:nvSpPr>
                <p:cNvPr id="22" name="ïşḻiḋê">
                  <a:extLst>
                    <a:ext uri="{FF2B5EF4-FFF2-40B4-BE49-F238E27FC236}">
                      <a16:creationId xmlns:a16="http://schemas.microsoft.com/office/drawing/2014/main" id="{E67CB80C-BBE1-41CA-B270-1E3E473E62BA}"/>
                    </a:ext>
                  </a:extLst>
                </p:cNvPr>
                <p:cNvSpPr txBox="1"/>
                <p:nvPr/>
              </p:nvSpPr>
              <p:spPr>
                <a:xfrm>
                  <a:off x="7597216" y="1641696"/>
                  <a:ext cx="3921683" cy="368747"/>
                </a:xfrm>
                <a:prstGeom prst="rect">
                  <a:avLst/>
                </a:prstGeom>
              </p:spPr>
              <p:txBody>
                <a:bodyPr vert="horz"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20000"/>
                    </a:lnSpc>
                  </a:pPr>
                  <a:r>
                    <a:rPr lang="en-US" altLang="zh-CN" sz="1100" dirty="0">
                      <a:solidFill>
                        <a:schemeClr val="dk1">
                          <a:lumMod val="100000"/>
                        </a:schemeClr>
                      </a:solidFill>
                    </a:rPr>
                    <a:t>Copy paste fonts. Choose the only option to retain text……</a:t>
                  </a:r>
                </a:p>
              </p:txBody>
            </p:sp>
          </p:grpSp>
        </p:grpSp>
        <p:cxnSp>
          <p:nvCxnSpPr>
            <p:cNvPr id="11" name="ï$ḷide">
              <a:extLst>
                <a:ext uri="{FF2B5EF4-FFF2-40B4-BE49-F238E27FC236}">
                  <a16:creationId xmlns:a16="http://schemas.microsoft.com/office/drawing/2014/main" id="{08A1855E-A8BA-418A-A189-CEA7B6B65A5D}"/>
                </a:ext>
              </a:extLst>
            </p:cNvPr>
            <p:cNvCxnSpPr>
              <a:cxnSpLocks/>
            </p:cNvCxnSpPr>
            <p:nvPr/>
          </p:nvCxnSpPr>
          <p:spPr>
            <a:xfrm>
              <a:off x="7591284" y="3205570"/>
              <a:ext cx="3927615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iṡľîḓè">
              <a:extLst>
                <a:ext uri="{FF2B5EF4-FFF2-40B4-BE49-F238E27FC236}">
                  <a16:creationId xmlns:a16="http://schemas.microsoft.com/office/drawing/2014/main" id="{9AD11170-904A-4215-9403-BDBCC127A966}"/>
                </a:ext>
              </a:extLst>
            </p:cNvPr>
            <p:cNvCxnSpPr>
              <a:cxnSpLocks/>
            </p:cNvCxnSpPr>
            <p:nvPr/>
          </p:nvCxnSpPr>
          <p:spPr>
            <a:xfrm>
              <a:off x="7591284" y="4058831"/>
              <a:ext cx="3927615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" name="ísľiḋê">
              <a:extLst>
                <a:ext uri="{FF2B5EF4-FFF2-40B4-BE49-F238E27FC236}">
                  <a16:creationId xmlns:a16="http://schemas.microsoft.com/office/drawing/2014/main" id="{74EA00E7-2017-409F-8E7F-F92ABC663EE1}"/>
                </a:ext>
              </a:extLst>
            </p:cNvPr>
            <p:cNvGrpSpPr/>
            <p:nvPr/>
          </p:nvGrpSpPr>
          <p:grpSpPr>
            <a:xfrm>
              <a:off x="5075310" y="3143588"/>
              <a:ext cx="318389" cy="431544"/>
              <a:chOff x="654918" y="1726002"/>
              <a:chExt cx="1800994" cy="2441075"/>
            </a:xfrm>
          </p:grpSpPr>
          <p:sp>
            <p:nvSpPr>
              <p:cNvPr id="17" name="îṥḻïdé">
                <a:extLst>
                  <a:ext uri="{FF2B5EF4-FFF2-40B4-BE49-F238E27FC236}">
                    <a16:creationId xmlns:a16="http://schemas.microsoft.com/office/drawing/2014/main" id="{D96CA7FB-49F4-4FB2-A700-0F46B799B4D6}"/>
                  </a:ext>
                </a:extLst>
              </p:cNvPr>
              <p:cNvSpPr/>
              <p:nvPr/>
            </p:nvSpPr>
            <p:spPr>
              <a:xfrm>
                <a:off x="946966" y="3644191"/>
                <a:ext cx="1216897" cy="522886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18" name="îs1iďê">
                <a:extLst>
                  <a:ext uri="{FF2B5EF4-FFF2-40B4-BE49-F238E27FC236}">
                    <a16:creationId xmlns:a16="http://schemas.microsoft.com/office/drawing/2014/main" id="{78205CB4-DFB8-43F9-8CE9-BA4CB6D5CB4B}"/>
                  </a:ext>
                </a:extLst>
              </p:cNvPr>
              <p:cNvSpPr/>
              <p:nvPr/>
            </p:nvSpPr>
            <p:spPr>
              <a:xfrm rot="8100000">
                <a:off x="654918" y="1726002"/>
                <a:ext cx="1800994" cy="1800993"/>
              </a:xfrm>
              <a:prstGeom prst="teardrop">
                <a:avLst/>
              </a:prstGeom>
              <a:solidFill>
                <a:schemeClr val="accent1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 fontScale="55000" lnSpcReduction="20000"/>
              </a:bodyPr>
              <a:lstStyle/>
              <a:p>
                <a:pPr algn="ctr"/>
                <a:endParaRPr dirty="0"/>
              </a:p>
            </p:txBody>
          </p:sp>
        </p:grpSp>
        <p:grpSp>
          <p:nvGrpSpPr>
            <p:cNvPr id="14" name="ïSliḍé">
              <a:extLst>
                <a:ext uri="{FF2B5EF4-FFF2-40B4-BE49-F238E27FC236}">
                  <a16:creationId xmlns:a16="http://schemas.microsoft.com/office/drawing/2014/main" id="{058C6994-5554-40BA-BACA-88D25B217518}"/>
                </a:ext>
              </a:extLst>
            </p:cNvPr>
            <p:cNvGrpSpPr/>
            <p:nvPr/>
          </p:nvGrpSpPr>
          <p:grpSpPr>
            <a:xfrm>
              <a:off x="3658704" y="3717718"/>
              <a:ext cx="318389" cy="431544"/>
              <a:chOff x="654918" y="1726002"/>
              <a:chExt cx="1800994" cy="2441075"/>
            </a:xfrm>
          </p:grpSpPr>
          <p:sp>
            <p:nvSpPr>
              <p:cNvPr id="15" name="íşḷîḍê">
                <a:extLst>
                  <a:ext uri="{FF2B5EF4-FFF2-40B4-BE49-F238E27FC236}">
                    <a16:creationId xmlns:a16="http://schemas.microsoft.com/office/drawing/2014/main" id="{75BA3E4B-0D7F-4253-91D2-8E2C620201C0}"/>
                  </a:ext>
                </a:extLst>
              </p:cNvPr>
              <p:cNvSpPr/>
              <p:nvPr/>
            </p:nvSpPr>
            <p:spPr>
              <a:xfrm>
                <a:off x="946966" y="3644191"/>
                <a:ext cx="1216897" cy="522886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16" name="íŝļídê">
                <a:extLst>
                  <a:ext uri="{FF2B5EF4-FFF2-40B4-BE49-F238E27FC236}">
                    <a16:creationId xmlns:a16="http://schemas.microsoft.com/office/drawing/2014/main" id="{E347E57D-FBD6-464D-AC51-1D665E297166}"/>
                  </a:ext>
                </a:extLst>
              </p:cNvPr>
              <p:cNvSpPr/>
              <p:nvPr/>
            </p:nvSpPr>
            <p:spPr>
              <a:xfrm rot="8100000">
                <a:off x="654918" y="1726002"/>
                <a:ext cx="1800994" cy="1800993"/>
              </a:xfrm>
              <a:prstGeom prst="teardrop">
                <a:avLst/>
              </a:prstGeom>
              <a:solidFill>
                <a:schemeClr val="accent1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 fontScale="55000" lnSpcReduction="20000"/>
              </a:bodyPr>
              <a:lstStyle/>
              <a:p>
                <a:pPr algn="ctr"/>
                <a:endParaRPr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4275369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šḷïḑ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s1iḑê">
            <a:extLst>
              <a:ext uri="{FF2B5EF4-FFF2-40B4-BE49-F238E27FC236}">
                <a16:creationId xmlns:a16="http://schemas.microsoft.com/office/drawing/2014/main" id="{7894F131-48E0-4614-BB17-E9DC114D70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işľîḓé">
            <a:extLst>
              <a:ext uri="{FF2B5EF4-FFF2-40B4-BE49-F238E27FC236}">
                <a16:creationId xmlns:a16="http://schemas.microsoft.com/office/drawing/2014/main" id="{C201333D-DE1F-4035-BEE5-FA41D61B27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iśḷîḓe">
            <a:extLst>
              <a:ext uri="{FF2B5EF4-FFF2-40B4-BE49-F238E27FC236}">
                <a16:creationId xmlns:a16="http://schemas.microsoft.com/office/drawing/2014/main" id="{31DB2E2A-DC06-4EF5-80F1-7FBFD4C3ED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/>
          </a:p>
        </p:txBody>
      </p:sp>
      <p:grpSp>
        <p:nvGrpSpPr>
          <p:cNvPr id="101" name="is1ïḍè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FF2509FF-538B-498C-9B90-CF8031E3A0B6}"/>
              </a:ext>
            </a:extLst>
          </p:cNvPr>
          <p:cNvGrpSpPr>
            <a:grpSpLocks noChangeAspect="1"/>
          </p:cNvGrpSpPr>
          <p:nvPr/>
        </p:nvGrpSpPr>
        <p:grpSpPr>
          <a:xfrm>
            <a:off x="669925" y="1693828"/>
            <a:ext cx="10850564" cy="4447409"/>
            <a:chOff x="669925" y="1696216"/>
            <a:chExt cx="10850564" cy="4447409"/>
          </a:xfrm>
        </p:grpSpPr>
        <p:sp>
          <p:nvSpPr>
            <p:cNvPr id="102" name="is1iḍê">
              <a:extLst>
                <a:ext uri="{FF2B5EF4-FFF2-40B4-BE49-F238E27FC236}">
                  <a16:creationId xmlns:a16="http://schemas.microsoft.com/office/drawing/2014/main" id="{87F632C4-87AA-4987-9B27-620E6A9CA7F4}"/>
                </a:ext>
              </a:extLst>
            </p:cNvPr>
            <p:cNvSpPr/>
            <p:nvPr/>
          </p:nvSpPr>
          <p:spPr>
            <a:xfrm>
              <a:off x="669925" y="3743325"/>
              <a:ext cx="10850564" cy="24003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/>
            </a:p>
          </p:txBody>
        </p:sp>
        <p:sp>
          <p:nvSpPr>
            <p:cNvPr id="103" name="iṧļîḋe">
              <a:extLst>
                <a:ext uri="{FF2B5EF4-FFF2-40B4-BE49-F238E27FC236}">
                  <a16:creationId xmlns:a16="http://schemas.microsoft.com/office/drawing/2014/main" id="{567C167D-CDCF-4AE8-A9AC-64D9194DC087}"/>
                </a:ext>
              </a:extLst>
            </p:cNvPr>
            <p:cNvSpPr/>
            <p:nvPr/>
          </p:nvSpPr>
          <p:spPr>
            <a:xfrm>
              <a:off x="671511" y="2595562"/>
              <a:ext cx="2295525" cy="2295525"/>
            </a:xfrm>
            <a:prstGeom prst="diamond">
              <a:avLst/>
            </a:prstGeom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/>
            </a:p>
          </p:txBody>
        </p:sp>
        <p:grpSp>
          <p:nvGrpSpPr>
            <p:cNvPr id="104" name="î$ľîḍé">
              <a:extLst>
                <a:ext uri="{FF2B5EF4-FFF2-40B4-BE49-F238E27FC236}">
                  <a16:creationId xmlns:a16="http://schemas.microsoft.com/office/drawing/2014/main" id="{362299EB-4C06-428D-887B-491E1CED2466}"/>
                </a:ext>
              </a:extLst>
            </p:cNvPr>
            <p:cNvGrpSpPr/>
            <p:nvPr/>
          </p:nvGrpSpPr>
          <p:grpSpPr>
            <a:xfrm>
              <a:off x="3362325" y="4264029"/>
              <a:ext cx="6488014" cy="1358891"/>
              <a:chOff x="2856011" y="1611904"/>
              <a:chExt cx="6488014" cy="1358891"/>
            </a:xfrm>
          </p:grpSpPr>
          <p:sp>
            <p:nvSpPr>
              <p:cNvPr id="123" name="íšḻïḋê">
                <a:extLst>
                  <a:ext uri="{FF2B5EF4-FFF2-40B4-BE49-F238E27FC236}">
                    <a16:creationId xmlns:a16="http://schemas.microsoft.com/office/drawing/2014/main" id="{4C11E721-0097-427D-9B39-D11FA968D2E8}"/>
                  </a:ext>
                </a:extLst>
              </p:cNvPr>
              <p:cNvSpPr txBox="1"/>
              <p:nvPr/>
            </p:nvSpPr>
            <p:spPr>
              <a:xfrm>
                <a:off x="2856011" y="1611904"/>
                <a:ext cx="6488014" cy="58192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buSzPct val="25000"/>
                </a:pPr>
                <a:r>
                  <a:rPr lang="en-US" sz="2800" dirty="0">
                    <a:solidFill>
                      <a:srgbClr val="3A3838"/>
                    </a:solidFill>
                  </a:rPr>
                  <a:t>Unified fonts make reading more fluent.</a:t>
                </a:r>
              </a:p>
            </p:txBody>
          </p:sp>
          <p:sp>
            <p:nvSpPr>
              <p:cNvPr id="124" name="i$lîḓè">
                <a:extLst>
                  <a:ext uri="{FF2B5EF4-FFF2-40B4-BE49-F238E27FC236}">
                    <a16:creationId xmlns:a16="http://schemas.microsoft.com/office/drawing/2014/main" id="{DA7584B1-87E6-4F17-B59C-DBB25C3E821F}"/>
                  </a:ext>
                </a:extLst>
              </p:cNvPr>
              <p:cNvSpPr txBox="1"/>
              <p:nvPr/>
            </p:nvSpPr>
            <p:spPr>
              <a:xfrm>
                <a:off x="2856012" y="2193831"/>
                <a:ext cx="6488011" cy="77696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  <a:buSzPct val="25000"/>
                </a:pPr>
                <a:r>
                  <a:rPr lang="en-US" sz="1100" dirty="0"/>
                  <a:t>Theme color makes PPT more convenient to change.</a:t>
                </a:r>
              </a:p>
              <a:p>
                <a:pPr>
                  <a:lnSpc>
                    <a:spcPct val="150000"/>
                  </a:lnSpc>
                  <a:buSzPct val="25000"/>
                </a:pPr>
                <a:r>
                  <a:rPr lang="en-US" sz="1100" dirty="0"/>
                  <a:t>Adjust the spacing to adapt to Chinese typesetting, use the reference line in PPT.</a:t>
                </a:r>
              </a:p>
            </p:txBody>
          </p:sp>
        </p:grpSp>
        <p:sp>
          <p:nvSpPr>
            <p:cNvPr id="105" name="îSḷîdè">
              <a:extLst>
                <a:ext uri="{FF2B5EF4-FFF2-40B4-BE49-F238E27FC236}">
                  <a16:creationId xmlns:a16="http://schemas.microsoft.com/office/drawing/2014/main" id="{AD70C646-CB65-4181-9EA3-97AA9F724962}"/>
                </a:ext>
              </a:extLst>
            </p:cNvPr>
            <p:cNvSpPr/>
            <p:nvPr/>
          </p:nvSpPr>
          <p:spPr bwMode="auto">
            <a:xfrm>
              <a:off x="1435139" y="3423526"/>
              <a:ext cx="768268" cy="639594"/>
            </a:xfrm>
            <a:custGeom>
              <a:avLst/>
              <a:gdLst>
                <a:gd name="connsiteX0" fmla="*/ 482197 w 526297"/>
                <a:gd name="connsiteY0" fmla="*/ 133350 h 438150"/>
                <a:gd name="connsiteX1" fmla="*/ 526298 w 526297"/>
                <a:gd name="connsiteY1" fmla="*/ 177451 h 438150"/>
                <a:gd name="connsiteX2" fmla="*/ 526203 w 526297"/>
                <a:gd name="connsiteY2" fmla="*/ 180880 h 438150"/>
                <a:gd name="connsiteX3" fmla="*/ 512867 w 526297"/>
                <a:gd name="connsiteY3" fmla="*/ 354616 h 438150"/>
                <a:gd name="connsiteX4" fmla="*/ 484388 w 526297"/>
                <a:gd name="connsiteY4" fmla="*/ 381000 h 438150"/>
                <a:gd name="connsiteX5" fmla="*/ 453622 w 526297"/>
                <a:gd name="connsiteY5" fmla="*/ 381000 h 438150"/>
                <a:gd name="connsiteX6" fmla="*/ 453622 w 526297"/>
                <a:gd name="connsiteY6" fmla="*/ 438150 h 438150"/>
                <a:gd name="connsiteX7" fmla="*/ 434572 w 526297"/>
                <a:gd name="connsiteY7" fmla="*/ 438150 h 438150"/>
                <a:gd name="connsiteX8" fmla="*/ 434572 w 526297"/>
                <a:gd name="connsiteY8" fmla="*/ 381000 h 438150"/>
                <a:gd name="connsiteX9" fmla="*/ 91672 w 526297"/>
                <a:gd name="connsiteY9" fmla="*/ 381000 h 438150"/>
                <a:gd name="connsiteX10" fmla="*/ 91672 w 526297"/>
                <a:gd name="connsiteY10" fmla="*/ 438150 h 438150"/>
                <a:gd name="connsiteX11" fmla="*/ 72622 w 526297"/>
                <a:gd name="connsiteY11" fmla="*/ 438150 h 438150"/>
                <a:gd name="connsiteX12" fmla="*/ 72622 w 526297"/>
                <a:gd name="connsiteY12" fmla="*/ 381000 h 438150"/>
                <a:gd name="connsiteX13" fmla="*/ 41952 w 526297"/>
                <a:gd name="connsiteY13" fmla="*/ 381000 h 438150"/>
                <a:gd name="connsiteX14" fmla="*/ 13472 w 526297"/>
                <a:gd name="connsiteY14" fmla="*/ 354616 h 438150"/>
                <a:gd name="connsiteX15" fmla="*/ 137 w 526297"/>
                <a:gd name="connsiteY15" fmla="*/ 180880 h 438150"/>
                <a:gd name="connsiteX16" fmla="*/ 40714 w 526297"/>
                <a:gd name="connsiteY16" fmla="*/ 133541 h 438150"/>
                <a:gd name="connsiteX17" fmla="*/ 44142 w 526297"/>
                <a:gd name="connsiteY17" fmla="*/ 133445 h 438150"/>
                <a:gd name="connsiteX18" fmla="*/ 100531 w 526297"/>
                <a:gd name="connsiteY18" fmla="*/ 180213 h 438150"/>
                <a:gd name="connsiteX19" fmla="*/ 120247 w 526297"/>
                <a:gd name="connsiteY19" fmla="*/ 285750 h 438150"/>
                <a:gd name="connsiteX20" fmla="*/ 405997 w 526297"/>
                <a:gd name="connsiteY20" fmla="*/ 285750 h 438150"/>
                <a:gd name="connsiteX21" fmla="*/ 425809 w 526297"/>
                <a:gd name="connsiteY21" fmla="*/ 180118 h 438150"/>
                <a:gd name="connsiteX22" fmla="*/ 482197 w 526297"/>
                <a:gd name="connsiteY22" fmla="*/ 133350 h 438150"/>
                <a:gd name="connsiteX23" fmla="*/ 415522 w 526297"/>
                <a:gd name="connsiteY23" fmla="*/ 0 h 438150"/>
                <a:gd name="connsiteX24" fmla="*/ 482197 w 526297"/>
                <a:gd name="connsiteY24" fmla="*/ 66675 h 438150"/>
                <a:gd name="connsiteX25" fmla="*/ 482197 w 526297"/>
                <a:gd name="connsiteY25" fmla="*/ 114776 h 438150"/>
                <a:gd name="connsiteX26" fmla="*/ 475053 w 526297"/>
                <a:gd name="connsiteY26" fmla="*/ 114300 h 438150"/>
                <a:gd name="connsiteX27" fmla="*/ 410664 w 526297"/>
                <a:gd name="connsiteY27" fmla="*/ 165830 h 438150"/>
                <a:gd name="connsiteX28" fmla="*/ 410188 w 526297"/>
                <a:gd name="connsiteY28" fmla="*/ 168116 h 438150"/>
                <a:gd name="connsiteX29" fmla="*/ 391710 w 526297"/>
                <a:gd name="connsiteY29" fmla="*/ 266700 h 438150"/>
                <a:gd name="connsiteX30" fmla="*/ 134535 w 526297"/>
                <a:gd name="connsiteY30" fmla="*/ 266700 h 438150"/>
                <a:gd name="connsiteX31" fmla="*/ 116057 w 526297"/>
                <a:gd name="connsiteY31" fmla="*/ 168116 h 438150"/>
                <a:gd name="connsiteX32" fmla="*/ 51191 w 526297"/>
                <a:gd name="connsiteY32" fmla="*/ 114300 h 438150"/>
                <a:gd name="connsiteX33" fmla="*/ 53572 w 526297"/>
                <a:gd name="connsiteY33" fmla="*/ 66675 h 438150"/>
                <a:gd name="connsiteX34" fmla="*/ 120247 w 526297"/>
                <a:gd name="connsiteY34" fmla="*/ 0 h 438150"/>
                <a:gd name="connsiteX35" fmla="*/ 415522 w 526297"/>
                <a:gd name="connsiteY35" fmla="*/ 0 h 438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26297" h="438150">
                  <a:moveTo>
                    <a:pt x="482197" y="133350"/>
                  </a:moveTo>
                  <a:cubicBezTo>
                    <a:pt x="506582" y="133350"/>
                    <a:pt x="526298" y="153067"/>
                    <a:pt x="526298" y="177451"/>
                  </a:cubicBezTo>
                  <a:cubicBezTo>
                    <a:pt x="526298" y="178594"/>
                    <a:pt x="526298" y="179737"/>
                    <a:pt x="526203" y="180880"/>
                  </a:cubicBezTo>
                  <a:lnTo>
                    <a:pt x="512867" y="354616"/>
                  </a:lnTo>
                  <a:cubicBezTo>
                    <a:pt x="511724" y="369475"/>
                    <a:pt x="499343" y="381000"/>
                    <a:pt x="484388" y="381000"/>
                  </a:cubicBezTo>
                  <a:lnTo>
                    <a:pt x="453622" y="381000"/>
                  </a:lnTo>
                  <a:lnTo>
                    <a:pt x="453622" y="438150"/>
                  </a:lnTo>
                  <a:lnTo>
                    <a:pt x="434572" y="438150"/>
                  </a:lnTo>
                  <a:lnTo>
                    <a:pt x="434572" y="381000"/>
                  </a:lnTo>
                  <a:lnTo>
                    <a:pt x="91672" y="381000"/>
                  </a:lnTo>
                  <a:lnTo>
                    <a:pt x="91672" y="438150"/>
                  </a:lnTo>
                  <a:lnTo>
                    <a:pt x="72622" y="438150"/>
                  </a:lnTo>
                  <a:lnTo>
                    <a:pt x="72622" y="381000"/>
                  </a:lnTo>
                  <a:lnTo>
                    <a:pt x="41952" y="381000"/>
                  </a:lnTo>
                  <a:cubicBezTo>
                    <a:pt x="26998" y="381000"/>
                    <a:pt x="14615" y="369475"/>
                    <a:pt x="13472" y="354616"/>
                  </a:cubicBezTo>
                  <a:lnTo>
                    <a:pt x="137" y="180880"/>
                  </a:lnTo>
                  <a:cubicBezTo>
                    <a:pt x="-1768" y="156591"/>
                    <a:pt x="16424" y="135350"/>
                    <a:pt x="40714" y="133541"/>
                  </a:cubicBezTo>
                  <a:cubicBezTo>
                    <a:pt x="41857" y="133445"/>
                    <a:pt x="42999" y="133445"/>
                    <a:pt x="44142" y="133445"/>
                  </a:cubicBezTo>
                  <a:cubicBezTo>
                    <a:pt x="71765" y="133445"/>
                    <a:pt x="95482" y="153067"/>
                    <a:pt x="100531" y="180213"/>
                  </a:cubicBezTo>
                  <a:lnTo>
                    <a:pt x="120247" y="285750"/>
                  </a:lnTo>
                  <a:lnTo>
                    <a:pt x="405997" y="285750"/>
                  </a:lnTo>
                  <a:lnTo>
                    <a:pt x="425809" y="180118"/>
                  </a:lnTo>
                  <a:cubicBezTo>
                    <a:pt x="430857" y="152972"/>
                    <a:pt x="454574" y="133350"/>
                    <a:pt x="482197" y="133350"/>
                  </a:cubicBezTo>
                  <a:close/>
                  <a:moveTo>
                    <a:pt x="415522" y="0"/>
                  </a:moveTo>
                  <a:cubicBezTo>
                    <a:pt x="452384" y="0"/>
                    <a:pt x="482197" y="29813"/>
                    <a:pt x="482197" y="66675"/>
                  </a:cubicBezTo>
                  <a:lnTo>
                    <a:pt x="482197" y="114776"/>
                  </a:lnTo>
                  <a:cubicBezTo>
                    <a:pt x="479816" y="114491"/>
                    <a:pt x="477435" y="114300"/>
                    <a:pt x="475053" y="114300"/>
                  </a:cubicBezTo>
                  <a:cubicBezTo>
                    <a:pt x="444097" y="114300"/>
                    <a:pt x="417427" y="135827"/>
                    <a:pt x="410664" y="165830"/>
                  </a:cubicBezTo>
                  <a:lnTo>
                    <a:pt x="410188" y="168116"/>
                  </a:lnTo>
                  <a:lnTo>
                    <a:pt x="391710" y="266700"/>
                  </a:lnTo>
                  <a:lnTo>
                    <a:pt x="134535" y="266700"/>
                  </a:lnTo>
                  <a:lnTo>
                    <a:pt x="116057" y="168116"/>
                  </a:lnTo>
                  <a:cubicBezTo>
                    <a:pt x="110245" y="136874"/>
                    <a:pt x="82909" y="114300"/>
                    <a:pt x="51191" y="114300"/>
                  </a:cubicBezTo>
                  <a:lnTo>
                    <a:pt x="53572" y="66675"/>
                  </a:lnTo>
                  <a:cubicBezTo>
                    <a:pt x="53572" y="29813"/>
                    <a:pt x="83385" y="0"/>
                    <a:pt x="120247" y="0"/>
                  </a:cubicBezTo>
                  <a:lnTo>
                    <a:pt x="41552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  <p:grpSp>
          <p:nvGrpSpPr>
            <p:cNvPr id="106" name="ïSļîḑê">
              <a:extLst>
                <a:ext uri="{FF2B5EF4-FFF2-40B4-BE49-F238E27FC236}">
                  <a16:creationId xmlns:a16="http://schemas.microsoft.com/office/drawing/2014/main" id="{1A86814E-67A9-4843-B135-D2B326F3940D}"/>
                </a:ext>
              </a:extLst>
            </p:cNvPr>
            <p:cNvGrpSpPr/>
            <p:nvPr/>
          </p:nvGrpSpPr>
          <p:grpSpPr>
            <a:xfrm>
              <a:off x="6495429" y="1755986"/>
              <a:ext cx="2107807" cy="1773241"/>
              <a:chOff x="5042097" y="4156287"/>
              <a:chExt cx="2107807" cy="1773241"/>
            </a:xfrm>
          </p:grpSpPr>
          <p:grpSp>
            <p:nvGrpSpPr>
              <p:cNvPr id="119" name="iṣ1îďé">
                <a:extLst>
                  <a:ext uri="{FF2B5EF4-FFF2-40B4-BE49-F238E27FC236}">
                    <a16:creationId xmlns:a16="http://schemas.microsoft.com/office/drawing/2014/main" id="{B158BFD1-D39B-4665-856C-5948D3450908}"/>
                  </a:ext>
                </a:extLst>
              </p:cNvPr>
              <p:cNvGrpSpPr/>
              <p:nvPr/>
            </p:nvGrpSpPr>
            <p:grpSpPr>
              <a:xfrm>
                <a:off x="5042097" y="4817639"/>
                <a:ext cx="2107807" cy="1111889"/>
                <a:chOff x="673100" y="1237334"/>
                <a:chExt cx="3228944" cy="1111889"/>
              </a:xfrm>
            </p:grpSpPr>
            <p:sp>
              <p:nvSpPr>
                <p:cNvPr id="121" name="ïṩļîḍè">
                  <a:extLst>
                    <a:ext uri="{FF2B5EF4-FFF2-40B4-BE49-F238E27FC236}">
                      <a16:creationId xmlns:a16="http://schemas.microsoft.com/office/drawing/2014/main" id="{6181E3B7-214A-4A22-A47C-3907C7C34749}"/>
                    </a:ext>
                  </a:extLst>
                </p:cNvPr>
                <p:cNvSpPr/>
                <p:nvPr/>
              </p:nvSpPr>
              <p:spPr bwMode="auto">
                <a:xfrm>
                  <a:off x="673100" y="1624932"/>
                  <a:ext cx="3228944" cy="7242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120000"/>
                    </a:lnSpc>
                  </a:pPr>
                  <a:r>
                    <a:rPr lang="en-US" altLang="zh-CN" sz="1100" dirty="0"/>
                    <a:t>Copy paste fonts. Choose the only option to retain text.</a:t>
                  </a:r>
                </a:p>
                <a:p>
                  <a:pPr algn="ctr">
                    <a:lnSpc>
                      <a:spcPct val="120000"/>
                    </a:lnSpc>
                  </a:pPr>
                  <a:r>
                    <a:rPr lang="en-US" altLang="zh-CN" sz="1100" dirty="0"/>
                    <a:t>……</a:t>
                  </a:r>
                </a:p>
              </p:txBody>
            </p:sp>
            <p:sp>
              <p:nvSpPr>
                <p:cNvPr id="122" name="ísḷiďe">
                  <a:extLst>
                    <a:ext uri="{FF2B5EF4-FFF2-40B4-BE49-F238E27FC236}">
                      <a16:creationId xmlns:a16="http://schemas.microsoft.com/office/drawing/2014/main" id="{4540C974-5BA4-49CF-8FD4-0700A841205F}"/>
                    </a:ext>
                  </a:extLst>
                </p:cNvPr>
                <p:cNvSpPr txBox="1"/>
                <p:nvPr/>
              </p:nvSpPr>
              <p:spPr bwMode="auto">
                <a:xfrm>
                  <a:off x="673100" y="1237334"/>
                  <a:ext cx="3228944" cy="38759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b" anchorCtr="0">
                  <a:normAutofit lnSpcReduction="1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eaLnBrk="1" hangingPunct="1">
                    <a:lnSpc>
                      <a:spcPct val="100000"/>
                    </a:lnSpc>
                    <a:spcBef>
                      <a:spcPct val="0"/>
                    </a:spcBef>
                  </a:pPr>
                  <a:r>
                    <a:rPr lang="en-US" altLang="zh-CN" sz="2000" b="1" dirty="0"/>
                    <a:t>Text here</a:t>
                  </a:r>
                </a:p>
              </p:txBody>
            </p:sp>
          </p:grpSp>
          <p:sp>
            <p:nvSpPr>
              <p:cNvPr id="120" name="ïṩ1iďe">
                <a:extLst>
                  <a:ext uri="{FF2B5EF4-FFF2-40B4-BE49-F238E27FC236}">
                    <a16:creationId xmlns:a16="http://schemas.microsoft.com/office/drawing/2014/main" id="{2AF60477-2BDD-43B4-877D-622D51E69DCB}"/>
                  </a:ext>
                </a:extLst>
              </p:cNvPr>
              <p:cNvSpPr/>
              <p:nvPr/>
            </p:nvSpPr>
            <p:spPr bwMode="auto">
              <a:xfrm>
                <a:off x="5841040" y="4156287"/>
                <a:ext cx="509919" cy="406047"/>
              </a:xfrm>
              <a:custGeom>
                <a:avLst/>
                <a:gdLst>
                  <a:gd name="connsiteX0" fmla="*/ 485775 w 514350"/>
                  <a:gd name="connsiteY0" fmla="*/ 0 h 409575"/>
                  <a:gd name="connsiteX1" fmla="*/ 514350 w 514350"/>
                  <a:gd name="connsiteY1" fmla="*/ 28575 h 409575"/>
                  <a:gd name="connsiteX2" fmla="*/ 514350 w 514350"/>
                  <a:gd name="connsiteY2" fmla="*/ 323850 h 409575"/>
                  <a:gd name="connsiteX3" fmla="*/ 485775 w 514350"/>
                  <a:gd name="connsiteY3" fmla="*/ 352425 h 409575"/>
                  <a:gd name="connsiteX4" fmla="*/ 191167 w 514350"/>
                  <a:gd name="connsiteY4" fmla="*/ 352425 h 409575"/>
                  <a:gd name="connsiteX5" fmla="*/ 114395 w 514350"/>
                  <a:gd name="connsiteY5" fmla="*/ 409575 h 409575"/>
                  <a:gd name="connsiteX6" fmla="*/ 114395 w 514350"/>
                  <a:gd name="connsiteY6" fmla="*/ 352425 h 409575"/>
                  <a:gd name="connsiteX7" fmla="*/ 28575 w 514350"/>
                  <a:gd name="connsiteY7" fmla="*/ 352425 h 409575"/>
                  <a:gd name="connsiteX8" fmla="*/ 0 w 514350"/>
                  <a:gd name="connsiteY8" fmla="*/ 323850 h 409575"/>
                  <a:gd name="connsiteX9" fmla="*/ 0 w 514350"/>
                  <a:gd name="connsiteY9" fmla="*/ 28575 h 409575"/>
                  <a:gd name="connsiteX10" fmla="*/ 28575 w 514350"/>
                  <a:gd name="connsiteY10" fmla="*/ 0 h 409575"/>
                  <a:gd name="connsiteX11" fmla="*/ 485775 w 514350"/>
                  <a:gd name="connsiteY11" fmla="*/ 0 h 409575"/>
                  <a:gd name="connsiteX12" fmla="*/ 123825 w 514350"/>
                  <a:gd name="connsiteY12" fmla="*/ 142875 h 409575"/>
                  <a:gd name="connsiteX13" fmla="*/ 90488 w 514350"/>
                  <a:gd name="connsiteY13" fmla="*/ 176213 h 409575"/>
                  <a:gd name="connsiteX14" fmla="*/ 123825 w 514350"/>
                  <a:gd name="connsiteY14" fmla="*/ 209550 h 409575"/>
                  <a:gd name="connsiteX15" fmla="*/ 157163 w 514350"/>
                  <a:gd name="connsiteY15" fmla="*/ 176213 h 409575"/>
                  <a:gd name="connsiteX16" fmla="*/ 123825 w 514350"/>
                  <a:gd name="connsiteY16" fmla="*/ 142875 h 409575"/>
                  <a:gd name="connsiteX17" fmla="*/ 257175 w 514350"/>
                  <a:gd name="connsiteY17" fmla="*/ 142875 h 409575"/>
                  <a:gd name="connsiteX18" fmla="*/ 223838 w 514350"/>
                  <a:gd name="connsiteY18" fmla="*/ 176213 h 409575"/>
                  <a:gd name="connsiteX19" fmla="*/ 257175 w 514350"/>
                  <a:gd name="connsiteY19" fmla="*/ 209550 h 409575"/>
                  <a:gd name="connsiteX20" fmla="*/ 290513 w 514350"/>
                  <a:gd name="connsiteY20" fmla="*/ 176213 h 409575"/>
                  <a:gd name="connsiteX21" fmla="*/ 257175 w 514350"/>
                  <a:gd name="connsiteY21" fmla="*/ 142875 h 409575"/>
                  <a:gd name="connsiteX22" fmla="*/ 390525 w 514350"/>
                  <a:gd name="connsiteY22" fmla="*/ 142875 h 409575"/>
                  <a:gd name="connsiteX23" fmla="*/ 357188 w 514350"/>
                  <a:gd name="connsiteY23" fmla="*/ 176213 h 409575"/>
                  <a:gd name="connsiteX24" fmla="*/ 390525 w 514350"/>
                  <a:gd name="connsiteY24" fmla="*/ 209550 h 409575"/>
                  <a:gd name="connsiteX25" fmla="*/ 423863 w 514350"/>
                  <a:gd name="connsiteY25" fmla="*/ 176213 h 409575"/>
                  <a:gd name="connsiteX26" fmla="*/ 390525 w 514350"/>
                  <a:gd name="connsiteY26" fmla="*/ 142875 h 409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4350" h="409575">
                    <a:moveTo>
                      <a:pt x="485775" y="0"/>
                    </a:moveTo>
                    <a:cubicBezTo>
                      <a:pt x="501586" y="0"/>
                      <a:pt x="514350" y="12764"/>
                      <a:pt x="514350" y="28575"/>
                    </a:cubicBezTo>
                    <a:lnTo>
                      <a:pt x="514350" y="323850"/>
                    </a:lnTo>
                    <a:cubicBezTo>
                      <a:pt x="514350" y="339662"/>
                      <a:pt x="501586" y="352425"/>
                      <a:pt x="485775" y="352425"/>
                    </a:cubicBezTo>
                    <a:lnTo>
                      <a:pt x="191167" y="352425"/>
                    </a:lnTo>
                    <a:lnTo>
                      <a:pt x="114395" y="409575"/>
                    </a:lnTo>
                    <a:lnTo>
                      <a:pt x="114395" y="352425"/>
                    </a:lnTo>
                    <a:lnTo>
                      <a:pt x="28575" y="352425"/>
                    </a:lnTo>
                    <a:cubicBezTo>
                      <a:pt x="12764" y="352425"/>
                      <a:pt x="0" y="339662"/>
                      <a:pt x="0" y="323850"/>
                    </a:cubicBezTo>
                    <a:lnTo>
                      <a:pt x="0" y="28575"/>
                    </a:lnTo>
                    <a:cubicBezTo>
                      <a:pt x="0" y="12764"/>
                      <a:pt x="12764" y="0"/>
                      <a:pt x="28575" y="0"/>
                    </a:cubicBezTo>
                    <a:lnTo>
                      <a:pt x="485775" y="0"/>
                    </a:lnTo>
                    <a:close/>
                    <a:moveTo>
                      <a:pt x="123825" y="142875"/>
                    </a:moveTo>
                    <a:cubicBezTo>
                      <a:pt x="105442" y="142875"/>
                      <a:pt x="90488" y="157829"/>
                      <a:pt x="90488" y="176213"/>
                    </a:cubicBezTo>
                    <a:cubicBezTo>
                      <a:pt x="90488" y="194596"/>
                      <a:pt x="105442" y="209550"/>
                      <a:pt x="123825" y="209550"/>
                    </a:cubicBezTo>
                    <a:cubicBezTo>
                      <a:pt x="142208" y="209550"/>
                      <a:pt x="157163" y="194596"/>
                      <a:pt x="157163" y="176213"/>
                    </a:cubicBezTo>
                    <a:cubicBezTo>
                      <a:pt x="157163" y="157829"/>
                      <a:pt x="142208" y="142875"/>
                      <a:pt x="123825" y="142875"/>
                    </a:cubicBezTo>
                    <a:close/>
                    <a:moveTo>
                      <a:pt x="257175" y="142875"/>
                    </a:moveTo>
                    <a:cubicBezTo>
                      <a:pt x="238792" y="142875"/>
                      <a:pt x="223838" y="157829"/>
                      <a:pt x="223838" y="176213"/>
                    </a:cubicBezTo>
                    <a:cubicBezTo>
                      <a:pt x="223838" y="194596"/>
                      <a:pt x="238792" y="209550"/>
                      <a:pt x="257175" y="209550"/>
                    </a:cubicBezTo>
                    <a:cubicBezTo>
                      <a:pt x="275558" y="209550"/>
                      <a:pt x="290513" y="194596"/>
                      <a:pt x="290513" y="176213"/>
                    </a:cubicBezTo>
                    <a:cubicBezTo>
                      <a:pt x="290513" y="157829"/>
                      <a:pt x="275558" y="142875"/>
                      <a:pt x="257175" y="142875"/>
                    </a:cubicBezTo>
                    <a:close/>
                    <a:moveTo>
                      <a:pt x="390525" y="142875"/>
                    </a:moveTo>
                    <a:cubicBezTo>
                      <a:pt x="372142" y="142875"/>
                      <a:pt x="357188" y="157829"/>
                      <a:pt x="357188" y="176213"/>
                    </a:cubicBezTo>
                    <a:cubicBezTo>
                      <a:pt x="357188" y="194596"/>
                      <a:pt x="372142" y="209550"/>
                      <a:pt x="390525" y="209550"/>
                    </a:cubicBezTo>
                    <a:cubicBezTo>
                      <a:pt x="408908" y="209550"/>
                      <a:pt x="423863" y="194596"/>
                      <a:pt x="423863" y="176213"/>
                    </a:cubicBezTo>
                    <a:cubicBezTo>
                      <a:pt x="423863" y="157829"/>
                      <a:pt x="408908" y="142875"/>
                      <a:pt x="390525" y="14287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107" name="íS1ïḓè">
              <a:extLst>
                <a:ext uri="{FF2B5EF4-FFF2-40B4-BE49-F238E27FC236}">
                  <a16:creationId xmlns:a16="http://schemas.microsoft.com/office/drawing/2014/main" id="{7AF4560F-9C6A-4068-B9D1-150E0F187718}"/>
                </a:ext>
              </a:extLst>
            </p:cNvPr>
            <p:cNvGrpSpPr/>
            <p:nvPr/>
          </p:nvGrpSpPr>
          <p:grpSpPr>
            <a:xfrm>
              <a:off x="9411093" y="1696216"/>
              <a:ext cx="2107807" cy="1833011"/>
              <a:chOff x="7601344" y="4096517"/>
              <a:chExt cx="2107807" cy="1833011"/>
            </a:xfrm>
          </p:grpSpPr>
          <p:grpSp>
            <p:nvGrpSpPr>
              <p:cNvPr id="115" name="ïšľïḓé">
                <a:extLst>
                  <a:ext uri="{FF2B5EF4-FFF2-40B4-BE49-F238E27FC236}">
                    <a16:creationId xmlns:a16="http://schemas.microsoft.com/office/drawing/2014/main" id="{6E2C00C2-BEE5-41CE-BC86-BF89D26FF38C}"/>
                  </a:ext>
                </a:extLst>
              </p:cNvPr>
              <p:cNvGrpSpPr/>
              <p:nvPr/>
            </p:nvGrpSpPr>
            <p:grpSpPr>
              <a:xfrm>
                <a:off x="7601344" y="4817639"/>
                <a:ext cx="2107807" cy="1111889"/>
                <a:chOff x="673100" y="1237334"/>
                <a:chExt cx="3228944" cy="1111889"/>
              </a:xfrm>
            </p:grpSpPr>
            <p:sp>
              <p:nvSpPr>
                <p:cNvPr id="117" name="îṣlîḓè">
                  <a:extLst>
                    <a:ext uri="{FF2B5EF4-FFF2-40B4-BE49-F238E27FC236}">
                      <a16:creationId xmlns:a16="http://schemas.microsoft.com/office/drawing/2014/main" id="{94D442DF-8F15-47DB-A6CA-A2829A2819D8}"/>
                    </a:ext>
                  </a:extLst>
                </p:cNvPr>
                <p:cNvSpPr/>
                <p:nvPr/>
              </p:nvSpPr>
              <p:spPr bwMode="auto">
                <a:xfrm>
                  <a:off x="673100" y="1624932"/>
                  <a:ext cx="3228944" cy="7242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120000"/>
                    </a:lnSpc>
                  </a:pPr>
                  <a:r>
                    <a:rPr lang="en-US" altLang="zh-CN" sz="1100" dirty="0"/>
                    <a:t>Copy paste fonts. Choose the only option to retain text.</a:t>
                  </a:r>
                </a:p>
                <a:p>
                  <a:pPr algn="ctr">
                    <a:lnSpc>
                      <a:spcPct val="120000"/>
                    </a:lnSpc>
                  </a:pPr>
                  <a:r>
                    <a:rPr lang="en-US" altLang="zh-CN" sz="1100" dirty="0"/>
                    <a:t>……</a:t>
                  </a:r>
                </a:p>
              </p:txBody>
            </p:sp>
            <p:sp>
              <p:nvSpPr>
                <p:cNvPr id="118" name="îSļídê">
                  <a:extLst>
                    <a:ext uri="{FF2B5EF4-FFF2-40B4-BE49-F238E27FC236}">
                      <a16:creationId xmlns:a16="http://schemas.microsoft.com/office/drawing/2014/main" id="{E9743381-73C8-4906-B4B6-1F59048F09B0}"/>
                    </a:ext>
                  </a:extLst>
                </p:cNvPr>
                <p:cNvSpPr txBox="1"/>
                <p:nvPr/>
              </p:nvSpPr>
              <p:spPr bwMode="auto">
                <a:xfrm>
                  <a:off x="673100" y="1237334"/>
                  <a:ext cx="3228944" cy="38759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b" anchorCtr="0">
                  <a:normAutofit lnSpcReduction="1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eaLnBrk="1" hangingPunct="1">
                    <a:lnSpc>
                      <a:spcPct val="100000"/>
                    </a:lnSpc>
                    <a:spcBef>
                      <a:spcPct val="0"/>
                    </a:spcBef>
                  </a:pPr>
                  <a:r>
                    <a:rPr lang="en-US" altLang="zh-CN" sz="2000" b="1" dirty="0"/>
                    <a:t>Text here</a:t>
                  </a:r>
                </a:p>
              </p:txBody>
            </p:sp>
          </p:grpSp>
          <p:sp>
            <p:nvSpPr>
              <p:cNvPr id="116" name="îṧlíḓe">
                <a:extLst>
                  <a:ext uri="{FF2B5EF4-FFF2-40B4-BE49-F238E27FC236}">
                    <a16:creationId xmlns:a16="http://schemas.microsoft.com/office/drawing/2014/main" id="{7E3D91BF-CC2A-4A5B-84AD-A137205C9BB5}"/>
                  </a:ext>
                </a:extLst>
              </p:cNvPr>
              <p:cNvSpPr/>
              <p:nvPr/>
            </p:nvSpPr>
            <p:spPr bwMode="auto">
              <a:xfrm>
                <a:off x="8387676" y="4096517"/>
                <a:ext cx="535142" cy="525586"/>
              </a:xfrm>
              <a:custGeom>
                <a:avLst/>
                <a:gdLst>
                  <a:gd name="connsiteX0" fmla="*/ 342900 w 533400"/>
                  <a:gd name="connsiteY0" fmla="*/ 276225 h 523875"/>
                  <a:gd name="connsiteX1" fmla="*/ 371475 w 533400"/>
                  <a:gd name="connsiteY1" fmla="*/ 304800 h 523875"/>
                  <a:gd name="connsiteX2" fmla="*/ 371475 w 533400"/>
                  <a:gd name="connsiteY2" fmla="*/ 495300 h 523875"/>
                  <a:gd name="connsiteX3" fmla="*/ 342900 w 533400"/>
                  <a:gd name="connsiteY3" fmla="*/ 523875 h 523875"/>
                  <a:gd name="connsiteX4" fmla="*/ 190500 w 533400"/>
                  <a:gd name="connsiteY4" fmla="*/ 523875 h 523875"/>
                  <a:gd name="connsiteX5" fmla="*/ 161925 w 533400"/>
                  <a:gd name="connsiteY5" fmla="*/ 495300 h 523875"/>
                  <a:gd name="connsiteX6" fmla="*/ 161925 w 533400"/>
                  <a:gd name="connsiteY6" fmla="*/ 304800 h 523875"/>
                  <a:gd name="connsiteX7" fmla="*/ 190500 w 533400"/>
                  <a:gd name="connsiteY7" fmla="*/ 276225 h 523875"/>
                  <a:gd name="connsiteX8" fmla="*/ 342900 w 533400"/>
                  <a:gd name="connsiteY8" fmla="*/ 276225 h 523875"/>
                  <a:gd name="connsiteX9" fmla="*/ 142875 w 533400"/>
                  <a:gd name="connsiteY9" fmla="*/ 114300 h 523875"/>
                  <a:gd name="connsiteX10" fmla="*/ 179070 w 533400"/>
                  <a:gd name="connsiteY10" fmla="*/ 152400 h 523875"/>
                  <a:gd name="connsiteX11" fmla="*/ 180975 w 533400"/>
                  <a:gd name="connsiteY11" fmla="*/ 152400 h 523875"/>
                  <a:gd name="connsiteX12" fmla="*/ 352425 w 533400"/>
                  <a:gd name="connsiteY12" fmla="*/ 152400 h 523875"/>
                  <a:gd name="connsiteX13" fmla="*/ 390525 w 533400"/>
                  <a:gd name="connsiteY13" fmla="*/ 116205 h 523875"/>
                  <a:gd name="connsiteX14" fmla="*/ 390525 w 533400"/>
                  <a:gd name="connsiteY14" fmla="*/ 114300 h 523875"/>
                  <a:gd name="connsiteX15" fmla="*/ 504825 w 533400"/>
                  <a:gd name="connsiteY15" fmla="*/ 114300 h 523875"/>
                  <a:gd name="connsiteX16" fmla="*/ 533400 w 533400"/>
                  <a:gd name="connsiteY16" fmla="*/ 142875 h 523875"/>
                  <a:gd name="connsiteX17" fmla="*/ 533400 w 533400"/>
                  <a:gd name="connsiteY17" fmla="*/ 381000 h 523875"/>
                  <a:gd name="connsiteX18" fmla="*/ 504825 w 533400"/>
                  <a:gd name="connsiteY18" fmla="*/ 409575 h 523875"/>
                  <a:gd name="connsiteX19" fmla="*/ 390525 w 533400"/>
                  <a:gd name="connsiteY19" fmla="*/ 409575 h 523875"/>
                  <a:gd name="connsiteX20" fmla="*/ 390525 w 533400"/>
                  <a:gd name="connsiteY20" fmla="*/ 295275 h 523875"/>
                  <a:gd name="connsiteX21" fmla="*/ 354330 w 533400"/>
                  <a:gd name="connsiteY21" fmla="*/ 257175 h 523875"/>
                  <a:gd name="connsiteX22" fmla="*/ 352425 w 533400"/>
                  <a:gd name="connsiteY22" fmla="*/ 257175 h 523875"/>
                  <a:gd name="connsiteX23" fmla="*/ 180975 w 533400"/>
                  <a:gd name="connsiteY23" fmla="*/ 257175 h 523875"/>
                  <a:gd name="connsiteX24" fmla="*/ 142875 w 533400"/>
                  <a:gd name="connsiteY24" fmla="*/ 293370 h 523875"/>
                  <a:gd name="connsiteX25" fmla="*/ 142875 w 533400"/>
                  <a:gd name="connsiteY25" fmla="*/ 295275 h 523875"/>
                  <a:gd name="connsiteX26" fmla="*/ 142875 w 533400"/>
                  <a:gd name="connsiteY26" fmla="*/ 409575 h 523875"/>
                  <a:gd name="connsiteX27" fmla="*/ 28575 w 533400"/>
                  <a:gd name="connsiteY27" fmla="*/ 409575 h 523875"/>
                  <a:gd name="connsiteX28" fmla="*/ 0 w 533400"/>
                  <a:gd name="connsiteY28" fmla="*/ 381000 h 523875"/>
                  <a:gd name="connsiteX29" fmla="*/ 0 w 533400"/>
                  <a:gd name="connsiteY29" fmla="*/ 200787 h 523875"/>
                  <a:gd name="connsiteX30" fmla="*/ 10287 w 533400"/>
                  <a:gd name="connsiteY30" fmla="*/ 174784 h 523875"/>
                  <a:gd name="connsiteX31" fmla="*/ 55436 w 533400"/>
                  <a:gd name="connsiteY31" fmla="*/ 126397 h 523875"/>
                  <a:gd name="connsiteX32" fmla="*/ 83248 w 533400"/>
                  <a:gd name="connsiteY32" fmla="*/ 114300 h 523875"/>
                  <a:gd name="connsiteX33" fmla="*/ 142875 w 533400"/>
                  <a:gd name="connsiteY33" fmla="*/ 114300 h 523875"/>
                  <a:gd name="connsiteX34" fmla="*/ 461963 w 533400"/>
                  <a:gd name="connsiteY34" fmla="*/ 171450 h 523875"/>
                  <a:gd name="connsiteX35" fmla="*/ 447675 w 533400"/>
                  <a:gd name="connsiteY35" fmla="*/ 185738 h 523875"/>
                  <a:gd name="connsiteX36" fmla="*/ 461963 w 533400"/>
                  <a:gd name="connsiteY36" fmla="*/ 200025 h 523875"/>
                  <a:gd name="connsiteX37" fmla="*/ 476250 w 533400"/>
                  <a:gd name="connsiteY37" fmla="*/ 185738 h 523875"/>
                  <a:gd name="connsiteX38" fmla="*/ 461963 w 533400"/>
                  <a:gd name="connsiteY38" fmla="*/ 171450 h 523875"/>
                  <a:gd name="connsiteX39" fmla="*/ 342900 w 533400"/>
                  <a:gd name="connsiteY39" fmla="*/ 0 h 523875"/>
                  <a:gd name="connsiteX40" fmla="*/ 371475 w 533400"/>
                  <a:gd name="connsiteY40" fmla="*/ 28575 h 523875"/>
                  <a:gd name="connsiteX41" fmla="*/ 371475 w 533400"/>
                  <a:gd name="connsiteY41" fmla="*/ 104775 h 523875"/>
                  <a:gd name="connsiteX42" fmla="*/ 342900 w 533400"/>
                  <a:gd name="connsiteY42" fmla="*/ 133350 h 523875"/>
                  <a:gd name="connsiteX43" fmla="*/ 190500 w 533400"/>
                  <a:gd name="connsiteY43" fmla="*/ 133350 h 523875"/>
                  <a:gd name="connsiteX44" fmla="*/ 161925 w 533400"/>
                  <a:gd name="connsiteY44" fmla="*/ 104775 h 523875"/>
                  <a:gd name="connsiteX45" fmla="*/ 161925 w 533400"/>
                  <a:gd name="connsiteY45" fmla="*/ 28575 h 523875"/>
                  <a:gd name="connsiteX46" fmla="*/ 190500 w 533400"/>
                  <a:gd name="connsiteY46" fmla="*/ 0 h 523875"/>
                  <a:gd name="connsiteX47" fmla="*/ 342900 w 533400"/>
                  <a:gd name="connsiteY47" fmla="*/ 0 h 523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533400" h="523875">
                    <a:moveTo>
                      <a:pt x="342900" y="276225"/>
                    </a:moveTo>
                    <a:cubicBezTo>
                      <a:pt x="358711" y="276225"/>
                      <a:pt x="371475" y="288989"/>
                      <a:pt x="371475" y="304800"/>
                    </a:cubicBezTo>
                    <a:lnTo>
                      <a:pt x="371475" y="495300"/>
                    </a:lnTo>
                    <a:cubicBezTo>
                      <a:pt x="371475" y="511112"/>
                      <a:pt x="358711" y="523875"/>
                      <a:pt x="342900" y="523875"/>
                    </a:cubicBezTo>
                    <a:lnTo>
                      <a:pt x="190500" y="523875"/>
                    </a:lnTo>
                    <a:cubicBezTo>
                      <a:pt x="174689" y="523875"/>
                      <a:pt x="161925" y="511112"/>
                      <a:pt x="161925" y="495300"/>
                    </a:cubicBezTo>
                    <a:lnTo>
                      <a:pt x="161925" y="304800"/>
                    </a:lnTo>
                    <a:cubicBezTo>
                      <a:pt x="161925" y="288989"/>
                      <a:pt x="174689" y="276225"/>
                      <a:pt x="190500" y="276225"/>
                    </a:cubicBezTo>
                    <a:lnTo>
                      <a:pt x="342900" y="276225"/>
                    </a:lnTo>
                    <a:close/>
                    <a:moveTo>
                      <a:pt x="142875" y="114300"/>
                    </a:moveTo>
                    <a:cubicBezTo>
                      <a:pt x="142875" y="134684"/>
                      <a:pt x="158877" y="151352"/>
                      <a:pt x="179070" y="152400"/>
                    </a:cubicBezTo>
                    <a:lnTo>
                      <a:pt x="180975" y="152400"/>
                    </a:lnTo>
                    <a:lnTo>
                      <a:pt x="352425" y="152400"/>
                    </a:lnTo>
                    <a:cubicBezTo>
                      <a:pt x="372809" y="152400"/>
                      <a:pt x="389477" y="136398"/>
                      <a:pt x="390525" y="116205"/>
                    </a:cubicBezTo>
                    <a:lnTo>
                      <a:pt x="390525" y="114300"/>
                    </a:lnTo>
                    <a:lnTo>
                      <a:pt x="504825" y="114300"/>
                    </a:lnTo>
                    <a:cubicBezTo>
                      <a:pt x="520636" y="114300"/>
                      <a:pt x="533400" y="127064"/>
                      <a:pt x="533400" y="142875"/>
                    </a:cubicBezTo>
                    <a:lnTo>
                      <a:pt x="533400" y="381000"/>
                    </a:lnTo>
                    <a:cubicBezTo>
                      <a:pt x="533400" y="396812"/>
                      <a:pt x="520636" y="409575"/>
                      <a:pt x="504825" y="409575"/>
                    </a:cubicBezTo>
                    <a:lnTo>
                      <a:pt x="390525" y="409575"/>
                    </a:lnTo>
                    <a:lnTo>
                      <a:pt x="390525" y="295275"/>
                    </a:lnTo>
                    <a:cubicBezTo>
                      <a:pt x="390525" y="274892"/>
                      <a:pt x="374523" y="258223"/>
                      <a:pt x="354330" y="257175"/>
                    </a:cubicBezTo>
                    <a:lnTo>
                      <a:pt x="352425" y="257175"/>
                    </a:lnTo>
                    <a:lnTo>
                      <a:pt x="180975" y="257175"/>
                    </a:lnTo>
                    <a:cubicBezTo>
                      <a:pt x="160591" y="257175"/>
                      <a:pt x="143923" y="273177"/>
                      <a:pt x="142875" y="293370"/>
                    </a:cubicBezTo>
                    <a:lnTo>
                      <a:pt x="142875" y="295275"/>
                    </a:lnTo>
                    <a:lnTo>
                      <a:pt x="142875" y="409575"/>
                    </a:lnTo>
                    <a:lnTo>
                      <a:pt x="28575" y="409575"/>
                    </a:lnTo>
                    <a:cubicBezTo>
                      <a:pt x="12763" y="409575"/>
                      <a:pt x="0" y="396812"/>
                      <a:pt x="0" y="381000"/>
                    </a:cubicBezTo>
                    <a:lnTo>
                      <a:pt x="0" y="200787"/>
                    </a:lnTo>
                    <a:cubicBezTo>
                      <a:pt x="0" y="191167"/>
                      <a:pt x="3620" y="181832"/>
                      <a:pt x="10287" y="174784"/>
                    </a:cubicBezTo>
                    <a:lnTo>
                      <a:pt x="55436" y="126397"/>
                    </a:lnTo>
                    <a:cubicBezTo>
                      <a:pt x="62675" y="118682"/>
                      <a:pt x="72771" y="114300"/>
                      <a:pt x="83248" y="114300"/>
                    </a:cubicBezTo>
                    <a:lnTo>
                      <a:pt x="142875" y="114300"/>
                    </a:lnTo>
                    <a:close/>
                    <a:moveTo>
                      <a:pt x="461963" y="171450"/>
                    </a:moveTo>
                    <a:cubicBezTo>
                      <a:pt x="454057" y="171450"/>
                      <a:pt x="447675" y="177832"/>
                      <a:pt x="447675" y="185738"/>
                    </a:cubicBezTo>
                    <a:cubicBezTo>
                      <a:pt x="447675" y="193643"/>
                      <a:pt x="454057" y="200025"/>
                      <a:pt x="461963" y="200025"/>
                    </a:cubicBezTo>
                    <a:cubicBezTo>
                      <a:pt x="469868" y="200025"/>
                      <a:pt x="476250" y="193643"/>
                      <a:pt x="476250" y="185738"/>
                    </a:cubicBezTo>
                    <a:cubicBezTo>
                      <a:pt x="476250" y="177832"/>
                      <a:pt x="469868" y="171450"/>
                      <a:pt x="461963" y="171450"/>
                    </a:cubicBezTo>
                    <a:close/>
                    <a:moveTo>
                      <a:pt x="342900" y="0"/>
                    </a:moveTo>
                    <a:cubicBezTo>
                      <a:pt x="358711" y="0"/>
                      <a:pt x="371475" y="12763"/>
                      <a:pt x="371475" y="28575"/>
                    </a:cubicBezTo>
                    <a:lnTo>
                      <a:pt x="371475" y="104775"/>
                    </a:lnTo>
                    <a:cubicBezTo>
                      <a:pt x="371475" y="120587"/>
                      <a:pt x="358711" y="133350"/>
                      <a:pt x="342900" y="133350"/>
                    </a:cubicBezTo>
                    <a:lnTo>
                      <a:pt x="190500" y="133350"/>
                    </a:lnTo>
                    <a:cubicBezTo>
                      <a:pt x="174689" y="133350"/>
                      <a:pt x="161925" y="120587"/>
                      <a:pt x="161925" y="104775"/>
                    </a:cubicBezTo>
                    <a:lnTo>
                      <a:pt x="161925" y="28575"/>
                    </a:lnTo>
                    <a:cubicBezTo>
                      <a:pt x="161925" y="12763"/>
                      <a:pt x="174689" y="0"/>
                      <a:pt x="190500" y="0"/>
                    </a:cubicBezTo>
                    <a:lnTo>
                      <a:pt x="342900" y="0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108" name="ïşḷïdê">
              <a:extLst>
                <a:ext uri="{FF2B5EF4-FFF2-40B4-BE49-F238E27FC236}">
                  <a16:creationId xmlns:a16="http://schemas.microsoft.com/office/drawing/2014/main" id="{F97F9A2C-C050-44E0-8A67-BD5711E603ED}"/>
                </a:ext>
              </a:extLst>
            </p:cNvPr>
            <p:cNvGrpSpPr/>
            <p:nvPr/>
          </p:nvGrpSpPr>
          <p:grpSpPr>
            <a:xfrm>
              <a:off x="3579766" y="1709175"/>
              <a:ext cx="2107807" cy="1820052"/>
              <a:chOff x="2482850" y="4109476"/>
              <a:chExt cx="2107807" cy="1820052"/>
            </a:xfrm>
          </p:grpSpPr>
          <p:grpSp>
            <p:nvGrpSpPr>
              <p:cNvPr id="111" name="íṧḷiḓé">
                <a:extLst>
                  <a:ext uri="{FF2B5EF4-FFF2-40B4-BE49-F238E27FC236}">
                    <a16:creationId xmlns:a16="http://schemas.microsoft.com/office/drawing/2014/main" id="{8DB5AAA5-7B70-4F7D-88EA-1E83A2AD30D6}"/>
                  </a:ext>
                </a:extLst>
              </p:cNvPr>
              <p:cNvGrpSpPr/>
              <p:nvPr/>
            </p:nvGrpSpPr>
            <p:grpSpPr>
              <a:xfrm>
                <a:off x="2482850" y="4817639"/>
                <a:ext cx="2107807" cy="1111889"/>
                <a:chOff x="4081943" y="4823989"/>
                <a:chExt cx="2107807" cy="1111889"/>
              </a:xfrm>
            </p:grpSpPr>
            <p:sp>
              <p:nvSpPr>
                <p:cNvPr id="113" name="iṥľiḍe">
                  <a:extLst>
                    <a:ext uri="{FF2B5EF4-FFF2-40B4-BE49-F238E27FC236}">
                      <a16:creationId xmlns:a16="http://schemas.microsoft.com/office/drawing/2014/main" id="{F6F71424-D9E5-4143-8A1F-170369047816}"/>
                    </a:ext>
                  </a:extLst>
                </p:cNvPr>
                <p:cNvSpPr/>
                <p:nvPr/>
              </p:nvSpPr>
              <p:spPr bwMode="auto">
                <a:xfrm>
                  <a:off x="4081943" y="5211587"/>
                  <a:ext cx="2107807" cy="7242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120000"/>
                    </a:lnSpc>
                  </a:pPr>
                  <a:r>
                    <a:rPr lang="en-US" altLang="zh-CN" sz="1100" dirty="0"/>
                    <a:t>Copy paste fonts. Choose the only option to retain text.</a:t>
                  </a:r>
                </a:p>
                <a:p>
                  <a:pPr algn="ctr">
                    <a:lnSpc>
                      <a:spcPct val="120000"/>
                    </a:lnSpc>
                  </a:pPr>
                  <a:r>
                    <a:rPr lang="en-US" altLang="zh-CN" sz="1100" dirty="0"/>
                    <a:t>……</a:t>
                  </a:r>
                </a:p>
              </p:txBody>
            </p:sp>
            <p:sp>
              <p:nvSpPr>
                <p:cNvPr id="114" name="ïsļîḍê">
                  <a:extLst>
                    <a:ext uri="{FF2B5EF4-FFF2-40B4-BE49-F238E27FC236}">
                      <a16:creationId xmlns:a16="http://schemas.microsoft.com/office/drawing/2014/main" id="{E9A96911-2F44-4F94-992D-7345901C0AA5}"/>
                    </a:ext>
                  </a:extLst>
                </p:cNvPr>
                <p:cNvSpPr txBox="1"/>
                <p:nvPr/>
              </p:nvSpPr>
              <p:spPr bwMode="auto">
                <a:xfrm>
                  <a:off x="4081943" y="4823989"/>
                  <a:ext cx="2107807" cy="38759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b" anchorCtr="0">
                  <a:normAutofit lnSpcReduction="1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eaLnBrk="1" hangingPunct="1">
                    <a:lnSpc>
                      <a:spcPct val="100000"/>
                    </a:lnSpc>
                    <a:spcBef>
                      <a:spcPct val="0"/>
                    </a:spcBef>
                  </a:pPr>
                  <a:r>
                    <a:rPr lang="en-US" altLang="zh-CN" sz="2000" b="1" dirty="0"/>
                    <a:t>Text here</a:t>
                  </a:r>
                </a:p>
              </p:txBody>
            </p:sp>
          </p:grpSp>
          <p:sp>
            <p:nvSpPr>
              <p:cNvPr id="112" name="î$ḻiḋê">
                <a:extLst>
                  <a:ext uri="{FF2B5EF4-FFF2-40B4-BE49-F238E27FC236}">
                    <a16:creationId xmlns:a16="http://schemas.microsoft.com/office/drawing/2014/main" id="{236E0198-406D-4FE9-AFB6-7293A0A4A063}"/>
                  </a:ext>
                </a:extLst>
              </p:cNvPr>
              <p:cNvSpPr/>
              <p:nvPr/>
            </p:nvSpPr>
            <p:spPr bwMode="auto">
              <a:xfrm>
                <a:off x="3308833" y="4109476"/>
                <a:ext cx="455839" cy="499670"/>
              </a:xfrm>
              <a:custGeom>
                <a:avLst/>
                <a:gdLst>
                  <a:gd name="connsiteX0" fmla="*/ 247650 w 495300"/>
                  <a:gd name="connsiteY0" fmla="*/ 0 h 542925"/>
                  <a:gd name="connsiteX1" fmla="*/ 495300 w 495300"/>
                  <a:gd name="connsiteY1" fmla="*/ 247650 h 542925"/>
                  <a:gd name="connsiteX2" fmla="*/ 322707 w 495300"/>
                  <a:gd name="connsiteY2" fmla="*/ 483775 h 542925"/>
                  <a:gd name="connsiteX3" fmla="*/ 345853 w 495300"/>
                  <a:gd name="connsiteY3" fmla="*/ 523875 h 542925"/>
                  <a:gd name="connsiteX4" fmla="*/ 419100 w 495300"/>
                  <a:gd name="connsiteY4" fmla="*/ 523875 h 542925"/>
                  <a:gd name="connsiteX5" fmla="*/ 419100 w 495300"/>
                  <a:gd name="connsiteY5" fmla="*/ 542925 h 542925"/>
                  <a:gd name="connsiteX6" fmla="*/ 76200 w 495300"/>
                  <a:gd name="connsiteY6" fmla="*/ 542925 h 542925"/>
                  <a:gd name="connsiteX7" fmla="*/ 76200 w 495300"/>
                  <a:gd name="connsiteY7" fmla="*/ 523875 h 542925"/>
                  <a:gd name="connsiteX8" fmla="*/ 149447 w 495300"/>
                  <a:gd name="connsiteY8" fmla="*/ 523875 h 542925"/>
                  <a:gd name="connsiteX9" fmla="*/ 172593 w 495300"/>
                  <a:gd name="connsiteY9" fmla="*/ 483775 h 542925"/>
                  <a:gd name="connsiteX10" fmla="*/ 0 w 495300"/>
                  <a:gd name="connsiteY10" fmla="*/ 247650 h 542925"/>
                  <a:gd name="connsiteX11" fmla="*/ 247650 w 495300"/>
                  <a:gd name="connsiteY11" fmla="*/ 0 h 542925"/>
                  <a:gd name="connsiteX12" fmla="*/ 191643 w 495300"/>
                  <a:gd name="connsiteY12" fmla="*/ 488918 h 542925"/>
                  <a:gd name="connsiteX13" fmla="*/ 171450 w 495300"/>
                  <a:gd name="connsiteY13" fmla="*/ 523875 h 542925"/>
                  <a:gd name="connsiteX14" fmla="*/ 323850 w 495300"/>
                  <a:gd name="connsiteY14" fmla="*/ 523875 h 542925"/>
                  <a:gd name="connsiteX15" fmla="*/ 303657 w 495300"/>
                  <a:gd name="connsiteY15" fmla="*/ 488918 h 542925"/>
                  <a:gd name="connsiteX16" fmla="*/ 247650 w 495300"/>
                  <a:gd name="connsiteY16" fmla="*/ 495300 h 542925"/>
                  <a:gd name="connsiteX17" fmla="*/ 191643 w 495300"/>
                  <a:gd name="connsiteY17" fmla="*/ 488918 h 542925"/>
                  <a:gd name="connsiteX18" fmla="*/ 247650 w 495300"/>
                  <a:gd name="connsiteY18" fmla="*/ 142875 h 542925"/>
                  <a:gd name="connsiteX19" fmla="*/ 142875 w 495300"/>
                  <a:gd name="connsiteY19" fmla="*/ 247650 h 542925"/>
                  <a:gd name="connsiteX20" fmla="*/ 247650 w 495300"/>
                  <a:gd name="connsiteY20" fmla="*/ 352425 h 542925"/>
                  <a:gd name="connsiteX21" fmla="*/ 352425 w 495300"/>
                  <a:gd name="connsiteY21" fmla="*/ 247650 h 542925"/>
                  <a:gd name="connsiteX22" fmla="*/ 247650 w 495300"/>
                  <a:gd name="connsiteY22" fmla="*/ 142875 h 542925"/>
                  <a:gd name="connsiteX23" fmla="*/ 366713 w 495300"/>
                  <a:gd name="connsiteY23" fmla="*/ 114300 h 542925"/>
                  <a:gd name="connsiteX24" fmla="*/ 352425 w 495300"/>
                  <a:gd name="connsiteY24" fmla="*/ 128588 h 542925"/>
                  <a:gd name="connsiteX25" fmla="*/ 366713 w 495300"/>
                  <a:gd name="connsiteY25" fmla="*/ 142875 h 542925"/>
                  <a:gd name="connsiteX26" fmla="*/ 381000 w 495300"/>
                  <a:gd name="connsiteY26" fmla="*/ 128588 h 542925"/>
                  <a:gd name="connsiteX27" fmla="*/ 366713 w 495300"/>
                  <a:gd name="connsiteY27" fmla="*/ 114300 h 542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495300" h="542925">
                    <a:moveTo>
                      <a:pt x="247650" y="0"/>
                    </a:moveTo>
                    <a:cubicBezTo>
                      <a:pt x="384429" y="0"/>
                      <a:pt x="495300" y="110871"/>
                      <a:pt x="495300" y="247650"/>
                    </a:cubicBezTo>
                    <a:cubicBezTo>
                      <a:pt x="495300" y="358235"/>
                      <a:pt x="422815" y="451961"/>
                      <a:pt x="322707" y="483775"/>
                    </a:cubicBezTo>
                    <a:lnTo>
                      <a:pt x="345853" y="523875"/>
                    </a:lnTo>
                    <a:lnTo>
                      <a:pt x="419100" y="523875"/>
                    </a:lnTo>
                    <a:lnTo>
                      <a:pt x="419100" y="542925"/>
                    </a:lnTo>
                    <a:lnTo>
                      <a:pt x="76200" y="542925"/>
                    </a:lnTo>
                    <a:lnTo>
                      <a:pt x="76200" y="523875"/>
                    </a:lnTo>
                    <a:lnTo>
                      <a:pt x="149447" y="523875"/>
                    </a:lnTo>
                    <a:lnTo>
                      <a:pt x="172593" y="483775"/>
                    </a:lnTo>
                    <a:cubicBezTo>
                      <a:pt x="72485" y="451961"/>
                      <a:pt x="0" y="358235"/>
                      <a:pt x="0" y="247650"/>
                    </a:cubicBezTo>
                    <a:cubicBezTo>
                      <a:pt x="0" y="110871"/>
                      <a:pt x="110871" y="0"/>
                      <a:pt x="247650" y="0"/>
                    </a:cubicBezTo>
                    <a:close/>
                    <a:moveTo>
                      <a:pt x="191643" y="488918"/>
                    </a:moveTo>
                    <a:lnTo>
                      <a:pt x="171450" y="523875"/>
                    </a:lnTo>
                    <a:lnTo>
                      <a:pt x="323850" y="523875"/>
                    </a:lnTo>
                    <a:lnTo>
                      <a:pt x="303657" y="488918"/>
                    </a:lnTo>
                    <a:cubicBezTo>
                      <a:pt x="285655" y="493109"/>
                      <a:pt x="266891" y="495300"/>
                      <a:pt x="247650" y="495300"/>
                    </a:cubicBezTo>
                    <a:cubicBezTo>
                      <a:pt x="228409" y="495300"/>
                      <a:pt x="209645" y="493109"/>
                      <a:pt x="191643" y="488918"/>
                    </a:cubicBezTo>
                    <a:close/>
                    <a:moveTo>
                      <a:pt x="247650" y="142875"/>
                    </a:moveTo>
                    <a:cubicBezTo>
                      <a:pt x="189738" y="142875"/>
                      <a:pt x="142875" y="189738"/>
                      <a:pt x="142875" y="247650"/>
                    </a:cubicBezTo>
                    <a:cubicBezTo>
                      <a:pt x="142875" y="305562"/>
                      <a:pt x="189738" y="352425"/>
                      <a:pt x="247650" y="352425"/>
                    </a:cubicBezTo>
                    <a:cubicBezTo>
                      <a:pt x="305562" y="352425"/>
                      <a:pt x="352425" y="305562"/>
                      <a:pt x="352425" y="247650"/>
                    </a:cubicBezTo>
                    <a:cubicBezTo>
                      <a:pt x="352425" y="189738"/>
                      <a:pt x="305562" y="142875"/>
                      <a:pt x="247650" y="142875"/>
                    </a:cubicBezTo>
                    <a:close/>
                    <a:moveTo>
                      <a:pt x="366713" y="114300"/>
                    </a:moveTo>
                    <a:cubicBezTo>
                      <a:pt x="358807" y="114300"/>
                      <a:pt x="352425" y="120682"/>
                      <a:pt x="352425" y="128588"/>
                    </a:cubicBezTo>
                    <a:cubicBezTo>
                      <a:pt x="352425" y="136493"/>
                      <a:pt x="358807" y="142875"/>
                      <a:pt x="366713" y="142875"/>
                    </a:cubicBezTo>
                    <a:cubicBezTo>
                      <a:pt x="374618" y="142875"/>
                      <a:pt x="381000" y="136493"/>
                      <a:pt x="381000" y="128588"/>
                    </a:cubicBezTo>
                    <a:cubicBezTo>
                      <a:pt x="381000" y="120682"/>
                      <a:pt x="374618" y="114300"/>
                      <a:pt x="366713" y="114300"/>
                    </a:cubicBez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txBody>
              <a:bodyPr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  <p:cxnSp>
          <p:nvCxnSpPr>
            <p:cNvPr id="109" name="iṡlíďê">
              <a:extLst>
                <a:ext uri="{FF2B5EF4-FFF2-40B4-BE49-F238E27FC236}">
                  <a16:creationId xmlns:a16="http://schemas.microsoft.com/office/drawing/2014/main" id="{A37BC6FB-0EB3-4388-9DD1-FEECCDDECE52}"/>
                </a:ext>
              </a:extLst>
            </p:cNvPr>
            <p:cNvCxnSpPr/>
            <p:nvPr/>
          </p:nvCxnSpPr>
          <p:spPr>
            <a:xfrm>
              <a:off x="6091501" y="2524124"/>
              <a:ext cx="0" cy="12192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ïšļíḋe">
              <a:extLst>
                <a:ext uri="{FF2B5EF4-FFF2-40B4-BE49-F238E27FC236}">
                  <a16:creationId xmlns:a16="http://schemas.microsoft.com/office/drawing/2014/main" id="{66807508-0976-4C61-9714-3C032A95C33A}"/>
                </a:ext>
              </a:extLst>
            </p:cNvPr>
            <p:cNvCxnSpPr/>
            <p:nvPr/>
          </p:nvCxnSpPr>
          <p:spPr>
            <a:xfrm>
              <a:off x="9007164" y="2524124"/>
              <a:ext cx="0" cy="12192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405817440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ṩlïd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ṣľiḑé">
            <a:extLst>
              <a:ext uri="{FF2B5EF4-FFF2-40B4-BE49-F238E27FC236}">
                <a16:creationId xmlns:a16="http://schemas.microsoft.com/office/drawing/2014/main" id="{BF8CDE94-86DE-429F-8375-A76B33C80B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íśļïḋê">
            <a:extLst>
              <a:ext uri="{FF2B5EF4-FFF2-40B4-BE49-F238E27FC236}">
                <a16:creationId xmlns:a16="http://schemas.microsoft.com/office/drawing/2014/main" id="{1805D2D8-F9BA-48E1-BC69-36F6689186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isļîdè">
            <a:extLst>
              <a:ext uri="{FF2B5EF4-FFF2-40B4-BE49-F238E27FC236}">
                <a16:creationId xmlns:a16="http://schemas.microsoft.com/office/drawing/2014/main" id="{80F4A263-0F99-449A-9A25-14D89E9F22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2</a:t>
            </a:fld>
            <a:endParaRPr lang="zh-CN" altLang="en-US"/>
          </a:p>
        </p:txBody>
      </p:sp>
      <p:grpSp>
        <p:nvGrpSpPr>
          <p:cNvPr id="205" name="íšļîdé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03C29264-42C1-4E07-9E9F-38AF85685F9D}"/>
              </a:ext>
            </a:extLst>
          </p:cNvPr>
          <p:cNvGrpSpPr>
            <a:grpSpLocks noChangeAspect="1"/>
          </p:cNvGrpSpPr>
          <p:nvPr/>
        </p:nvGrpSpPr>
        <p:grpSpPr>
          <a:xfrm>
            <a:off x="759266" y="1841701"/>
            <a:ext cx="10759632" cy="3619680"/>
            <a:chOff x="759268" y="1841706"/>
            <a:chExt cx="10759632" cy="3619680"/>
          </a:xfrm>
        </p:grpSpPr>
        <p:grpSp>
          <p:nvGrpSpPr>
            <p:cNvPr id="206" name="îṥḻîdê">
              <a:extLst>
                <a:ext uri="{FF2B5EF4-FFF2-40B4-BE49-F238E27FC236}">
                  <a16:creationId xmlns:a16="http://schemas.microsoft.com/office/drawing/2014/main" id="{E67B60A4-775F-415B-B947-A738267BD397}"/>
                </a:ext>
              </a:extLst>
            </p:cNvPr>
            <p:cNvGrpSpPr/>
            <p:nvPr/>
          </p:nvGrpSpPr>
          <p:grpSpPr>
            <a:xfrm rot="2413841">
              <a:off x="759268" y="1841706"/>
              <a:ext cx="3490642" cy="3619680"/>
              <a:chOff x="4673129" y="1705913"/>
              <a:chExt cx="3490642" cy="3619680"/>
            </a:xfrm>
          </p:grpSpPr>
          <p:grpSp>
            <p:nvGrpSpPr>
              <p:cNvPr id="232" name="îṧ1íḑé">
                <a:extLst>
                  <a:ext uri="{FF2B5EF4-FFF2-40B4-BE49-F238E27FC236}">
                    <a16:creationId xmlns:a16="http://schemas.microsoft.com/office/drawing/2014/main" id="{7E7C1276-4DA7-44DE-B92E-9B398F296E3E}"/>
                  </a:ext>
                </a:extLst>
              </p:cNvPr>
              <p:cNvGrpSpPr/>
              <p:nvPr/>
            </p:nvGrpSpPr>
            <p:grpSpPr>
              <a:xfrm>
                <a:off x="4673129" y="1705913"/>
                <a:ext cx="3490642" cy="3446175"/>
                <a:chOff x="608737" y="1580962"/>
                <a:chExt cx="3490642" cy="3446175"/>
              </a:xfrm>
              <a:solidFill>
                <a:schemeClr val="accent1"/>
              </a:solidFill>
            </p:grpSpPr>
            <p:sp>
              <p:nvSpPr>
                <p:cNvPr id="247" name="î$ḷîďé">
                  <a:extLst>
                    <a:ext uri="{FF2B5EF4-FFF2-40B4-BE49-F238E27FC236}">
                      <a16:creationId xmlns:a16="http://schemas.microsoft.com/office/drawing/2014/main" id="{64C112FE-7C02-4C4C-82C9-E19FFBD86602}"/>
                    </a:ext>
                  </a:extLst>
                </p:cNvPr>
                <p:cNvSpPr/>
                <p:nvPr/>
              </p:nvSpPr>
              <p:spPr bwMode="auto">
                <a:xfrm>
                  <a:off x="2838746" y="2414714"/>
                  <a:ext cx="249014" cy="153410"/>
                </a:xfrm>
                <a:custGeom>
                  <a:avLst/>
                  <a:gdLst>
                    <a:gd name="T0" fmla="*/ 4 w 47"/>
                    <a:gd name="T1" fmla="*/ 19 h 29"/>
                    <a:gd name="T2" fmla="*/ 47 w 47"/>
                    <a:gd name="T3" fmla="*/ 29 h 29"/>
                    <a:gd name="T4" fmla="*/ 40 w 47"/>
                    <a:gd name="T5" fmla="*/ 7 h 29"/>
                    <a:gd name="T6" fmla="*/ 0 w 47"/>
                    <a:gd name="T7" fmla="*/ 0 h 29"/>
                    <a:gd name="T8" fmla="*/ 4 w 47"/>
                    <a:gd name="T9" fmla="*/ 19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7" h="29">
                      <a:moveTo>
                        <a:pt x="4" y="19"/>
                      </a:moveTo>
                      <a:cubicBezTo>
                        <a:pt x="19" y="22"/>
                        <a:pt x="34" y="25"/>
                        <a:pt x="47" y="29"/>
                      </a:cubicBezTo>
                      <a:cubicBezTo>
                        <a:pt x="45" y="22"/>
                        <a:pt x="43" y="14"/>
                        <a:pt x="40" y="7"/>
                      </a:cubicBezTo>
                      <a:cubicBezTo>
                        <a:pt x="27" y="4"/>
                        <a:pt x="14" y="2"/>
                        <a:pt x="0" y="0"/>
                      </a:cubicBezTo>
                      <a:cubicBezTo>
                        <a:pt x="1" y="6"/>
                        <a:pt x="3" y="12"/>
                        <a:pt x="4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248" name="isļîḋe">
                  <a:extLst>
                    <a:ext uri="{FF2B5EF4-FFF2-40B4-BE49-F238E27FC236}">
                      <a16:creationId xmlns:a16="http://schemas.microsoft.com/office/drawing/2014/main" id="{34EB0E62-0391-4C3F-85A2-E8486097EEB2}"/>
                    </a:ext>
                  </a:extLst>
                </p:cNvPr>
                <p:cNvSpPr/>
                <p:nvPr/>
              </p:nvSpPr>
              <p:spPr bwMode="auto">
                <a:xfrm>
                  <a:off x="608737" y="2414714"/>
                  <a:ext cx="1260633" cy="1667504"/>
                </a:xfrm>
                <a:custGeom>
                  <a:avLst/>
                  <a:gdLst>
                    <a:gd name="T0" fmla="*/ 141 w 239"/>
                    <a:gd name="T1" fmla="*/ 296 h 316"/>
                    <a:gd name="T2" fmla="*/ 33 w 239"/>
                    <a:gd name="T3" fmla="*/ 172 h 316"/>
                    <a:gd name="T4" fmla="*/ 235 w 239"/>
                    <a:gd name="T5" fmla="*/ 19 h 316"/>
                    <a:gd name="T6" fmla="*/ 239 w 239"/>
                    <a:gd name="T7" fmla="*/ 0 h 316"/>
                    <a:gd name="T8" fmla="*/ 0 w 239"/>
                    <a:gd name="T9" fmla="*/ 172 h 316"/>
                    <a:gd name="T10" fmla="*/ 134 w 239"/>
                    <a:gd name="T11" fmla="*/ 316 h 316"/>
                    <a:gd name="T12" fmla="*/ 141 w 239"/>
                    <a:gd name="T13" fmla="*/ 296 h 3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39" h="316">
                      <a:moveTo>
                        <a:pt x="141" y="296"/>
                      </a:moveTo>
                      <a:cubicBezTo>
                        <a:pt x="75" y="267"/>
                        <a:pt x="33" y="222"/>
                        <a:pt x="33" y="172"/>
                      </a:cubicBezTo>
                      <a:cubicBezTo>
                        <a:pt x="33" y="101"/>
                        <a:pt x="117" y="41"/>
                        <a:pt x="235" y="19"/>
                      </a:cubicBezTo>
                      <a:cubicBezTo>
                        <a:pt x="236" y="12"/>
                        <a:pt x="238" y="6"/>
                        <a:pt x="239" y="0"/>
                      </a:cubicBezTo>
                      <a:cubicBezTo>
                        <a:pt x="101" y="21"/>
                        <a:pt x="0" y="90"/>
                        <a:pt x="0" y="172"/>
                      </a:cubicBezTo>
                      <a:cubicBezTo>
                        <a:pt x="0" y="231"/>
                        <a:pt x="52" y="284"/>
                        <a:pt x="134" y="316"/>
                      </a:cubicBezTo>
                      <a:cubicBezTo>
                        <a:pt x="136" y="310"/>
                        <a:pt x="138" y="303"/>
                        <a:pt x="141" y="29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249" name="îşľiḑè">
                  <a:extLst>
                    <a:ext uri="{FF2B5EF4-FFF2-40B4-BE49-F238E27FC236}">
                      <a16:creationId xmlns:a16="http://schemas.microsoft.com/office/drawing/2014/main" id="{10EF7412-C263-45E0-9392-ABDA62D404D3}"/>
                    </a:ext>
                  </a:extLst>
                </p:cNvPr>
                <p:cNvSpPr/>
                <p:nvPr/>
              </p:nvSpPr>
              <p:spPr bwMode="auto">
                <a:xfrm>
                  <a:off x="3203373" y="2494754"/>
                  <a:ext cx="896006" cy="1587464"/>
                </a:xfrm>
                <a:custGeom>
                  <a:avLst/>
                  <a:gdLst>
                    <a:gd name="T0" fmla="*/ 0 w 170"/>
                    <a:gd name="T1" fmla="*/ 0 h 301"/>
                    <a:gd name="T2" fmla="*/ 6 w 170"/>
                    <a:gd name="T3" fmla="*/ 23 h 301"/>
                    <a:gd name="T4" fmla="*/ 137 w 170"/>
                    <a:gd name="T5" fmla="*/ 157 h 301"/>
                    <a:gd name="T6" fmla="*/ 29 w 170"/>
                    <a:gd name="T7" fmla="*/ 281 h 301"/>
                    <a:gd name="T8" fmla="*/ 36 w 170"/>
                    <a:gd name="T9" fmla="*/ 301 h 301"/>
                    <a:gd name="T10" fmla="*/ 170 w 170"/>
                    <a:gd name="T11" fmla="*/ 157 h 301"/>
                    <a:gd name="T12" fmla="*/ 0 w 170"/>
                    <a:gd name="T13" fmla="*/ 0 h 3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70" h="301">
                      <a:moveTo>
                        <a:pt x="0" y="0"/>
                      </a:moveTo>
                      <a:cubicBezTo>
                        <a:pt x="2" y="8"/>
                        <a:pt x="4" y="15"/>
                        <a:pt x="6" y="23"/>
                      </a:cubicBezTo>
                      <a:cubicBezTo>
                        <a:pt x="85" y="52"/>
                        <a:pt x="137" y="101"/>
                        <a:pt x="137" y="157"/>
                      </a:cubicBezTo>
                      <a:cubicBezTo>
                        <a:pt x="137" y="207"/>
                        <a:pt x="95" y="252"/>
                        <a:pt x="29" y="281"/>
                      </a:cubicBezTo>
                      <a:cubicBezTo>
                        <a:pt x="32" y="288"/>
                        <a:pt x="34" y="295"/>
                        <a:pt x="36" y="301"/>
                      </a:cubicBezTo>
                      <a:cubicBezTo>
                        <a:pt x="118" y="269"/>
                        <a:pt x="170" y="216"/>
                        <a:pt x="170" y="157"/>
                      </a:cubicBezTo>
                      <a:cubicBezTo>
                        <a:pt x="170" y="90"/>
                        <a:pt x="102" y="31"/>
                        <a:pt x="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250" name="iSļîḍe">
                  <a:extLst>
                    <a:ext uri="{FF2B5EF4-FFF2-40B4-BE49-F238E27FC236}">
                      <a16:creationId xmlns:a16="http://schemas.microsoft.com/office/drawing/2014/main" id="{1620220D-137B-4691-BA8F-75E3AD8CB764}"/>
                    </a:ext>
                  </a:extLst>
                </p:cNvPr>
                <p:cNvSpPr/>
                <p:nvPr/>
              </p:nvSpPr>
              <p:spPr bwMode="auto">
                <a:xfrm>
                  <a:off x="1524753" y="1580962"/>
                  <a:ext cx="749265" cy="891559"/>
                </a:xfrm>
                <a:custGeom>
                  <a:avLst/>
                  <a:gdLst>
                    <a:gd name="T0" fmla="*/ 110 w 142"/>
                    <a:gd name="T1" fmla="*/ 45 h 169"/>
                    <a:gd name="T2" fmla="*/ 142 w 142"/>
                    <a:gd name="T3" fmla="*/ 0 h 169"/>
                    <a:gd name="T4" fmla="*/ 0 w 142"/>
                    <a:gd name="T5" fmla="*/ 169 h 169"/>
                    <a:gd name="T6" fmla="*/ 23 w 142"/>
                    <a:gd name="T7" fmla="*/ 163 h 169"/>
                    <a:gd name="T8" fmla="*/ 110 w 142"/>
                    <a:gd name="T9" fmla="*/ 45 h 1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42" h="169">
                      <a:moveTo>
                        <a:pt x="110" y="45"/>
                      </a:moveTo>
                      <a:cubicBezTo>
                        <a:pt x="122" y="24"/>
                        <a:pt x="133" y="10"/>
                        <a:pt x="142" y="0"/>
                      </a:cubicBezTo>
                      <a:cubicBezTo>
                        <a:pt x="81" y="9"/>
                        <a:pt x="28" y="75"/>
                        <a:pt x="0" y="169"/>
                      </a:cubicBezTo>
                      <a:cubicBezTo>
                        <a:pt x="8" y="167"/>
                        <a:pt x="15" y="165"/>
                        <a:pt x="23" y="163"/>
                      </a:cubicBezTo>
                      <a:cubicBezTo>
                        <a:pt x="44" y="107"/>
                        <a:pt x="74" y="65"/>
                        <a:pt x="110" y="45"/>
                      </a:cubicBez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251" name="îṧlîḋè">
                  <a:extLst>
                    <a:ext uri="{FF2B5EF4-FFF2-40B4-BE49-F238E27FC236}">
                      <a16:creationId xmlns:a16="http://schemas.microsoft.com/office/drawing/2014/main" id="{C383F5B8-E0FA-48E1-AC78-4D2CFFE8D7D7}"/>
                    </a:ext>
                  </a:extLst>
                </p:cNvPr>
                <p:cNvSpPr/>
                <p:nvPr/>
              </p:nvSpPr>
              <p:spPr bwMode="auto">
                <a:xfrm>
                  <a:off x="1604793" y="4266755"/>
                  <a:ext cx="533601" cy="760382"/>
                </a:xfrm>
                <a:custGeom>
                  <a:avLst/>
                  <a:gdLst>
                    <a:gd name="T0" fmla="*/ 64 w 101"/>
                    <a:gd name="T1" fmla="*/ 82 h 144"/>
                    <a:gd name="T2" fmla="*/ 13 w 101"/>
                    <a:gd name="T3" fmla="*/ 0 h 144"/>
                    <a:gd name="T4" fmla="*/ 0 w 101"/>
                    <a:gd name="T5" fmla="*/ 23 h 144"/>
                    <a:gd name="T6" fmla="*/ 101 w 101"/>
                    <a:gd name="T7" fmla="*/ 144 h 144"/>
                    <a:gd name="T8" fmla="*/ 92 w 101"/>
                    <a:gd name="T9" fmla="*/ 123 h 144"/>
                    <a:gd name="T10" fmla="*/ 64 w 101"/>
                    <a:gd name="T11" fmla="*/ 82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1" h="144">
                      <a:moveTo>
                        <a:pt x="64" y="82"/>
                      </a:moveTo>
                      <a:cubicBezTo>
                        <a:pt x="44" y="62"/>
                        <a:pt x="26" y="34"/>
                        <a:pt x="13" y="0"/>
                      </a:cubicBezTo>
                      <a:cubicBezTo>
                        <a:pt x="6" y="6"/>
                        <a:pt x="2" y="13"/>
                        <a:pt x="0" y="23"/>
                      </a:cubicBezTo>
                      <a:cubicBezTo>
                        <a:pt x="24" y="83"/>
                        <a:pt x="60" y="126"/>
                        <a:pt x="101" y="144"/>
                      </a:cubicBezTo>
                      <a:cubicBezTo>
                        <a:pt x="98" y="137"/>
                        <a:pt x="94" y="130"/>
                        <a:pt x="92" y="123"/>
                      </a:cubicBezTo>
                      <a:cubicBezTo>
                        <a:pt x="79" y="113"/>
                        <a:pt x="69" y="99"/>
                        <a:pt x="64" y="82"/>
                      </a:cubicBez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252" name="ïŝľïdê">
                  <a:extLst>
                    <a:ext uri="{FF2B5EF4-FFF2-40B4-BE49-F238E27FC236}">
                      <a16:creationId xmlns:a16="http://schemas.microsoft.com/office/drawing/2014/main" id="{49873B52-6833-4732-98FB-6D1B4EEB8B57}"/>
                    </a:ext>
                  </a:extLst>
                </p:cNvPr>
                <p:cNvSpPr/>
                <p:nvPr/>
              </p:nvSpPr>
              <p:spPr bwMode="auto">
                <a:xfrm>
                  <a:off x="1404692" y="2590357"/>
                  <a:ext cx="195654" cy="1207273"/>
                </a:xfrm>
                <a:custGeom>
                  <a:avLst/>
                  <a:gdLst>
                    <a:gd name="T0" fmla="*/ 23 w 37"/>
                    <a:gd name="T1" fmla="*/ 208 h 229"/>
                    <a:gd name="T2" fmla="*/ 18 w 37"/>
                    <a:gd name="T3" fmla="*/ 139 h 229"/>
                    <a:gd name="T4" fmla="*/ 37 w 37"/>
                    <a:gd name="T5" fmla="*/ 0 h 229"/>
                    <a:gd name="T6" fmla="*/ 15 w 37"/>
                    <a:gd name="T7" fmla="*/ 7 h 229"/>
                    <a:gd name="T8" fmla="*/ 0 w 37"/>
                    <a:gd name="T9" fmla="*/ 139 h 229"/>
                    <a:gd name="T10" fmla="*/ 7 w 37"/>
                    <a:gd name="T11" fmla="*/ 229 h 229"/>
                    <a:gd name="T12" fmla="*/ 23 w 37"/>
                    <a:gd name="T13" fmla="*/ 208 h 2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7" h="229">
                      <a:moveTo>
                        <a:pt x="23" y="208"/>
                      </a:moveTo>
                      <a:cubicBezTo>
                        <a:pt x="20" y="186"/>
                        <a:pt x="18" y="163"/>
                        <a:pt x="18" y="139"/>
                      </a:cubicBezTo>
                      <a:cubicBezTo>
                        <a:pt x="18" y="89"/>
                        <a:pt x="25" y="41"/>
                        <a:pt x="37" y="0"/>
                      </a:cubicBezTo>
                      <a:cubicBezTo>
                        <a:pt x="30" y="2"/>
                        <a:pt x="22" y="4"/>
                        <a:pt x="15" y="7"/>
                      </a:cubicBezTo>
                      <a:cubicBezTo>
                        <a:pt x="6" y="48"/>
                        <a:pt x="0" y="92"/>
                        <a:pt x="0" y="139"/>
                      </a:cubicBezTo>
                      <a:cubicBezTo>
                        <a:pt x="0" y="170"/>
                        <a:pt x="3" y="200"/>
                        <a:pt x="7" y="229"/>
                      </a:cubicBezTo>
                      <a:cubicBezTo>
                        <a:pt x="12" y="222"/>
                        <a:pt x="17" y="214"/>
                        <a:pt x="23" y="208"/>
                      </a:cubicBez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253" name="îšḻïḍê">
                  <a:extLst>
                    <a:ext uri="{FF2B5EF4-FFF2-40B4-BE49-F238E27FC236}">
                      <a16:creationId xmlns:a16="http://schemas.microsoft.com/office/drawing/2014/main" id="{1971BCB1-285D-4615-B2AC-BC44EC06E645}"/>
                    </a:ext>
                  </a:extLst>
                </p:cNvPr>
                <p:cNvSpPr/>
                <p:nvPr/>
              </p:nvSpPr>
              <p:spPr bwMode="auto">
                <a:xfrm>
                  <a:off x="2569722" y="4266755"/>
                  <a:ext cx="533601" cy="760382"/>
                </a:xfrm>
                <a:custGeom>
                  <a:avLst/>
                  <a:gdLst>
                    <a:gd name="T0" fmla="*/ 88 w 101"/>
                    <a:gd name="T1" fmla="*/ 0 h 144"/>
                    <a:gd name="T2" fmla="*/ 37 w 101"/>
                    <a:gd name="T3" fmla="*/ 82 h 144"/>
                    <a:gd name="T4" fmla="*/ 9 w 101"/>
                    <a:gd name="T5" fmla="*/ 123 h 144"/>
                    <a:gd name="T6" fmla="*/ 0 w 101"/>
                    <a:gd name="T7" fmla="*/ 144 h 144"/>
                    <a:gd name="T8" fmla="*/ 101 w 101"/>
                    <a:gd name="T9" fmla="*/ 23 h 144"/>
                    <a:gd name="T10" fmla="*/ 88 w 101"/>
                    <a:gd name="T11" fmla="*/ 0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1" h="144">
                      <a:moveTo>
                        <a:pt x="88" y="0"/>
                      </a:moveTo>
                      <a:cubicBezTo>
                        <a:pt x="75" y="34"/>
                        <a:pt x="57" y="62"/>
                        <a:pt x="37" y="82"/>
                      </a:cubicBezTo>
                      <a:cubicBezTo>
                        <a:pt x="32" y="99"/>
                        <a:pt x="22" y="113"/>
                        <a:pt x="9" y="123"/>
                      </a:cubicBezTo>
                      <a:cubicBezTo>
                        <a:pt x="7" y="130"/>
                        <a:pt x="3" y="137"/>
                        <a:pt x="0" y="144"/>
                      </a:cubicBezTo>
                      <a:cubicBezTo>
                        <a:pt x="41" y="126"/>
                        <a:pt x="77" y="83"/>
                        <a:pt x="101" y="23"/>
                      </a:cubicBezTo>
                      <a:cubicBezTo>
                        <a:pt x="99" y="13"/>
                        <a:pt x="95" y="6"/>
                        <a:pt x="88" y="0"/>
                      </a:cubicBez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254" name="ïšlïde">
                  <a:extLst>
                    <a:ext uri="{FF2B5EF4-FFF2-40B4-BE49-F238E27FC236}">
                      <a16:creationId xmlns:a16="http://schemas.microsoft.com/office/drawing/2014/main" id="{BE061722-6394-424B-9484-968023B243F9}"/>
                    </a:ext>
                  </a:extLst>
                </p:cNvPr>
                <p:cNvSpPr/>
                <p:nvPr/>
              </p:nvSpPr>
              <p:spPr bwMode="auto">
                <a:xfrm>
                  <a:off x="2434098" y="1580962"/>
                  <a:ext cx="869325" cy="2216669"/>
                </a:xfrm>
                <a:custGeom>
                  <a:avLst/>
                  <a:gdLst>
                    <a:gd name="T0" fmla="*/ 2 w 165"/>
                    <a:gd name="T1" fmla="*/ 2 h 420"/>
                    <a:gd name="T2" fmla="*/ 2 w 165"/>
                    <a:gd name="T3" fmla="*/ 2 h 420"/>
                    <a:gd name="T4" fmla="*/ 3 w 165"/>
                    <a:gd name="T5" fmla="*/ 4 h 420"/>
                    <a:gd name="T6" fmla="*/ 3 w 165"/>
                    <a:gd name="T7" fmla="*/ 4 h 420"/>
                    <a:gd name="T8" fmla="*/ 5 w 165"/>
                    <a:gd name="T9" fmla="*/ 6 h 420"/>
                    <a:gd name="T10" fmla="*/ 5 w 165"/>
                    <a:gd name="T11" fmla="*/ 6 h 420"/>
                    <a:gd name="T12" fmla="*/ 7 w 165"/>
                    <a:gd name="T13" fmla="*/ 8 h 420"/>
                    <a:gd name="T14" fmla="*/ 7 w 165"/>
                    <a:gd name="T15" fmla="*/ 8 h 420"/>
                    <a:gd name="T16" fmla="*/ 32 w 165"/>
                    <a:gd name="T17" fmla="*/ 45 h 420"/>
                    <a:gd name="T18" fmla="*/ 147 w 165"/>
                    <a:gd name="T19" fmla="*/ 330 h 420"/>
                    <a:gd name="T20" fmla="*/ 142 w 165"/>
                    <a:gd name="T21" fmla="*/ 399 h 420"/>
                    <a:gd name="T22" fmla="*/ 142 w 165"/>
                    <a:gd name="T23" fmla="*/ 399 h 420"/>
                    <a:gd name="T24" fmla="*/ 146 w 165"/>
                    <a:gd name="T25" fmla="*/ 404 h 420"/>
                    <a:gd name="T26" fmla="*/ 147 w 165"/>
                    <a:gd name="T27" fmla="*/ 404 h 420"/>
                    <a:gd name="T28" fmla="*/ 150 w 165"/>
                    <a:gd name="T29" fmla="*/ 409 h 420"/>
                    <a:gd name="T30" fmla="*/ 151 w 165"/>
                    <a:gd name="T31" fmla="*/ 409 h 420"/>
                    <a:gd name="T32" fmla="*/ 158 w 165"/>
                    <a:gd name="T33" fmla="*/ 420 h 420"/>
                    <a:gd name="T34" fmla="*/ 165 w 165"/>
                    <a:gd name="T35" fmla="*/ 330 h 420"/>
                    <a:gd name="T36" fmla="*/ 0 w 165"/>
                    <a:gd name="T37" fmla="*/ 0 h 420"/>
                    <a:gd name="T38" fmla="*/ 2 w 165"/>
                    <a:gd name="T39" fmla="*/ 2 h 4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65" h="420">
                      <a:moveTo>
                        <a:pt x="2" y="2"/>
                      </a:move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2"/>
                        <a:pt x="3" y="3"/>
                        <a:pt x="3" y="4"/>
                      </a:cubicBezTo>
                      <a:cubicBezTo>
                        <a:pt x="3" y="4"/>
                        <a:pt x="3" y="4"/>
                        <a:pt x="3" y="4"/>
                      </a:cubicBezTo>
                      <a:cubicBezTo>
                        <a:pt x="4" y="4"/>
                        <a:pt x="5" y="5"/>
                        <a:pt x="5" y="6"/>
                      </a:cubicBezTo>
                      <a:cubicBezTo>
                        <a:pt x="5" y="6"/>
                        <a:pt x="5" y="6"/>
                        <a:pt x="5" y="6"/>
                      </a:cubicBezTo>
                      <a:cubicBezTo>
                        <a:pt x="6" y="7"/>
                        <a:pt x="6" y="7"/>
                        <a:pt x="7" y="8"/>
                      </a:cubicBezTo>
                      <a:cubicBezTo>
                        <a:pt x="7" y="8"/>
                        <a:pt x="7" y="8"/>
                        <a:pt x="7" y="8"/>
                      </a:cubicBezTo>
                      <a:cubicBezTo>
                        <a:pt x="14" y="17"/>
                        <a:pt x="23" y="29"/>
                        <a:pt x="32" y="45"/>
                      </a:cubicBezTo>
                      <a:cubicBezTo>
                        <a:pt x="98" y="82"/>
                        <a:pt x="147" y="196"/>
                        <a:pt x="147" y="330"/>
                      </a:cubicBezTo>
                      <a:cubicBezTo>
                        <a:pt x="147" y="354"/>
                        <a:pt x="145" y="377"/>
                        <a:pt x="142" y="399"/>
                      </a:cubicBezTo>
                      <a:cubicBezTo>
                        <a:pt x="142" y="399"/>
                        <a:pt x="142" y="399"/>
                        <a:pt x="142" y="399"/>
                      </a:cubicBezTo>
                      <a:cubicBezTo>
                        <a:pt x="144" y="400"/>
                        <a:pt x="145" y="402"/>
                        <a:pt x="146" y="404"/>
                      </a:cubicBezTo>
                      <a:cubicBezTo>
                        <a:pt x="147" y="404"/>
                        <a:pt x="147" y="404"/>
                        <a:pt x="147" y="404"/>
                      </a:cubicBezTo>
                      <a:cubicBezTo>
                        <a:pt x="148" y="406"/>
                        <a:pt x="149" y="407"/>
                        <a:pt x="150" y="409"/>
                      </a:cubicBezTo>
                      <a:cubicBezTo>
                        <a:pt x="150" y="409"/>
                        <a:pt x="150" y="409"/>
                        <a:pt x="151" y="409"/>
                      </a:cubicBezTo>
                      <a:cubicBezTo>
                        <a:pt x="153" y="413"/>
                        <a:pt x="156" y="416"/>
                        <a:pt x="158" y="420"/>
                      </a:cubicBezTo>
                      <a:cubicBezTo>
                        <a:pt x="162" y="391"/>
                        <a:pt x="165" y="361"/>
                        <a:pt x="165" y="330"/>
                      </a:cubicBezTo>
                      <a:cubicBezTo>
                        <a:pt x="165" y="156"/>
                        <a:pt x="92" y="14"/>
                        <a:pt x="0" y="0"/>
                      </a:cubicBezTo>
                      <a:cubicBezTo>
                        <a:pt x="1" y="0"/>
                        <a:pt x="1" y="1"/>
                        <a:pt x="2" y="2"/>
                      </a:cubicBez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</p:grpSp>
          <p:grpSp>
            <p:nvGrpSpPr>
              <p:cNvPr id="233" name="íṥlïḋé">
                <a:extLst>
                  <a:ext uri="{FF2B5EF4-FFF2-40B4-BE49-F238E27FC236}">
                    <a16:creationId xmlns:a16="http://schemas.microsoft.com/office/drawing/2014/main" id="{93F8D072-B49E-415B-9E46-31C2A552F7F9}"/>
                  </a:ext>
                </a:extLst>
              </p:cNvPr>
              <p:cNvGrpSpPr/>
              <p:nvPr/>
            </p:nvGrpSpPr>
            <p:grpSpPr>
              <a:xfrm>
                <a:off x="5590257" y="1928332"/>
                <a:ext cx="1656387" cy="3397261"/>
                <a:chOff x="5590257" y="1928332"/>
                <a:chExt cx="1656387" cy="3397261"/>
              </a:xfrm>
            </p:grpSpPr>
            <p:sp>
              <p:nvSpPr>
                <p:cNvPr id="234" name="išḷîďe">
                  <a:extLst>
                    <a:ext uri="{FF2B5EF4-FFF2-40B4-BE49-F238E27FC236}">
                      <a16:creationId xmlns:a16="http://schemas.microsoft.com/office/drawing/2014/main" id="{BBB7D41A-44F1-4656-8707-A3CB196655EB}"/>
                    </a:ext>
                  </a:extLst>
                </p:cNvPr>
                <p:cNvSpPr/>
                <p:nvPr/>
              </p:nvSpPr>
              <p:spPr bwMode="auto">
                <a:xfrm>
                  <a:off x="6146091" y="4233934"/>
                  <a:ext cx="546941" cy="549165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235" name="íṥḻiďé">
                  <a:extLst>
                    <a:ext uri="{FF2B5EF4-FFF2-40B4-BE49-F238E27FC236}">
                      <a16:creationId xmlns:a16="http://schemas.microsoft.com/office/drawing/2014/main" id="{744B39AA-5F45-479D-8DD6-4CC7ACA0DBB0}"/>
                    </a:ext>
                  </a:extLst>
                </p:cNvPr>
                <p:cNvSpPr/>
                <p:nvPr/>
              </p:nvSpPr>
              <p:spPr bwMode="auto">
                <a:xfrm>
                  <a:off x="6197228" y="4291741"/>
                  <a:ext cx="444668" cy="626981"/>
                </a:xfrm>
                <a:prstGeom prst="ellipse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236" name="îŝḷîḍé">
                  <a:extLst>
                    <a:ext uri="{FF2B5EF4-FFF2-40B4-BE49-F238E27FC236}">
                      <a16:creationId xmlns:a16="http://schemas.microsoft.com/office/drawing/2014/main" id="{616B67E0-AD68-4B71-AA9D-FF5AE22C70D1}"/>
                    </a:ext>
                  </a:extLst>
                </p:cNvPr>
                <p:cNvSpPr/>
                <p:nvPr/>
              </p:nvSpPr>
              <p:spPr bwMode="auto">
                <a:xfrm>
                  <a:off x="6255035" y="4345101"/>
                  <a:ext cx="326831" cy="711468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237" name="ísḷîḓé">
                  <a:extLst>
                    <a:ext uri="{FF2B5EF4-FFF2-40B4-BE49-F238E27FC236}">
                      <a16:creationId xmlns:a16="http://schemas.microsoft.com/office/drawing/2014/main" id="{80464A37-08B5-4718-99AB-0FB5410A0D1B}"/>
                    </a:ext>
                  </a:extLst>
                </p:cNvPr>
                <p:cNvSpPr/>
                <p:nvPr/>
              </p:nvSpPr>
              <p:spPr bwMode="auto">
                <a:xfrm>
                  <a:off x="6308395" y="4396237"/>
                  <a:ext cx="222334" cy="791509"/>
                </a:xfrm>
                <a:prstGeom prst="ellipse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238" name="ïşļiḋé">
                  <a:extLst>
                    <a:ext uri="{FF2B5EF4-FFF2-40B4-BE49-F238E27FC236}">
                      <a16:creationId xmlns:a16="http://schemas.microsoft.com/office/drawing/2014/main" id="{CDCDA43D-83AB-43DC-844D-A44A9DAEE887}"/>
                    </a:ext>
                  </a:extLst>
                </p:cNvPr>
                <p:cNvSpPr/>
                <p:nvPr/>
              </p:nvSpPr>
              <p:spPr bwMode="auto">
                <a:xfrm>
                  <a:off x="6366202" y="4454044"/>
                  <a:ext cx="106720" cy="871549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239" name="iSľïḑe">
                  <a:extLst>
                    <a:ext uri="{FF2B5EF4-FFF2-40B4-BE49-F238E27FC236}">
                      <a16:creationId xmlns:a16="http://schemas.microsoft.com/office/drawing/2014/main" id="{1A9DD8A0-7062-4354-812F-C04067DA090D}"/>
                    </a:ext>
                  </a:extLst>
                </p:cNvPr>
                <p:cNvSpPr/>
                <p:nvPr/>
              </p:nvSpPr>
              <p:spPr bwMode="auto">
                <a:xfrm>
                  <a:off x="5590257" y="3304578"/>
                  <a:ext cx="1656387" cy="1018289"/>
                </a:xfrm>
                <a:custGeom>
                  <a:avLst/>
                  <a:gdLst>
                    <a:gd name="T0" fmla="*/ 157 w 314"/>
                    <a:gd name="T1" fmla="*/ 108 h 193"/>
                    <a:gd name="T2" fmla="*/ 310 w 314"/>
                    <a:gd name="T3" fmla="*/ 193 h 193"/>
                    <a:gd name="T4" fmla="*/ 314 w 314"/>
                    <a:gd name="T5" fmla="*/ 157 h 193"/>
                    <a:gd name="T6" fmla="*/ 157 w 314"/>
                    <a:gd name="T7" fmla="*/ 0 h 193"/>
                    <a:gd name="T8" fmla="*/ 0 w 314"/>
                    <a:gd name="T9" fmla="*/ 157 h 193"/>
                    <a:gd name="T10" fmla="*/ 4 w 314"/>
                    <a:gd name="T11" fmla="*/ 193 h 193"/>
                    <a:gd name="T12" fmla="*/ 157 w 314"/>
                    <a:gd name="T13" fmla="*/ 108 h 1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14" h="193">
                      <a:moveTo>
                        <a:pt x="157" y="108"/>
                      </a:moveTo>
                      <a:cubicBezTo>
                        <a:pt x="231" y="108"/>
                        <a:pt x="294" y="124"/>
                        <a:pt x="310" y="193"/>
                      </a:cubicBezTo>
                      <a:cubicBezTo>
                        <a:pt x="313" y="182"/>
                        <a:pt x="314" y="170"/>
                        <a:pt x="314" y="157"/>
                      </a:cubicBezTo>
                      <a:cubicBezTo>
                        <a:pt x="314" y="71"/>
                        <a:pt x="244" y="0"/>
                        <a:pt x="157" y="0"/>
                      </a:cubicBezTo>
                      <a:cubicBezTo>
                        <a:pt x="70" y="0"/>
                        <a:pt x="0" y="71"/>
                        <a:pt x="0" y="157"/>
                      </a:cubicBezTo>
                      <a:cubicBezTo>
                        <a:pt x="0" y="170"/>
                        <a:pt x="1" y="182"/>
                        <a:pt x="4" y="193"/>
                      </a:cubicBezTo>
                      <a:cubicBezTo>
                        <a:pt x="20" y="124"/>
                        <a:pt x="83" y="108"/>
                        <a:pt x="157" y="108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240" name="išḻïḍê">
                  <a:extLst>
                    <a:ext uri="{FF2B5EF4-FFF2-40B4-BE49-F238E27FC236}">
                      <a16:creationId xmlns:a16="http://schemas.microsoft.com/office/drawing/2014/main" id="{72AC4040-B1B5-425B-A48A-E7474E3DC1E5}"/>
                    </a:ext>
                  </a:extLst>
                </p:cNvPr>
                <p:cNvSpPr/>
                <p:nvPr/>
              </p:nvSpPr>
              <p:spPr bwMode="auto">
                <a:xfrm>
                  <a:off x="5923757" y="1928332"/>
                  <a:ext cx="996056" cy="2236679"/>
                </a:xfrm>
                <a:custGeom>
                  <a:avLst/>
                  <a:gdLst>
                    <a:gd name="T0" fmla="*/ 155 w 189"/>
                    <a:gd name="T1" fmla="*/ 424 h 424"/>
                    <a:gd name="T2" fmla="*/ 177 w 189"/>
                    <a:gd name="T3" fmla="*/ 207 h 424"/>
                    <a:gd name="T4" fmla="*/ 94 w 189"/>
                    <a:gd name="T5" fmla="*/ 0 h 424"/>
                    <a:gd name="T6" fmla="*/ 94 w 189"/>
                    <a:gd name="T7" fmla="*/ 0 h 424"/>
                    <a:gd name="T8" fmla="*/ 94 w 189"/>
                    <a:gd name="T9" fmla="*/ 0 h 424"/>
                    <a:gd name="T10" fmla="*/ 94 w 189"/>
                    <a:gd name="T11" fmla="*/ 0 h 424"/>
                    <a:gd name="T12" fmla="*/ 94 w 189"/>
                    <a:gd name="T13" fmla="*/ 0 h 424"/>
                    <a:gd name="T14" fmla="*/ 11 w 189"/>
                    <a:gd name="T15" fmla="*/ 207 h 424"/>
                    <a:gd name="T16" fmla="*/ 33 w 189"/>
                    <a:gd name="T17" fmla="*/ 424 h 424"/>
                    <a:gd name="T18" fmla="*/ 94 w 189"/>
                    <a:gd name="T19" fmla="*/ 417 h 424"/>
                    <a:gd name="T20" fmla="*/ 155 w 189"/>
                    <a:gd name="T21" fmla="*/ 424 h 4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89" h="424">
                      <a:moveTo>
                        <a:pt x="155" y="424"/>
                      </a:moveTo>
                      <a:cubicBezTo>
                        <a:pt x="155" y="424"/>
                        <a:pt x="189" y="341"/>
                        <a:pt x="177" y="207"/>
                      </a:cubicBezTo>
                      <a:cubicBezTo>
                        <a:pt x="164" y="55"/>
                        <a:pt x="94" y="0"/>
                        <a:pt x="94" y="0"/>
                      </a:cubicBezTo>
                      <a:cubicBezTo>
                        <a:pt x="94" y="0"/>
                        <a:pt x="94" y="0"/>
                        <a:pt x="94" y="0"/>
                      </a:cubicBezTo>
                      <a:cubicBezTo>
                        <a:pt x="94" y="0"/>
                        <a:pt x="94" y="0"/>
                        <a:pt x="94" y="0"/>
                      </a:cubicBezTo>
                      <a:cubicBezTo>
                        <a:pt x="94" y="0"/>
                        <a:pt x="94" y="0"/>
                        <a:pt x="94" y="0"/>
                      </a:cubicBezTo>
                      <a:cubicBezTo>
                        <a:pt x="94" y="0"/>
                        <a:pt x="94" y="0"/>
                        <a:pt x="94" y="0"/>
                      </a:cubicBezTo>
                      <a:cubicBezTo>
                        <a:pt x="94" y="0"/>
                        <a:pt x="24" y="55"/>
                        <a:pt x="11" y="207"/>
                      </a:cubicBezTo>
                      <a:cubicBezTo>
                        <a:pt x="0" y="341"/>
                        <a:pt x="33" y="424"/>
                        <a:pt x="33" y="424"/>
                      </a:cubicBezTo>
                      <a:cubicBezTo>
                        <a:pt x="33" y="424"/>
                        <a:pt x="42" y="417"/>
                        <a:pt x="94" y="417"/>
                      </a:cubicBezTo>
                      <a:cubicBezTo>
                        <a:pt x="146" y="417"/>
                        <a:pt x="155" y="424"/>
                        <a:pt x="155" y="424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241" name="iṧḻîdè">
                  <a:extLst>
                    <a:ext uri="{FF2B5EF4-FFF2-40B4-BE49-F238E27FC236}">
                      <a16:creationId xmlns:a16="http://schemas.microsoft.com/office/drawing/2014/main" id="{1302E881-7547-4130-B116-95C84001E72F}"/>
                    </a:ext>
                  </a:extLst>
                </p:cNvPr>
                <p:cNvSpPr/>
                <p:nvPr/>
              </p:nvSpPr>
              <p:spPr bwMode="auto">
                <a:xfrm>
                  <a:off x="6372872" y="2988864"/>
                  <a:ext cx="93380" cy="88934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242" name="íš1îḍe">
                  <a:extLst>
                    <a:ext uri="{FF2B5EF4-FFF2-40B4-BE49-F238E27FC236}">
                      <a16:creationId xmlns:a16="http://schemas.microsoft.com/office/drawing/2014/main" id="{E9D2F30B-4716-4123-9EB0-5A11FFAA336C}"/>
                    </a:ext>
                  </a:extLst>
                </p:cNvPr>
                <p:cNvSpPr/>
                <p:nvPr/>
              </p:nvSpPr>
              <p:spPr bwMode="auto">
                <a:xfrm>
                  <a:off x="6372872" y="3177848"/>
                  <a:ext cx="93380" cy="88934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243" name="ïṣ1iḓê">
                  <a:extLst>
                    <a:ext uri="{FF2B5EF4-FFF2-40B4-BE49-F238E27FC236}">
                      <a16:creationId xmlns:a16="http://schemas.microsoft.com/office/drawing/2014/main" id="{77B1C84B-169B-4DF2-9DC0-1E5B4F31C3FE}"/>
                    </a:ext>
                  </a:extLst>
                </p:cNvPr>
                <p:cNvSpPr/>
                <p:nvPr/>
              </p:nvSpPr>
              <p:spPr bwMode="auto">
                <a:xfrm>
                  <a:off x="6372872" y="3369055"/>
                  <a:ext cx="93380" cy="88934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244" name="íṩliďê">
                  <a:extLst>
                    <a:ext uri="{FF2B5EF4-FFF2-40B4-BE49-F238E27FC236}">
                      <a16:creationId xmlns:a16="http://schemas.microsoft.com/office/drawing/2014/main" id="{C2A86508-75D6-4875-BF44-C48CD874B111}"/>
                    </a:ext>
                  </a:extLst>
                </p:cNvPr>
                <p:cNvSpPr/>
                <p:nvPr/>
              </p:nvSpPr>
              <p:spPr bwMode="auto">
                <a:xfrm>
                  <a:off x="6372872" y="3558039"/>
                  <a:ext cx="93380" cy="88934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245" name="iṧ1îḍé">
                  <a:extLst>
                    <a:ext uri="{FF2B5EF4-FFF2-40B4-BE49-F238E27FC236}">
                      <a16:creationId xmlns:a16="http://schemas.microsoft.com/office/drawing/2014/main" id="{816AEA05-2210-46D4-A099-4C3E94D87F10}"/>
                    </a:ext>
                  </a:extLst>
                </p:cNvPr>
                <p:cNvSpPr/>
                <p:nvPr/>
              </p:nvSpPr>
              <p:spPr bwMode="auto">
                <a:xfrm>
                  <a:off x="6372872" y="3747023"/>
                  <a:ext cx="93380" cy="91157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246" name="îṩḷïḑe">
                  <a:extLst>
                    <a:ext uri="{FF2B5EF4-FFF2-40B4-BE49-F238E27FC236}">
                      <a16:creationId xmlns:a16="http://schemas.microsoft.com/office/drawing/2014/main" id="{22E3197F-3A2A-43DE-86B9-0BDD10BB16D3}"/>
                    </a:ext>
                  </a:extLst>
                </p:cNvPr>
                <p:cNvSpPr/>
                <p:nvPr/>
              </p:nvSpPr>
              <p:spPr bwMode="auto">
                <a:xfrm>
                  <a:off x="6230578" y="2433030"/>
                  <a:ext cx="377968" cy="15341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</p:grpSp>
        </p:grpSp>
        <p:grpSp>
          <p:nvGrpSpPr>
            <p:cNvPr id="207" name="îsḻiḓè">
              <a:extLst>
                <a:ext uri="{FF2B5EF4-FFF2-40B4-BE49-F238E27FC236}">
                  <a16:creationId xmlns:a16="http://schemas.microsoft.com/office/drawing/2014/main" id="{12281423-FF8B-406C-9BA1-C0FFC7D90C91}"/>
                </a:ext>
              </a:extLst>
            </p:cNvPr>
            <p:cNvGrpSpPr/>
            <p:nvPr/>
          </p:nvGrpSpPr>
          <p:grpSpPr>
            <a:xfrm>
              <a:off x="4774922" y="2363530"/>
              <a:ext cx="731520" cy="731520"/>
              <a:chOff x="4774922" y="2363530"/>
              <a:chExt cx="731520" cy="731520"/>
            </a:xfrm>
          </p:grpSpPr>
          <p:sp>
            <p:nvSpPr>
              <p:cNvPr id="230" name="îṣļíďe">
                <a:extLst>
                  <a:ext uri="{FF2B5EF4-FFF2-40B4-BE49-F238E27FC236}">
                    <a16:creationId xmlns:a16="http://schemas.microsoft.com/office/drawing/2014/main" id="{59819E65-0004-4F41-8609-4BB0D25798D4}"/>
                  </a:ext>
                </a:extLst>
              </p:cNvPr>
              <p:cNvSpPr/>
              <p:nvPr/>
            </p:nvSpPr>
            <p:spPr>
              <a:xfrm>
                <a:off x="4774922" y="2363530"/>
                <a:ext cx="731520" cy="731520"/>
              </a:xfrm>
              <a:prstGeom prst="ellipse">
                <a:avLst/>
              </a:prstGeom>
              <a:solidFill>
                <a:schemeClr val="accent1"/>
              </a:solidFill>
              <a:ln w="1270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/>
              </a:p>
            </p:txBody>
          </p:sp>
          <p:sp>
            <p:nvSpPr>
              <p:cNvPr id="231" name="iş1iḍê">
                <a:extLst>
                  <a:ext uri="{FF2B5EF4-FFF2-40B4-BE49-F238E27FC236}">
                    <a16:creationId xmlns:a16="http://schemas.microsoft.com/office/drawing/2014/main" id="{3AEDA3FE-F46E-40CF-A55C-BD7A45353244}"/>
                  </a:ext>
                </a:extLst>
              </p:cNvPr>
              <p:cNvSpPr/>
              <p:nvPr/>
            </p:nvSpPr>
            <p:spPr bwMode="auto">
              <a:xfrm flipH="1">
                <a:off x="4979764" y="2512051"/>
                <a:ext cx="321835" cy="434478"/>
              </a:xfrm>
              <a:custGeom>
                <a:avLst/>
                <a:gdLst>
                  <a:gd name="connsiteX0" fmla="*/ 85725 w 381000"/>
                  <a:gd name="connsiteY0" fmla="*/ 38100 h 514350"/>
                  <a:gd name="connsiteX1" fmla="*/ 85725 w 381000"/>
                  <a:gd name="connsiteY1" fmla="*/ 57150 h 514350"/>
                  <a:gd name="connsiteX2" fmla="*/ 121920 w 381000"/>
                  <a:gd name="connsiteY2" fmla="*/ 95250 h 514350"/>
                  <a:gd name="connsiteX3" fmla="*/ 123825 w 381000"/>
                  <a:gd name="connsiteY3" fmla="*/ 95250 h 514350"/>
                  <a:gd name="connsiteX4" fmla="*/ 257175 w 381000"/>
                  <a:gd name="connsiteY4" fmla="*/ 95250 h 514350"/>
                  <a:gd name="connsiteX5" fmla="*/ 295275 w 381000"/>
                  <a:gd name="connsiteY5" fmla="*/ 59055 h 514350"/>
                  <a:gd name="connsiteX6" fmla="*/ 295275 w 381000"/>
                  <a:gd name="connsiteY6" fmla="*/ 57150 h 514350"/>
                  <a:gd name="connsiteX7" fmla="*/ 295275 w 381000"/>
                  <a:gd name="connsiteY7" fmla="*/ 38100 h 514350"/>
                  <a:gd name="connsiteX8" fmla="*/ 352425 w 381000"/>
                  <a:gd name="connsiteY8" fmla="*/ 38100 h 514350"/>
                  <a:gd name="connsiteX9" fmla="*/ 381000 w 381000"/>
                  <a:gd name="connsiteY9" fmla="*/ 66675 h 514350"/>
                  <a:gd name="connsiteX10" fmla="*/ 381000 w 381000"/>
                  <a:gd name="connsiteY10" fmla="*/ 485775 h 514350"/>
                  <a:gd name="connsiteX11" fmla="*/ 352425 w 381000"/>
                  <a:gd name="connsiteY11" fmla="*/ 514350 h 514350"/>
                  <a:gd name="connsiteX12" fmla="*/ 28575 w 381000"/>
                  <a:gd name="connsiteY12" fmla="*/ 514350 h 514350"/>
                  <a:gd name="connsiteX13" fmla="*/ 0 w 381000"/>
                  <a:gd name="connsiteY13" fmla="*/ 485775 h 514350"/>
                  <a:gd name="connsiteX14" fmla="*/ 0 w 381000"/>
                  <a:gd name="connsiteY14" fmla="*/ 66675 h 514350"/>
                  <a:gd name="connsiteX15" fmla="*/ 28575 w 381000"/>
                  <a:gd name="connsiteY15" fmla="*/ 38100 h 514350"/>
                  <a:gd name="connsiteX16" fmla="*/ 85725 w 381000"/>
                  <a:gd name="connsiteY16" fmla="*/ 38100 h 514350"/>
                  <a:gd name="connsiteX17" fmla="*/ 190500 w 381000"/>
                  <a:gd name="connsiteY17" fmla="*/ 333375 h 514350"/>
                  <a:gd name="connsiteX18" fmla="*/ 76200 w 381000"/>
                  <a:gd name="connsiteY18" fmla="*/ 333375 h 514350"/>
                  <a:gd name="connsiteX19" fmla="*/ 76200 w 381000"/>
                  <a:gd name="connsiteY19" fmla="*/ 352425 h 514350"/>
                  <a:gd name="connsiteX20" fmla="*/ 190500 w 381000"/>
                  <a:gd name="connsiteY20" fmla="*/ 352425 h 514350"/>
                  <a:gd name="connsiteX21" fmla="*/ 190500 w 381000"/>
                  <a:gd name="connsiteY21" fmla="*/ 333375 h 514350"/>
                  <a:gd name="connsiteX22" fmla="*/ 304800 w 381000"/>
                  <a:gd name="connsiteY22" fmla="*/ 257175 h 514350"/>
                  <a:gd name="connsiteX23" fmla="*/ 76200 w 381000"/>
                  <a:gd name="connsiteY23" fmla="*/ 257175 h 514350"/>
                  <a:gd name="connsiteX24" fmla="*/ 76200 w 381000"/>
                  <a:gd name="connsiteY24" fmla="*/ 276225 h 514350"/>
                  <a:gd name="connsiteX25" fmla="*/ 304800 w 381000"/>
                  <a:gd name="connsiteY25" fmla="*/ 276225 h 514350"/>
                  <a:gd name="connsiteX26" fmla="*/ 304800 w 381000"/>
                  <a:gd name="connsiteY26" fmla="*/ 257175 h 514350"/>
                  <a:gd name="connsiteX27" fmla="*/ 304800 w 381000"/>
                  <a:gd name="connsiteY27" fmla="*/ 180975 h 514350"/>
                  <a:gd name="connsiteX28" fmla="*/ 76200 w 381000"/>
                  <a:gd name="connsiteY28" fmla="*/ 180975 h 514350"/>
                  <a:gd name="connsiteX29" fmla="*/ 76200 w 381000"/>
                  <a:gd name="connsiteY29" fmla="*/ 200025 h 514350"/>
                  <a:gd name="connsiteX30" fmla="*/ 304800 w 381000"/>
                  <a:gd name="connsiteY30" fmla="*/ 200025 h 514350"/>
                  <a:gd name="connsiteX31" fmla="*/ 304800 w 381000"/>
                  <a:gd name="connsiteY31" fmla="*/ 180975 h 514350"/>
                  <a:gd name="connsiteX32" fmla="*/ 247650 w 381000"/>
                  <a:gd name="connsiteY32" fmla="*/ 0 h 514350"/>
                  <a:gd name="connsiteX33" fmla="*/ 276225 w 381000"/>
                  <a:gd name="connsiteY33" fmla="*/ 28575 h 514350"/>
                  <a:gd name="connsiteX34" fmla="*/ 276225 w 381000"/>
                  <a:gd name="connsiteY34" fmla="*/ 47625 h 514350"/>
                  <a:gd name="connsiteX35" fmla="*/ 247650 w 381000"/>
                  <a:gd name="connsiteY35" fmla="*/ 76200 h 514350"/>
                  <a:gd name="connsiteX36" fmla="*/ 133350 w 381000"/>
                  <a:gd name="connsiteY36" fmla="*/ 76200 h 514350"/>
                  <a:gd name="connsiteX37" fmla="*/ 104775 w 381000"/>
                  <a:gd name="connsiteY37" fmla="*/ 47625 h 514350"/>
                  <a:gd name="connsiteX38" fmla="*/ 104775 w 381000"/>
                  <a:gd name="connsiteY38" fmla="*/ 28575 h 514350"/>
                  <a:gd name="connsiteX39" fmla="*/ 133350 w 381000"/>
                  <a:gd name="connsiteY39" fmla="*/ 0 h 514350"/>
                  <a:gd name="connsiteX40" fmla="*/ 247650 w 381000"/>
                  <a:gd name="connsiteY40" fmla="*/ 0 h 514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81000" h="514350">
                    <a:moveTo>
                      <a:pt x="85725" y="38100"/>
                    </a:moveTo>
                    <a:lnTo>
                      <a:pt x="85725" y="57150"/>
                    </a:lnTo>
                    <a:cubicBezTo>
                      <a:pt x="85725" y="77534"/>
                      <a:pt x="101727" y="94202"/>
                      <a:pt x="121920" y="95250"/>
                    </a:cubicBezTo>
                    <a:lnTo>
                      <a:pt x="123825" y="95250"/>
                    </a:lnTo>
                    <a:lnTo>
                      <a:pt x="257175" y="95250"/>
                    </a:lnTo>
                    <a:cubicBezTo>
                      <a:pt x="277559" y="95250"/>
                      <a:pt x="294227" y="79248"/>
                      <a:pt x="295275" y="59055"/>
                    </a:cubicBezTo>
                    <a:lnTo>
                      <a:pt x="295275" y="57150"/>
                    </a:lnTo>
                    <a:lnTo>
                      <a:pt x="295275" y="38100"/>
                    </a:lnTo>
                    <a:lnTo>
                      <a:pt x="352425" y="38100"/>
                    </a:lnTo>
                    <a:cubicBezTo>
                      <a:pt x="368236" y="38100"/>
                      <a:pt x="381000" y="50864"/>
                      <a:pt x="381000" y="66675"/>
                    </a:cubicBezTo>
                    <a:lnTo>
                      <a:pt x="381000" y="485775"/>
                    </a:lnTo>
                    <a:cubicBezTo>
                      <a:pt x="381000" y="501587"/>
                      <a:pt x="368236" y="514350"/>
                      <a:pt x="352425" y="514350"/>
                    </a:cubicBezTo>
                    <a:lnTo>
                      <a:pt x="28575" y="514350"/>
                    </a:lnTo>
                    <a:cubicBezTo>
                      <a:pt x="12764" y="514350"/>
                      <a:pt x="0" y="501587"/>
                      <a:pt x="0" y="485775"/>
                    </a:cubicBezTo>
                    <a:lnTo>
                      <a:pt x="0" y="66675"/>
                    </a:lnTo>
                    <a:cubicBezTo>
                      <a:pt x="0" y="50864"/>
                      <a:pt x="12764" y="38100"/>
                      <a:pt x="28575" y="38100"/>
                    </a:cubicBezTo>
                    <a:lnTo>
                      <a:pt x="85725" y="38100"/>
                    </a:lnTo>
                    <a:close/>
                    <a:moveTo>
                      <a:pt x="190500" y="333375"/>
                    </a:moveTo>
                    <a:lnTo>
                      <a:pt x="76200" y="333375"/>
                    </a:lnTo>
                    <a:lnTo>
                      <a:pt x="76200" y="352425"/>
                    </a:lnTo>
                    <a:lnTo>
                      <a:pt x="190500" y="352425"/>
                    </a:lnTo>
                    <a:lnTo>
                      <a:pt x="190500" y="333375"/>
                    </a:lnTo>
                    <a:close/>
                    <a:moveTo>
                      <a:pt x="304800" y="257175"/>
                    </a:moveTo>
                    <a:lnTo>
                      <a:pt x="76200" y="257175"/>
                    </a:lnTo>
                    <a:lnTo>
                      <a:pt x="76200" y="276225"/>
                    </a:lnTo>
                    <a:lnTo>
                      <a:pt x="304800" y="276225"/>
                    </a:lnTo>
                    <a:lnTo>
                      <a:pt x="304800" y="257175"/>
                    </a:lnTo>
                    <a:close/>
                    <a:moveTo>
                      <a:pt x="304800" y="180975"/>
                    </a:moveTo>
                    <a:lnTo>
                      <a:pt x="76200" y="180975"/>
                    </a:lnTo>
                    <a:lnTo>
                      <a:pt x="76200" y="200025"/>
                    </a:lnTo>
                    <a:lnTo>
                      <a:pt x="304800" y="200025"/>
                    </a:lnTo>
                    <a:lnTo>
                      <a:pt x="304800" y="180975"/>
                    </a:lnTo>
                    <a:close/>
                    <a:moveTo>
                      <a:pt x="247650" y="0"/>
                    </a:moveTo>
                    <a:cubicBezTo>
                      <a:pt x="263461" y="0"/>
                      <a:pt x="276225" y="12763"/>
                      <a:pt x="276225" y="28575"/>
                    </a:cubicBezTo>
                    <a:lnTo>
                      <a:pt x="276225" y="47625"/>
                    </a:lnTo>
                    <a:cubicBezTo>
                      <a:pt x="276225" y="63437"/>
                      <a:pt x="263461" y="76200"/>
                      <a:pt x="247650" y="76200"/>
                    </a:cubicBezTo>
                    <a:lnTo>
                      <a:pt x="133350" y="76200"/>
                    </a:lnTo>
                    <a:cubicBezTo>
                      <a:pt x="117539" y="76200"/>
                      <a:pt x="104775" y="63437"/>
                      <a:pt x="104775" y="47625"/>
                    </a:cubicBezTo>
                    <a:lnTo>
                      <a:pt x="104775" y="28575"/>
                    </a:lnTo>
                    <a:cubicBezTo>
                      <a:pt x="104775" y="12763"/>
                      <a:pt x="117539" y="0"/>
                      <a:pt x="133350" y="0"/>
                    </a:cubicBezTo>
                    <a:lnTo>
                      <a:pt x="24765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id-ID"/>
              </a:p>
            </p:txBody>
          </p:sp>
        </p:grpSp>
        <p:grpSp>
          <p:nvGrpSpPr>
            <p:cNvPr id="208" name="íšḷiḑè">
              <a:extLst>
                <a:ext uri="{FF2B5EF4-FFF2-40B4-BE49-F238E27FC236}">
                  <a16:creationId xmlns:a16="http://schemas.microsoft.com/office/drawing/2014/main" id="{427C9098-DD4F-4579-A443-4F592A3593DA}"/>
                </a:ext>
              </a:extLst>
            </p:cNvPr>
            <p:cNvGrpSpPr/>
            <p:nvPr/>
          </p:nvGrpSpPr>
          <p:grpSpPr>
            <a:xfrm>
              <a:off x="5640518" y="2198851"/>
              <a:ext cx="2263594" cy="1111889"/>
              <a:chOff x="8429020" y="3161137"/>
              <a:chExt cx="3093055" cy="1111889"/>
            </a:xfrm>
          </p:grpSpPr>
          <p:sp>
            <p:nvSpPr>
              <p:cNvPr id="228" name="íṣľíďê">
                <a:extLst>
                  <a:ext uri="{FF2B5EF4-FFF2-40B4-BE49-F238E27FC236}">
                    <a16:creationId xmlns:a16="http://schemas.microsoft.com/office/drawing/2014/main" id="{09CADDC0-25F9-43B9-8DFA-ECB6488A8DE8}"/>
                  </a:ext>
                </a:extLst>
              </p:cNvPr>
              <p:cNvSpPr/>
              <p:nvPr/>
            </p:nvSpPr>
            <p:spPr bwMode="auto">
              <a:xfrm>
                <a:off x="8429020" y="3548735"/>
                <a:ext cx="3093055" cy="7242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229" name="ís1iḑé">
                <a:extLst>
                  <a:ext uri="{FF2B5EF4-FFF2-40B4-BE49-F238E27FC236}">
                    <a16:creationId xmlns:a16="http://schemas.microsoft.com/office/drawing/2014/main" id="{37CA12E2-25E5-4C61-B133-CC8DC85D32CF}"/>
                  </a:ext>
                </a:extLst>
              </p:cNvPr>
              <p:cNvSpPr txBox="1"/>
              <p:nvPr/>
            </p:nvSpPr>
            <p:spPr bwMode="auto">
              <a:xfrm>
                <a:off x="8429020" y="3161137"/>
                <a:ext cx="3093055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209" name="iśļïḑè">
              <a:extLst>
                <a:ext uri="{FF2B5EF4-FFF2-40B4-BE49-F238E27FC236}">
                  <a16:creationId xmlns:a16="http://schemas.microsoft.com/office/drawing/2014/main" id="{BCD4A0EA-CDC1-49CB-BB02-9016B1959E8A}"/>
                </a:ext>
              </a:extLst>
            </p:cNvPr>
            <p:cNvGrpSpPr/>
            <p:nvPr/>
          </p:nvGrpSpPr>
          <p:grpSpPr>
            <a:xfrm>
              <a:off x="9255306" y="2198851"/>
              <a:ext cx="2263594" cy="1111889"/>
              <a:chOff x="8429020" y="3161137"/>
              <a:chExt cx="3093055" cy="1111889"/>
            </a:xfrm>
          </p:grpSpPr>
          <p:sp>
            <p:nvSpPr>
              <p:cNvPr id="226" name="íšḻïḑè">
                <a:extLst>
                  <a:ext uri="{FF2B5EF4-FFF2-40B4-BE49-F238E27FC236}">
                    <a16:creationId xmlns:a16="http://schemas.microsoft.com/office/drawing/2014/main" id="{2047798C-8692-4E1F-9446-5AD730611C6D}"/>
                  </a:ext>
                </a:extLst>
              </p:cNvPr>
              <p:cNvSpPr/>
              <p:nvPr/>
            </p:nvSpPr>
            <p:spPr bwMode="auto">
              <a:xfrm>
                <a:off x="8429020" y="3548735"/>
                <a:ext cx="3093055" cy="7242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227" name="îŝ1ïḍé">
                <a:extLst>
                  <a:ext uri="{FF2B5EF4-FFF2-40B4-BE49-F238E27FC236}">
                    <a16:creationId xmlns:a16="http://schemas.microsoft.com/office/drawing/2014/main" id="{446C40BA-38FA-4B46-95C0-61ADFA05E7F3}"/>
                  </a:ext>
                </a:extLst>
              </p:cNvPr>
              <p:cNvSpPr txBox="1"/>
              <p:nvPr/>
            </p:nvSpPr>
            <p:spPr bwMode="auto">
              <a:xfrm>
                <a:off x="8429020" y="3161137"/>
                <a:ext cx="3093055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210" name="iṥľîḓe">
              <a:extLst>
                <a:ext uri="{FF2B5EF4-FFF2-40B4-BE49-F238E27FC236}">
                  <a16:creationId xmlns:a16="http://schemas.microsoft.com/office/drawing/2014/main" id="{ED91B085-FBE0-4BDF-A7A0-EA51A028B981}"/>
                </a:ext>
              </a:extLst>
            </p:cNvPr>
            <p:cNvGrpSpPr/>
            <p:nvPr/>
          </p:nvGrpSpPr>
          <p:grpSpPr>
            <a:xfrm>
              <a:off x="5640518" y="3898223"/>
              <a:ext cx="2263594" cy="1111889"/>
              <a:chOff x="8429020" y="3161137"/>
              <a:chExt cx="3093055" cy="1111889"/>
            </a:xfrm>
          </p:grpSpPr>
          <p:sp>
            <p:nvSpPr>
              <p:cNvPr id="224" name="ï$ḷîḓê">
                <a:extLst>
                  <a:ext uri="{FF2B5EF4-FFF2-40B4-BE49-F238E27FC236}">
                    <a16:creationId xmlns:a16="http://schemas.microsoft.com/office/drawing/2014/main" id="{95EA81A2-C1FE-4FC5-84AA-2E7DCCE4F702}"/>
                  </a:ext>
                </a:extLst>
              </p:cNvPr>
              <p:cNvSpPr/>
              <p:nvPr/>
            </p:nvSpPr>
            <p:spPr bwMode="auto">
              <a:xfrm>
                <a:off x="8429020" y="3548735"/>
                <a:ext cx="3093055" cy="7242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225" name="ïşľíďe">
                <a:extLst>
                  <a:ext uri="{FF2B5EF4-FFF2-40B4-BE49-F238E27FC236}">
                    <a16:creationId xmlns:a16="http://schemas.microsoft.com/office/drawing/2014/main" id="{21C0DC96-1CBD-4657-8761-05E446154C38}"/>
                  </a:ext>
                </a:extLst>
              </p:cNvPr>
              <p:cNvSpPr txBox="1"/>
              <p:nvPr/>
            </p:nvSpPr>
            <p:spPr bwMode="auto">
              <a:xfrm>
                <a:off x="8429020" y="3161137"/>
                <a:ext cx="3093055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211" name="íṩľíḓê">
              <a:extLst>
                <a:ext uri="{FF2B5EF4-FFF2-40B4-BE49-F238E27FC236}">
                  <a16:creationId xmlns:a16="http://schemas.microsoft.com/office/drawing/2014/main" id="{B0728D61-6C8E-4F34-A2EE-7E7021A0829A}"/>
                </a:ext>
              </a:extLst>
            </p:cNvPr>
            <p:cNvGrpSpPr/>
            <p:nvPr/>
          </p:nvGrpSpPr>
          <p:grpSpPr>
            <a:xfrm>
              <a:off x="9255306" y="3898223"/>
              <a:ext cx="2263594" cy="1111889"/>
              <a:chOff x="8429020" y="3161137"/>
              <a:chExt cx="3093055" cy="1111889"/>
            </a:xfrm>
          </p:grpSpPr>
          <p:sp>
            <p:nvSpPr>
              <p:cNvPr id="222" name="íṩ1ïďe">
                <a:extLst>
                  <a:ext uri="{FF2B5EF4-FFF2-40B4-BE49-F238E27FC236}">
                    <a16:creationId xmlns:a16="http://schemas.microsoft.com/office/drawing/2014/main" id="{1B8F3940-78CD-4097-A556-A236355C0D89}"/>
                  </a:ext>
                </a:extLst>
              </p:cNvPr>
              <p:cNvSpPr/>
              <p:nvPr/>
            </p:nvSpPr>
            <p:spPr bwMode="auto">
              <a:xfrm>
                <a:off x="8429020" y="3548735"/>
                <a:ext cx="3093055" cy="7242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223" name="ïŝḷíďe">
                <a:extLst>
                  <a:ext uri="{FF2B5EF4-FFF2-40B4-BE49-F238E27FC236}">
                    <a16:creationId xmlns:a16="http://schemas.microsoft.com/office/drawing/2014/main" id="{9F690B82-A857-4118-9E25-782BB62FCED9}"/>
                  </a:ext>
                </a:extLst>
              </p:cNvPr>
              <p:cNvSpPr txBox="1"/>
              <p:nvPr/>
            </p:nvSpPr>
            <p:spPr bwMode="auto">
              <a:xfrm>
                <a:off x="8429020" y="3161137"/>
                <a:ext cx="3093055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212" name="iṥľîdè">
              <a:extLst>
                <a:ext uri="{FF2B5EF4-FFF2-40B4-BE49-F238E27FC236}">
                  <a16:creationId xmlns:a16="http://schemas.microsoft.com/office/drawing/2014/main" id="{3C7A0B16-164F-4174-91F1-095312AA2202}"/>
                </a:ext>
              </a:extLst>
            </p:cNvPr>
            <p:cNvGrpSpPr/>
            <p:nvPr/>
          </p:nvGrpSpPr>
          <p:grpSpPr>
            <a:xfrm>
              <a:off x="8389710" y="2363530"/>
              <a:ext cx="731520" cy="731520"/>
              <a:chOff x="8389710" y="2363530"/>
              <a:chExt cx="731520" cy="731520"/>
            </a:xfrm>
          </p:grpSpPr>
          <p:sp>
            <p:nvSpPr>
              <p:cNvPr id="220" name="îŝ1iďé">
                <a:extLst>
                  <a:ext uri="{FF2B5EF4-FFF2-40B4-BE49-F238E27FC236}">
                    <a16:creationId xmlns:a16="http://schemas.microsoft.com/office/drawing/2014/main" id="{91405FB7-7CA8-4202-B700-ED3D57195952}"/>
                  </a:ext>
                </a:extLst>
              </p:cNvPr>
              <p:cNvSpPr/>
              <p:nvPr/>
            </p:nvSpPr>
            <p:spPr>
              <a:xfrm>
                <a:off x="8389710" y="2363530"/>
                <a:ext cx="731520" cy="731520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270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/>
              </a:p>
            </p:txBody>
          </p:sp>
          <p:sp>
            <p:nvSpPr>
              <p:cNvPr id="221" name="i$ḷiḍê">
                <a:extLst>
                  <a:ext uri="{FF2B5EF4-FFF2-40B4-BE49-F238E27FC236}">
                    <a16:creationId xmlns:a16="http://schemas.microsoft.com/office/drawing/2014/main" id="{583D8154-5840-4244-BF18-1AA9DD8C766D}"/>
                  </a:ext>
                </a:extLst>
              </p:cNvPr>
              <p:cNvSpPr/>
              <p:nvPr/>
            </p:nvSpPr>
            <p:spPr bwMode="auto">
              <a:xfrm flipH="1">
                <a:off x="8572637" y="2562781"/>
                <a:ext cx="365666" cy="333017"/>
              </a:xfrm>
              <a:custGeom>
                <a:avLst/>
                <a:gdLst>
                  <a:gd name="connsiteX0" fmla="*/ 123825 w 533400"/>
                  <a:gd name="connsiteY0" fmla="*/ 228600 h 485775"/>
                  <a:gd name="connsiteX1" fmla="*/ 123825 w 533400"/>
                  <a:gd name="connsiteY1" fmla="*/ 276225 h 485775"/>
                  <a:gd name="connsiteX2" fmla="*/ 142875 w 533400"/>
                  <a:gd name="connsiteY2" fmla="*/ 276225 h 485775"/>
                  <a:gd name="connsiteX3" fmla="*/ 142875 w 533400"/>
                  <a:gd name="connsiteY3" fmla="*/ 228600 h 485775"/>
                  <a:gd name="connsiteX4" fmla="*/ 390525 w 533400"/>
                  <a:gd name="connsiteY4" fmla="*/ 228600 h 485775"/>
                  <a:gd name="connsiteX5" fmla="*/ 390525 w 533400"/>
                  <a:gd name="connsiteY5" fmla="*/ 276225 h 485775"/>
                  <a:gd name="connsiteX6" fmla="*/ 409575 w 533400"/>
                  <a:gd name="connsiteY6" fmla="*/ 276225 h 485775"/>
                  <a:gd name="connsiteX7" fmla="*/ 409575 w 533400"/>
                  <a:gd name="connsiteY7" fmla="*/ 228600 h 485775"/>
                  <a:gd name="connsiteX8" fmla="*/ 533400 w 533400"/>
                  <a:gd name="connsiteY8" fmla="*/ 228600 h 485775"/>
                  <a:gd name="connsiteX9" fmla="*/ 533400 w 533400"/>
                  <a:gd name="connsiteY9" fmla="*/ 457200 h 485775"/>
                  <a:gd name="connsiteX10" fmla="*/ 504825 w 533400"/>
                  <a:gd name="connsiteY10" fmla="*/ 485775 h 485775"/>
                  <a:gd name="connsiteX11" fmla="*/ 28575 w 533400"/>
                  <a:gd name="connsiteY11" fmla="*/ 485775 h 485775"/>
                  <a:gd name="connsiteX12" fmla="*/ 0 w 533400"/>
                  <a:gd name="connsiteY12" fmla="*/ 457200 h 485775"/>
                  <a:gd name="connsiteX13" fmla="*/ 0 w 533400"/>
                  <a:gd name="connsiteY13" fmla="*/ 228600 h 485775"/>
                  <a:gd name="connsiteX14" fmla="*/ 123825 w 533400"/>
                  <a:gd name="connsiteY14" fmla="*/ 228600 h 485775"/>
                  <a:gd name="connsiteX15" fmla="*/ 371475 w 533400"/>
                  <a:gd name="connsiteY15" fmla="*/ 0 h 485775"/>
                  <a:gd name="connsiteX16" fmla="*/ 409575 w 533400"/>
                  <a:gd name="connsiteY16" fmla="*/ 36195 h 485775"/>
                  <a:gd name="connsiteX17" fmla="*/ 409575 w 533400"/>
                  <a:gd name="connsiteY17" fmla="*/ 38100 h 485775"/>
                  <a:gd name="connsiteX18" fmla="*/ 409575 w 533400"/>
                  <a:gd name="connsiteY18" fmla="*/ 114300 h 485775"/>
                  <a:gd name="connsiteX19" fmla="*/ 504825 w 533400"/>
                  <a:gd name="connsiteY19" fmla="*/ 114300 h 485775"/>
                  <a:gd name="connsiteX20" fmla="*/ 533400 w 533400"/>
                  <a:gd name="connsiteY20" fmla="*/ 142875 h 485775"/>
                  <a:gd name="connsiteX21" fmla="*/ 533400 w 533400"/>
                  <a:gd name="connsiteY21" fmla="*/ 209550 h 485775"/>
                  <a:gd name="connsiteX22" fmla="*/ 0 w 533400"/>
                  <a:gd name="connsiteY22" fmla="*/ 209550 h 485775"/>
                  <a:gd name="connsiteX23" fmla="*/ 0 w 533400"/>
                  <a:gd name="connsiteY23" fmla="*/ 142875 h 485775"/>
                  <a:gd name="connsiteX24" fmla="*/ 28575 w 533400"/>
                  <a:gd name="connsiteY24" fmla="*/ 114300 h 485775"/>
                  <a:gd name="connsiteX25" fmla="*/ 123825 w 533400"/>
                  <a:gd name="connsiteY25" fmla="*/ 114300 h 485775"/>
                  <a:gd name="connsiteX26" fmla="*/ 123825 w 533400"/>
                  <a:gd name="connsiteY26" fmla="*/ 38100 h 485775"/>
                  <a:gd name="connsiteX27" fmla="*/ 160020 w 533400"/>
                  <a:gd name="connsiteY27" fmla="*/ 0 h 485775"/>
                  <a:gd name="connsiteX28" fmla="*/ 161925 w 533400"/>
                  <a:gd name="connsiteY28" fmla="*/ 0 h 485775"/>
                  <a:gd name="connsiteX29" fmla="*/ 371475 w 533400"/>
                  <a:gd name="connsiteY29" fmla="*/ 0 h 485775"/>
                  <a:gd name="connsiteX30" fmla="*/ 371475 w 533400"/>
                  <a:gd name="connsiteY30" fmla="*/ 19050 h 485775"/>
                  <a:gd name="connsiteX31" fmla="*/ 161925 w 533400"/>
                  <a:gd name="connsiteY31" fmla="*/ 19050 h 485775"/>
                  <a:gd name="connsiteX32" fmla="*/ 142970 w 533400"/>
                  <a:gd name="connsiteY32" fmla="*/ 36671 h 485775"/>
                  <a:gd name="connsiteX33" fmla="*/ 142875 w 533400"/>
                  <a:gd name="connsiteY33" fmla="*/ 38100 h 485775"/>
                  <a:gd name="connsiteX34" fmla="*/ 142875 w 533400"/>
                  <a:gd name="connsiteY34" fmla="*/ 114300 h 485775"/>
                  <a:gd name="connsiteX35" fmla="*/ 390525 w 533400"/>
                  <a:gd name="connsiteY35" fmla="*/ 114300 h 485775"/>
                  <a:gd name="connsiteX36" fmla="*/ 390525 w 533400"/>
                  <a:gd name="connsiteY36" fmla="*/ 38100 h 485775"/>
                  <a:gd name="connsiteX37" fmla="*/ 374333 w 533400"/>
                  <a:gd name="connsiteY37" fmla="*/ 19241 h 485775"/>
                  <a:gd name="connsiteX38" fmla="*/ 372904 w 533400"/>
                  <a:gd name="connsiteY38" fmla="*/ 19050 h 485775"/>
                  <a:gd name="connsiteX39" fmla="*/ 371475 w 533400"/>
                  <a:gd name="connsiteY39" fmla="*/ 19050 h 485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533400" h="485775">
                    <a:moveTo>
                      <a:pt x="123825" y="228600"/>
                    </a:moveTo>
                    <a:lnTo>
                      <a:pt x="123825" y="276225"/>
                    </a:lnTo>
                    <a:lnTo>
                      <a:pt x="142875" y="276225"/>
                    </a:lnTo>
                    <a:lnTo>
                      <a:pt x="142875" y="228600"/>
                    </a:lnTo>
                    <a:lnTo>
                      <a:pt x="390525" y="228600"/>
                    </a:lnTo>
                    <a:lnTo>
                      <a:pt x="390525" y="276225"/>
                    </a:lnTo>
                    <a:lnTo>
                      <a:pt x="409575" y="276225"/>
                    </a:lnTo>
                    <a:lnTo>
                      <a:pt x="409575" y="228600"/>
                    </a:lnTo>
                    <a:lnTo>
                      <a:pt x="533400" y="228600"/>
                    </a:lnTo>
                    <a:lnTo>
                      <a:pt x="533400" y="457200"/>
                    </a:lnTo>
                    <a:cubicBezTo>
                      <a:pt x="533400" y="473012"/>
                      <a:pt x="520637" y="485775"/>
                      <a:pt x="504825" y="485775"/>
                    </a:cubicBezTo>
                    <a:lnTo>
                      <a:pt x="28575" y="485775"/>
                    </a:lnTo>
                    <a:cubicBezTo>
                      <a:pt x="12763" y="485775"/>
                      <a:pt x="0" y="473012"/>
                      <a:pt x="0" y="457200"/>
                    </a:cubicBezTo>
                    <a:lnTo>
                      <a:pt x="0" y="228600"/>
                    </a:lnTo>
                    <a:lnTo>
                      <a:pt x="123825" y="228600"/>
                    </a:lnTo>
                    <a:close/>
                    <a:moveTo>
                      <a:pt x="371475" y="0"/>
                    </a:moveTo>
                    <a:cubicBezTo>
                      <a:pt x="391859" y="0"/>
                      <a:pt x="408527" y="16002"/>
                      <a:pt x="409575" y="36195"/>
                    </a:cubicBezTo>
                    <a:lnTo>
                      <a:pt x="409575" y="38100"/>
                    </a:lnTo>
                    <a:lnTo>
                      <a:pt x="409575" y="114300"/>
                    </a:lnTo>
                    <a:lnTo>
                      <a:pt x="504825" y="114300"/>
                    </a:lnTo>
                    <a:cubicBezTo>
                      <a:pt x="520637" y="114300"/>
                      <a:pt x="533400" y="127064"/>
                      <a:pt x="533400" y="142875"/>
                    </a:cubicBezTo>
                    <a:lnTo>
                      <a:pt x="533400" y="209550"/>
                    </a:lnTo>
                    <a:lnTo>
                      <a:pt x="0" y="209550"/>
                    </a:lnTo>
                    <a:lnTo>
                      <a:pt x="0" y="142875"/>
                    </a:lnTo>
                    <a:cubicBezTo>
                      <a:pt x="0" y="127064"/>
                      <a:pt x="12763" y="114300"/>
                      <a:pt x="28575" y="114300"/>
                    </a:cubicBezTo>
                    <a:lnTo>
                      <a:pt x="123825" y="114300"/>
                    </a:lnTo>
                    <a:lnTo>
                      <a:pt x="123825" y="38100"/>
                    </a:lnTo>
                    <a:cubicBezTo>
                      <a:pt x="123825" y="17716"/>
                      <a:pt x="139828" y="1048"/>
                      <a:pt x="160020" y="0"/>
                    </a:cubicBezTo>
                    <a:lnTo>
                      <a:pt x="161925" y="0"/>
                    </a:lnTo>
                    <a:lnTo>
                      <a:pt x="371475" y="0"/>
                    </a:lnTo>
                    <a:close/>
                    <a:moveTo>
                      <a:pt x="371475" y="19050"/>
                    </a:moveTo>
                    <a:lnTo>
                      <a:pt x="161925" y="19050"/>
                    </a:lnTo>
                    <a:cubicBezTo>
                      <a:pt x="151923" y="19050"/>
                      <a:pt x="143637" y="26861"/>
                      <a:pt x="142970" y="36671"/>
                    </a:cubicBezTo>
                    <a:lnTo>
                      <a:pt x="142875" y="38100"/>
                    </a:lnTo>
                    <a:lnTo>
                      <a:pt x="142875" y="114300"/>
                    </a:lnTo>
                    <a:lnTo>
                      <a:pt x="390525" y="114300"/>
                    </a:lnTo>
                    <a:lnTo>
                      <a:pt x="390525" y="38100"/>
                    </a:lnTo>
                    <a:cubicBezTo>
                      <a:pt x="390525" y="28575"/>
                      <a:pt x="383477" y="20669"/>
                      <a:pt x="374333" y="19241"/>
                    </a:cubicBezTo>
                    <a:lnTo>
                      <a:pt x="372904" y="19050"/>
                    </a:lnTo>
                    <a:lnTo>
                      <a:pt x="371475" y="1905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 dirty="0"/>
              </a:p>
            </p:txBody>
          </p:sp>
        </p:grpSp>
        <p:grpSp>
          <p:nvGrpSpPr>
            <p:cNvPr id="213" name="íṧḷîḋè">
              <a:extLst>
                <a:ext uri="{FF2B5EF4-FFF2-40B4-BE49-F238E27FC236}">
                  <a16:creationId xmlns:a16="http://schemas.microsoft.com/office/drawing/2014/main" id="{E0BB1B32-D1C3-415B-8373-26951CF2212A}"/>
                </a:ext>
              </a:extLst>
            </p:cNvPr>
            <p:cNvGrpSpPr/>
            <p:nvPr/>
          </p:nvGrpSpPr>
          <p:grpSpPr>
            <a:xfrm>
              <a:off x="8389710" y="4062902"/>
              <a:ext cx="731520" cy="731520"/>
              <a:chOff x="8389710" y="4062902"/>
              <a:chExt cx="731520" cy="731520"/>
            </a:xfrm>
          </p:grpSpPr>
          <p:sp>
            <p:nvSpPr>
              <p:cNvPr id="218" name="işľîḓe">
                <a:extLst>
                  <a:ext uri="{FF2B5EF4-FFF2-40B4-BE49-F238E27FC236}">
                    <a16:creationId xmlns:a16="http://schemas.microsoft.com/office/drawing/2014/main" id="{D0402660-E4A4-40DC-B230-4B5E0898F0BA}"/>
                  </a:ext>
                </a:extLst>
              </p:cNvPr>
              <p:cNvSpPr/>
              <p:nvPr/>
            </p:nvSpPr>
            <p:spPr>
              <a:xfrm>
                <a:off x="8389710" y="4062902"/>
                <a:ext cx="731520" cy="731520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270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/>
              </a:p>
            </p:txBody>
          </p:sp>
          <p:sp>
            <p:nvSpPr>
              <p:cNvPr id="219" name="iṥ1íḋè">
                <a:extLst>
                  <a:ext uri="{FF2B5EF4-FFF2-40B4-BE49-F238E27FC236}">
                    <a16:creationId xmlns:a16="http://schemas.microsoft.com/office/drawing/2014/main" id="{B498A34C-D605-4CC6-B882-05F84EEEDC9D}"/>
                  </a:ext>
                </a:extLst>
              </p:cNvPr>
              <p:cNvSpPr/>
              <p:nvPr/>
            </p:nvSpPr>
            <p:spPr bwMode="auto">
              <a:xfrm flipH="1">
                <a:off x="8592445" y="4249962"/>
                <a:ext cx="326049" cy="357400"/>
              </a:xfrm>
              <a:custGeom>
                <a:avLst/>
                <a:gdLst>
                  <a:gd name="connsiteX0" fmla="*/ 247650 w 495300"/>
                  <a:gd name="connsiteY0" fmla="*/ 0 h 542925"/>
                  <a:gd name="connsiteX1" fmla="*/ 495300 w 495300"/>
                  <a:gd name="connsiteY1" fmla="*/ 247650 h 542925"/>
                  <a:gd name="connsiteX2" fmla="*/ 322707 w 495300"/>
                  <a:gd name="connsiteY2" fmla="*/ 483775 h 542925"/>
                  <a:gd name="connsiteX3" fmla="*/ 345853 w 495300"/>
                  <a:gd name="connsiteY3" fmla="*/ 523875 h 542925"/>
                  <a:gd name="connsiteX4" fmla="*/ 419100 w 495300"/>
                  <a:gd name="connsiteY4" fmla="*/ 523875 h 542925"/>
                  <a:gd name="connsiteX5" fmla="*/ 419100 w 495300"/>
                  <a:gd name="connsiteY5" fmla="*/ 542925 h 542925"/>
                  <a:gd name="connsiteX6" fmla="*/ 76200 w 495300"/>
                  <a:gd name="connsiteY6" fmla="*/ 542925 h 542925"/>
                  <a:gd name="connsiteX7" fmla="*/ 76200 w 495300"/>
                  <a:gd name="connsiteY7" fmla="*/ 523875 h 542925"/>
                  <a:gd name="connsiteX8" fmla="*/ 149447 w 495300"/>
                  <a:gd name="connsiteY8" fmla="*/ 523875 h 542925"/>
                  <a:gd name="connsiteX9" fmla="*/ 172593 w 495300"/>
                  <a:gd name="connsiteY9" fmla="*/ 483775 h 542925"/>
                  <a:gd name="connsiteX10" fmla="*/ 0 w 495300"/>
                  <a:gd name="connsiteY10" fmla="*/ 247650 h 542925"/>
                  <a:gd name="connsiteX11" fmla="*/ 247650 w 495300"/>
                  <a:gd name="connsiteY11" fmla="*/ 0 h 542925"/>
                  <a:gd name="connsiteX12" fmla="*/ 191643 w 495300"/>
                  <a:gd name="connsiteY12" fmla="*/ 488918 h 542925"/>
                  <a:gd name="connsiteX13" fmla="*/ 171450 w 495300"/>
                  <a:gd name="connsiteY13" fmla="*/ 523875 h 542925"/>
                  <a:gd name="connsiteX14" fmla="*/ 323850 w 495300"/>
                  <a:gd name="connsiteY14" fmla="*/ 523875 h 542925"/>
                  <a:gd name="connsiteX15" fmla="*/ 303657 w 495300"/>
                  <a:gd name="connsiteY15" fmla="*/ 488918 h 542925"/>
                  <a:gd name="connsiteX16" fmla="*/ 247650 w 495300"/>
                  <a:gd name="connsiteY16" fmla="*/ 495300 h 542925"/>
                  <a:gd name="connsiteX17" fmla="*/ 191643 w 495300"/>
                  <a:gd name="connsiteY17" fmla="*/ 488918 h 542925"/>
                  <a:gd name="connsiteX18" fmla="*/ 247650 w 495300"/>
                  <a:gd name="connsiteY18" fmla="*/ 142875 h 542925"/>
                  <a:gd name="connsiteX19" fmla="*/ 142875 w 495300"/>
                  <a:gd name="connsiteY19" fmla="*/ 247650 h 542925"/>
                  <a:gd name="connsiteX20" fmla="*/ 247650 w 495300"/>
                  <a:gd name="connsiteY20" fmla="*/ 352425 h 542925"/>
                  <a:gd name="connsiteX21" fmla="*/ 352425 w 495300"/>
                  <a:gd name="connsiteY21" fmla="*/ 247650 h 542925"/>
                  <a:gd name="connsiteX22" fmla="*/ 247650 w 495300"/>
                  <a:gd name="connsiteY22" fmla="*/ 142875 h 542925"/>
                  <a:gd name="connsiteX23" fmla="*/ 366713 w 495300"/>
                  <a:gd name="connsiteY23" fmla="*/ 114300 h 542925"/>
                  <a:gd name="connsiteX24" fmla="*/ 352425 w 495300"/>
                  <a:gd name="connsiteY24" fmla="*/ 128588 h 542925"/>
                  <a:gd name="connsiteX25" fmla="*/ 366713 w 495300"/>
                  <a:gd name="connsiteY25" fmla="*/ 142875 h 542925"/>
                  <a:gd name="connsiteX26" fmla="*/ 381000 w 495300"/>
                  <a:gd name="connsiteY26" fmla="*/ 128588 h 542925"/>
                  <a:gd name="connsiteX27" fmla="*/ 366713 w 495300"/>
                  <a:gd name="connsiteY27" fmla="*/ 114300 h 542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495300" h="542925">
                    <a:moveTo>
                      <a:pt x="247650" y="0"/>
                    </a:moveTo>
                    <a:cubicBezTo>
                      <a:pt x="384429" y="0"/>
                      <a:pt x="495300" y="110871"/>
                      <a:pt x="495300" y="247650"/>
                    </a:cubicBezTo>
                    <a:cubicBezTo>
                      <a:pt x="495300" y="358235"/>
                      <a:pt x="422815" y="451961"/>
                      <a:pt x="322707" y="483775"/>
                    </a:cubicBezTo>
                    <a:lnTo>
                      <a:pt x="345853" y="523875"/>
                    </a:lnTo>
                    <a:lnTo>
                      <a:pt x="419100" y="523875"/>
                    </a:lnTo>
                    <a:lnTo>
                      <a:pt x="419100" y="542925"/>
                    </a:lnTo>
                    <a:lnTo>
                      <a:pt x="76200" y="542925"/>
                    </a:lnTo>
                    <a:lnTo>
                      <a:pt x="76200" y="523875"/>
                    </a:lnTo>
                    <a:lnTo>
                      <a:pt x="149447" y="523875"/>
                    </a:lnTo>
                    <a:lnTo>
                      <a:pt x="172593" y="483775"/>
                    </a:lnTo>
                    <a:cubicBezTo>
                      <a:pt x="72485" y="451961"/>
                      <a:pt x="0" y="358235"/>
                      <a:pt x="0" y="247650"/>
                    </a:cubicBezTo>
                    <a:cubicBezTo>
                      <a:pt x="0" y="110871"/>
                      <a:pt x="110871" y="0"/>
                      <a:pt x="247650" y="0"/>
                    </a:cubicBezTo>
                    <a:close/>
                    <a:moveTo>
                      <a:pt x="191643" y="488918"/>
                    </a:moveTo>
                    <a:lnTo>
                      <a:pt x="171450" y="523875"/>
                    </a:lnTo>
                    <a:lnTo>
                      <a:pt x="323850" y="523875"/>
                    </a:lnTo>
                    <a:lnTo>
                      <a:pt x="303657" y="488918"/>
                    </a:lnTo>
                    <a:cubicBezTo>
                      <a:pt x="285655" y="493109"/>
                      <a:pt x="266891" y="495300"/>
                      <a:pt x="247650" y="495300"/>
                    </a:cubicBezTo>
                    <a:cubicBezTo>
                      <a:pt x="228409" y="495300"/>
                      <a:pt x="209645" y="493109"/>
                      <a:pt x="191643" y="488918"/>
                    </a:cubicBezTo>
                    <a:close/>
                    <a:moveTo>
                      <a:pt x="247650" y="142875"/>
                    </a:moveTo>
                    <a:cubicBezTo>
                      <a:pt x="189738" y="142875"/>
                      <a:pt x="142875" y="189738"/>
                      <a:pt x="142875" y="247650"/>
                    </a:cubicBezTo>
                    <a:cubicBezTo>
                      <a:pt x="142875" y="305562"/>
                      <a:pt x="189738" y="352425"/>
                      <a:pt x="247650" y="352425"/>
                    </a:cubicBezTo>
                    <a:cubicBezTo>
                      <a:pt x="305562" y="352425"/>
                      <a:pt x="352425" y="305562"/>
                      <a:pt x="352425" y="247650"/>
                    </a:cubicBezTo>
                    <a:cubicBezTo>
                      <a:pt x="352425" y="189738"/>
                      <a:pt x="305562" y="142875"/>
                      <a:pt x="247650" y="142875"/>
                    </a:cubicBezTo>
                    <a:close/>
                    <a:moveTo>
                      <a:pt x="366713" y="114300"/>
                    </a:moveTo>
                    <a:cubicBezTo>
                      <a:pt x="358807" y="114300"/>
                      <a:pt x="352425" y="120682"/>
                      <a:pt x="352425" y="128588"/>
                    </a:cubicBezTo>
                    <a:cubicBezTo>
                      <a:pt x="352425" y="136493"/>
                      <a:pt x="358807" y="142875"/>
                      <a:pt x="366713" y="142875"/>
                    </a:cubicBezTo>
                    <a:cubicBezTo>
                      <a:pt x="374618" y="142875"/>
                      <a:pt x="381000" y="136493"/>
                      <a:pt x="381000" y="128588"/>
                    </a:cubicBezTo>
                    <a:cubicBezTo>
                      <a:pt x="381000" y="120682"/>
                      <a:pt x="374618" y="114300"/>
                      <a:pt x="366713" y="11430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  <p:grpSp>
          <p:nvGrpSpPr>
            <p:cNvPr id="214" name="îŝľiďe">
              <a:extLst>
                <a:ext uri="{FF2B5EF4-FFF2-40B4-BE49-F238E27FC236}">
                  <a16:creationId xmlns:a16="http://schemas.microsoft.com/office/drawing/2014/main" id="{7685367E-BB72-46E0-9D56-DB9DA404B8F7}"/>
                </a:ext>
              </a:extLst>
            </p:cNvPr>
            <p:cNvGrpSpPr/>
            <p:nvPr/>
          </p:nvGrpSpPr>
          <p:grpSpPr>
            <a:xfrm>
              <a:off x="4774922" y="4062902"/>
              <a:ext cx="731520" cy="731520"/>
              <a:chOff x="4774922" y="4062902"/>
              <a:chExt cx="731520" cy="731520"/>
            </a:xfrm>
          </p:grpSpPr>
          <p:sp>
            <p:nvSpPr>
              <p:cNvPr id="216" name="ïsľíďé">
                <a:extLst>
                  <a:ext uri="{FF2B5EF4-FFF2-40B4-BE49-F238E27FC236}">
                    <a16:creationId xmlns:a16="http://schemas.microsoft.com/office/drawing/2014/main" id="{0AE91A20-EC17-403F-AC86-F424BBD15930}"/>
                  </a:ext>
                </a:extLst>
              </p:cNvPr>
              <p:cNvSpPr/>
              <p:nvPr/>
            </p:nvSpPr>
            <p:spPr>
              <a:xfrm>
                <a:off x="4774922" y="4062902"/>
                <a:ext cx="731520" cy="731520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270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/>
              </a:p>
            </p:txBody>
          </p:sp>
          <p:sp>
            <p:nvSpPr>
              <p:cNvPr id="217" name="íṧlïde">
                <a:extLst>
                  <a:ext uri="{FF2B5EF4-FFF2-40B4-BE49-F238E27FC236}">
                    <a16:creationId xmlns:a16="http://schemas.microsoft.com/office/drawing/2014/main" id="{15CFF35A-C9C8-4F1A-847D-FF05A82CE8D5}"/>
                  </a:ext>
                </a:extLst>
              </p:cNvPr>
              <p:cNvSpPr/>
              <p:nvPr/>
            </p:nvSpPr>
            <p:spPr bwMode="auto">
              <a:xfrm flipH="1">
                <a:off x="4958905" y="4277329"/>
                <a:ext cx="363554" cy="302664"/>
              </a:xfrm>
              <a:custGeom>
                <a:avLst/>
                <a:gdLst>
                  <a:gd name="connsiteX0" fmla="*/ 482197 w 526297"/>
                  <a:gd name="connsiteY0" fmla="*/ 133350 h 438150"/>
                  <a:gd name="connsiteX1" fmla="*/ 526298 w 526297"/>
                  <a:gd name="connsiteY1" fmla="*/ 177451 h 438150"/>
                  <a:gd name="connsiteX2" fmla="*/ 526203 w 526297"/>
                  <a:gd name="connsiteY2" fmla="*/ 180880 h 438150"/>
                  <a:gd name="connsiteX3" fmla="*/ 512867 w 526297"/>
                  <a:gd name="connsiteY3" fmla="*/ 354616 h 438150"/>
                  <a:gd name="connsiteX4" fmla="*/ 484388 w 526297"/>
                  <a:gd name="connsiteY4" fmla="*/ 381000 h 438150"/>
                  <a:gd name="connsiteX5" fmla="*/ 453622 w 526297"/>
                  <a:gd name="connsiteY5" fmla="*/ 381000 h 438150"/>
                  <a:gd name="connsiteX6" fmla="*/ 453622 w 526297"/>
                  <a:gd name="connsiteY6" fmla="*/ 438150 h 438150"/>
                  <a:gd name="connsiteX7" fmla="*/ 434572 w 526297"/>
                  <a:gd name="connsiteY7" fmla="*/ 438150 h 438150"/>
                  <a:gd name="connsiteX8" fmla="*/ 434572 w 526297"/>
                  <a:gd name="connsiteY8" fmla="*/ 381000 h 438150"/>
                  <a:gd name="connsiteX9" fmla="*/ 91672 w 526297"/>
                  <a:gd name="connsiteY9" fmla="*/ 381000 h 438150"/>
                  <a:gd name="connsiteX10" fmla="*/ 91672 w 526297"/>
                  <a:gd name="connsiteY10" fmla="*/ 438150 h 438150"/>
                  <a:gd name="connsiteX11" fmla="*/ 72622 w 526297"/>
                  <a:gd name="connsiteY11" fmla="*/ 438150 h 438150"/>
                  <a:gd name="connsiteX12" fmla="*/ 72622 w 526297"/>
                  <a:gd name="connsiteY12" fmla="*/ 381000 h 438150"/>
                  <a:gd name="connsiteX13" fmla="*/ 41952 w 526297"/>
                  <a:gd name="connsiteY13" fmla="*/ 381000 h 438150"/>
                  <a:gd name="connsiteX14" fmla="*/ 13472 w 526297"/>
                  <a:gd name="connsiteY14" fmla="*/ 354616 h 438150"/>
                  <a:gd name="connsiteX15" fmla="*/ 137 w 526297"/>
                  <a:gd name="connsiteY15" fmla="*/ 180880 h 438150"/>
                  <a:gd name="connsiteX16" fmla="*/ 40714 w 526297"/>
                  <a:gd name="connsiteY16" fmla="*/ 133541 h 438150"/>
                  <a:gd name="connsiteX17" fmla="*/ 44142 w 526297"/>
                  <a:gd name="connsiteY17" fmla="*/ 133445 h 438150"/>
                  <a:gd name="connsiteX18" fmla="*/ 100531 w 526297"/>
                  <a:gd name="connsiteY18" fmla="*/ 180213 h 438150"/>
                  <a:gd name="connsiteX19" fmla="*/ 120247 w 526297"/>
                  <a:gd name="connsiteY19" fmla="*/ 285750 h 438150"/>
                  <a:gd name="connsiteX20" fmla="*/ 405997 w 526297"/>
                  <a:gd name="connsiteY20" fmla="*/ 285750 h 438150"/>
                  <a:gd name="connsiteX21" fmla="*/ 425809 w 526297"/>
                  <a:gd name="connsiteY21" fmla="*/ 180118 h 438150"/>
                  <a:gd name="connsiteX22" fmla="*/ 482197 w 526297"/>
                  <a:gd name="connsiteY22" fmla="*/ 133350 h 438150"/>
                  <a:gd name="connsiteX23" fmla="*/ 415522 w 526297"/>
                  <a:gd name="connsiteY23" fmla="*/ 0 h 438150"/>
                  <a:gd name="connsiteX24" fmla="*/ 482197 w 526297"/>
                  <a:gd name="connsiteY24" fmla="*/ 66675 h 438150"/>
                  <a:gd name="connsiteX25" fmla="*/ 482197 w 526297"/>
                  <a:gd name="connsiteY25" fmla="*/ 114776 h 438150"/>
                  <a:gd name="connsiteX26" fmla="*/ 475053 w 526297"/>
                  <a:gd name="connsiteY26" fmla="*/ 114300 h 438150"/>
                  <a:gd name="connsiteX27" fmla="*/ 410664 w 526297"/>
                  <a:gd name="connsiteY27" fmla="*/ 165830 h 438150"/>
                  <a:gd name="connsiteX28" fmla="*/ 410188 w 526297"/>
                  <a:gd name="connsiteY28" fmla="*/ 168116 h 438150"/>
                  <a:gd name="connsiteX29" fmla="*/ 391710 w 526297"/>
                  <a:gd name="connsiteY29" fmla="*/ 266700 h 438150"/>
                  <a:gd name="connsiteX30" fmla="*/ 134535 w 526297"/>
                  <a:gd name="connsiteY30" fmla="*/ 266700 h 438150"/>
                  <a:gd name="connsiteX31" fmla="*/ 116057 w 526297"/>
                  <a:gd name="connsiteY31" fmla="*/ 168116 h 438150"/>
                  <a:gd name="connsiteX32" fmla="*/ 51191 w 526297"/>
                  <a:gd name="connsiteY32" fmla="*/ 114300 h 438150"/>
                  <a:gd name="connsiteX33" fmla="*/ 53572 w 526297"/>
                  <a:gd name="connsiteY33" fmla="*/ 66675 h 438150"/>
                  <a:gd name="connsiteX34" fmla="*/ 120247 w 526297"/>
                  <a:gd name="connsiteY34" fmla="*/ 0 h 438150"/>
                  <a:gd name="connsiteX35" fmla="*/ 415522 w 526297"/>
                  <a:gd name="connsiteY35" fmla="*/ 0 h 43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526297" h="438150">
                    <a:moveTo>
                      <a:pt x="482197" y="133350"/>
                    </a:moveTo>
                    <a:cubicBezTo>
                      <a:pt x="506582" y="133350"/>
                      <a:pt x="526298" y="153067"/>
                      <a:pt x="526298" y="177451"/>
                    </a:cubicBezTo>
                    <a:cubicBezTo>
                      <a:pt x="526298" y="178594"/>
                      <a:pt x="526298" y="179737"/>
                      <a:pt x="526203" y="180880"/>
                    </a:cubicBezTo>
                    <a:lnTo>
                      <a:pt x="512867" y="354616"/>
                    </a:lnTo>
                    <a:cubicBezTo>
                      <a:pt x="511724" y="369475"/>
                      <a:pt x="499343" y="381000"/>
                      <a:pt x="484388" y="381000"/>
                    </a:cubicBezTo>
                    <a:lnTo>
                      <a:pt x="453622" y="381000"/>
                    </a:lnTo>
                    <a:lnTo>
                      <a:pt x="453622" y="438150"/>
                    </a:lnTo>
                    <a:lnTo>
                      <a:pt x="434572" y="438150"/>
                    </a:lnTo>
                    <a:lnTo>
                      <a:pt x="434572" y="381000"/>
                    </a:lnTo>
                    <a:lnTo>
                      <a:pt x="91672" y="381000"/>
                    </a:lnTo>
                    <a:lnTo>
                      <a:pt x="91672" y="438150"/>
                    </a:lnTo>
                    <a:lnTo>
                      <a:pt x="72622" y="438150"/>
                    </a:lnTo>
                    <a:lnTo>
                      <a:pt x="72622" y="381000"/>
                    </a:lnTo>
                    <a:lnTo>
                      <a:pt x="41952" y="381000"/>
                    </a:lnTo>
                    <a:cubicBezTo>
                      <a:pt x="26998" y="381000"/>
                      <a:pt x="14615" y="369475"/>
                      <a:pt x="13472" y="354616"/>
                    </a:cubicBezTo>
                    <a:lnTo>
                      <a:pt x="137" y="180880"/>
                    </a:lnTo>
                    <a:cubicBezTo>
                      <a:pt x="-1768" y="156591"/>
                      <a:pt x="16424" y="135350"/>
                      <a:pt x="40714" y="133541"/>
                    </a:cubicBezTo>
                    <a:cubicBezTo>
                      <a:pt x="41857" y="133445"/>
                      <a:pt x="42999" y="133445"/>
                      <a:pt x="44142" y="133445"/>
                    </a:cubicBezTo>
                    <a:cubicBezTo>
                      <a:pt x="71765" y="133445"/>
                      <a:pt x="95482" y="153067"/>
                      <a:pt x="100531" y="180213"/>
                    </a:cubicBezTo>
                    <a:lnTo>
                      <a:pt x="120247" y="285750"/>
                    </a:lnTo>
                    <a:lnTo>
                      <a:pt x="405997" y="285750"/>
                    </a:lnTo>
                    <a:lnTo>
                      <a:pt x="425809" y="180118"/>
                    </a:lnTo>
                    <a:cubicBezTo>
                      <a:pt x="430857" y="152972"/>
                      <a:pt x="454574" y="133350"/>
                      <a:pt x="482197" y="133350"/>
                    </a:cubicBezTo>
                    <a:close/>
                    <a:moveTo>
                      <a:pt x="415522" y="0"/>
                    </a:moveTo>
                    <a:cubicBezTo>
                      <a:pt x="452384" y="0"/>
                      <a:pt x="482197" y="29813"/>
                      <a:pt x="482197" y="66675"/>
                    </a:cubicBezTo>
                    <a:lnTo>
                      <a:pt x="482197" y="114776"/>
                    </a:lnTo>
                    <a:cubicBezTo>
                      <a:pt x="479816" y="114491"/>
                      <a:pt x="477435" y="114300"/>
                      <a:pt x="475053" y="114300"/>
                    </a:cubicBezTo>
                    <a:cubicBezTo>
                      <a:pt x="444097" y="114300"/>
                      <a:pt x="417427" y="135827"/>
                      <a:pt x="410664" y="165830"/>
                    </a:cubicBezTo>
                    <a:lnTo>
                      <a:pt x="410188" y="168116"/>
                    </a:lnTo>
                    <a:lnTo>
                      <a:pt x="391710" y="266700"/>
                    </a:lnTo>
                    <a:lnTo>
                      <a:pt x="134535" y="266700"/>
                    </a:lnTo>
                    <a:lnTo>
                      <a:pt x="116057" y="168116"/>
                    </a:lnTo>
                    <a:cubicBezTo>
                      <a:pt x="110245" y="136874"/>
                      <a:pt x="82909" y="114300"/>
                      <a:pt x="51191" y="114300"/>
                    </a:cubicBezTo>
                    <a:lnTo>
                      <a:pt x="53572" y="66675"/>
                    </a:lnTo>
                    <a:cubicBezTo>
                      <a:pt x="53572" y="29813"/>
                      <a:pt x="83385" y="0"/>
                      <a:pt x="120247" y="0"/>
                    </a:cubicBezTo>
                    <a:lnTo>
                      <a:pt x="415522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/>
              </a:p>
            </p:txBody>
          </p:sp>
        </p:grpSp>
        <p:cxnSp>
          <p:nvCxnSpPr>
            <p:cNvPr id="215" name="iṩliḑe">
              <a:extLst>
                <a:ext uri="{FF2B5EF4-FFF2-40B4-BE49-F238E27FC236}">
                  <a16:creationId xmlns:a16="http://schemas.microsoft.com/office/drawing/2014/main" id="{22D304E4-57D2-4144-A92A-E51BED737AD2}"/>
                </a:ext>
              </a:extLst>
            </p:cNvPr>
            <p:cNvCxnSpPr/>
            <p:nvPr/>
          </p:nvCxnSpPr>
          <p:spPr>
            <a:xfrm>
              <a:off x="5734050" y="3604482"/>
              <a:ext cx="578485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169597276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šḻïd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ŝḻíḍé">
            <a:extLst>
              <a:ext uri="{FF2B5EF4-FFF2-40B4-BE49-F238E27FC236}">
                <a16:creationId xmlns:a16="http://schemas.microsoft.com/office/drawing/2014/main" id="{D917DAA2-B5B5-437F-A2E7-37E6BFF9B0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í$ḻïďe">
            <a:extLst>
              <a:ext uri="{FF2B5EF4-FFF2-40B4-BE49-F238E27FC236}">
                <a16:creationId xmlns:a16="http://schemas.microsoft.com/office/drawing/2014/main" id="{1CA6C7A0-AAEF-4B93-8391-544CB758FC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ïṣ1îḍê">
            <a:extLst>
              <a:ext uri="{FF2B5EF4-FFF2-40B4-BE49-F238E27FC236}">
                <a16:creationId xmlns:a16="http://schemas.microsoft.com/office/drawing/2014/main" id="{1814BB10-AFF9-4FC1-B8C2-B8B61A2991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3</a:t>
            </a:fld>
            <a:endParaRPr lang="zh-CN" altLang="en-US"/>
          </a:p>
        </p:txBody>
      </p:sp>
      <p:grpSp>
        <p:nvGrpSpPr>
          <p:cNvPr id="5" name="ï$ľïḋé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4B472B52-1172-4834-B04A-85AA2D609143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87279" y="1143496"/>
            <a:ext cx="11302770" cy="5714504"/>
            <a:chOff x="687279" y="1143496"/>
            <a:chExt cx="11302770" cy="5714504"/>
          </a:xfrm>
        </p:grpSpPr>
        <p:sp>
          <p:nvSpPr>
            <p:cNvPr id="6" name="iṥlíḋe">
              <a:extLst>
                <a:ext uri="{FF2B5EF4-FFF2-40B4-BE49-F238E27FC236}">
                  <a16:creationId xmlns:a16="http://schemas.microsoft.com/office/drawing/2014/main" id="{CDC3C392-9079-4493-9CD6-F182C37632A0}"/>
                </a:ext>
              </a:extLst>
            </p:cNvPr>
            <p:cNvSpPr/>
            <p:nvPr/>
          </p:nvSpPr>
          <p:spPr bwMode="auto">
            <a:xfrm>
              <a:off x="8293100" y="1143496"/>
              <a:ext cx="3696949" cy="5714504"/>
            </a:xfrm>
            <a:custGeom>
              <a:avLst/>
              <a:gdLst>
                <a:gd name="T0" fmla="*/ 179 w 1208"/>
                <a:gd name="T1" fmla="*/ 1688 h 1871"/>
                <a:gd name="T2" fmla="*/ 202 w 1208"/>
                <a:gd name="T3" fmla="*/ 1722 h 1871"/>
                <a:gd name="T4" fmla="*/ 213 w 1208"/>
                <a:gd name="T5" fmla="*/ 1871 h 1871"/>
                <a:gd name="T6" fmla="*/ 1031 w 1208"/>
                <a:gd name="T7" fmla="*/ 1871 h 1871"/>
                <a:gd name="T8" fmla="*/ 1055 w 1208"/>
                <a:gd name="T9" fmla="*/ 1729 h 1871"/>
                <a:gd name="T10" fmla="*/ 1100 w 1208"/>
                <a:gd name="T11" fmla="*/ 1530 h 1871"/>
                <a:gd name="T12" fmla="*/ 1167 w 1208"/>
                <a:gd name="T13" fmla="*/ 1351 h 1871"/>
                <a:gd name="T14" fmla="*/ 1196 w 1208"/>
                <a:gd name="T15" fmla="*/ 1037 h 1871"/>
                <a:gd name="T16" fmla="*/ 1100 w 1208"/>
                <a:gd name="T17" fmla="*/ 823 h 1871"/>
                <a:gd name="T18" fmla="*/ 945 w 1208"/>
                <a:gd name="T19" fmla="*/ 690 h 1871"/>
                <a:gd name="T20" fmla="*/ 925 w 1208"/>
                <a:gd name="T21" fmla="*/ 639 h 1871"/>
                <a:gd name="T22" fmla="*/ 890 w 1208"/>
                <a:gd name="T23" fmla="*/ 576 h 1871"/>
                <a:gd name="T24" fmla="*/ 949 w 1208"/>
                <a:gd name="T25" fmla="*/ 452 h 1871"/>
                <a:gd name="T26" fmla="*/ 925 w 1208"/>
                <a:gd name="T27" fmla="*/ 121 h 1871"/>
                <a:gd name="T28" fmla="*/ 810 w 1208"/>
                <a:gd name="T29" fmla="*/ 28 h 1871"/>
                <a:gd name="T30" fmla="*/ 796 w 1208"/>
                <a:gd name="T31" fmla="*/ 24 h 1871"/>
                <a:gd name="T32" fmla="*/ 733 w 1208"/>
                <a:gd name="T33" fmla="*/ 8 h 1871"/>
                <a:gd name="T34" fmla="*/ 508 w 1208"/>
                <a:gd name="T35" fmla="*/ 56 h 1871"/>
                <a:gd name="T36" fmla="*/ 386 w 1208"/>
                <a:gd name="T37" fmla="*/ 160 h 1871"/>
                <a:gd name="T38" fmla="*/ 402 w 1208"/>
                <a:gd name="T39" fmla="*/ 190 h 1871"/>
                <a:gd name="T40" fmla="*/ 396 w 1208"/>
                <a:gd name="T41" fmla="*/ 263 h 1871"/>
                <a:gd name="T42" fmla="*/ 410 w 1208"/>
                <a:gd name="T43" fmla="*/ 426 h 1871"/>
                <a:gd name="T44" fmla="*/ 386 w 1208"/>
                <a:gd name="T45" fmla="*/ 527 h 1871"/>
                <a:gd name="T46" fmla="*/ 418 w 1208"/>
                <a:gd name="T47" fmla="*/ 588 h 1871"/>
                <a:gd name="T48" fmla="*/ 226 w 1208"/>
                <a:gd name="T49" fmla="*/ 673 h 1871"/>
                <a:gd name="T50" fmla="*/ 153 w 1208"/>
                <a:gd name="T51" fmla="*/ 963 h 1871"/>
                <a:gd name="T52" fmla="*/ 120 w 1208"/>
                <a:gd name="T53" fmla="*/ 1022 h 1871"/>
                <a:gd name="T54" fmla="*/ 106 w 1208"/>
                <a:gd name="T55" fmla="*/ 1057 h 1871"/>
                <a:gd name="T56" fmla="*/ 6 w 1208"/>
                <a:gd name="T57" fmla="*/ 1371 h 1871"/>
                <a:gd name="T58" fmla="*/ 175 w 1208"/>
                <a:gd name="T59" fmla="*/ 1664 h 1871"/>
                <a:gd name="T60" fmla="*/ 326 w 1208"/>
                <a:gd name="T61" fmla="*/ 888 h 1871"/>
                <a:gd name="T62" fmla="*/ 373 w 1208"/>
                <a:gd name="T63" fmla="*/ 811 h 1871"/>
                <a:gd name="T64" fmla="*/ 441 w 1208"/>
                <a:gd name="T65" fmla="*/ 773 h 1871"/>
                <a:gd name="T66" fmla="*/ 484 w 1208"/>
                <a:gd name="T67" fmla="*/ 746 h 1871"/>
                <a:gd name="T68" fmla="*/ 526 w 1208"/>
                <a:gd name="T69" fmla="*/ 718 h 1871"/>
                <a:gd name="T70" fmla="*/ 569 w 1208"/>
                <a:gd name="T71" fmla="*/ 738 h 1871"/>
                <a:gd name="T72" fmla="*/ 453 w 1208"/>
                <a:gd name="T73" fmla="*/ 813 h 1871"/>
                <a:gd name="T74" fmla="*/ 341 w 1208"/>
                <a:gd name="T75" fmla="*/ 911 h 1871"/>
                <a:gd name="T76" fmla="*/ 300 w 1208"/>
                <a:gd name="T77" fmla="*/ 998 h 1871"/>
                <a:gd name="T78" fmla="*/ 261 w 1208"/>
                <a:gd name="T79" fmla="*/ 1014 h 18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08" h="1871">
                  <a:moveTo>
                    <a:pt x="175" y="1664"/>
                  </a:moveTo>
                  <a:cubicBezTo>
                    <a:pt x="179" y="1668"/>
                    <a:pt x="181" y="1678"/>
                    <a:pt x="179" y="1688"/>
                  </a:cubicBezTo>
                  <a:cubicBezTo>
                    <a:pt x="177" y="1696"/>
                    <a:pt x="177" y="1704"/>
                    <a:pt x="175" y="1716"/>
                  </a:cubicBezTo>
                  <a:cubicBezTo>
                    <a:pt x="181" y="1716"/>
                    <a:pt x="190" y="1720"/>
                    <a:pt x="202" y="1722"/>
                  </a:cubicBezTo>
                  <a:cubicBezTo>
                    <a:pt x="212" y="1725"/>
                    <a:pt x="220" y="1727"/>
                    <a:pt x="226" y="1727"/>
                  </a:cubicBezTo>
                  <a:cubicBezTo>
                    <a:pt x="224" y="1758"/>
                    <a:pt x="220" y="1806"/>
                    <a:pt x="213" y="1871"/>
                  </a:cubicBezTo>
                  <a:cubicBezTo>
                    <a:pt x="1031" y="1871"/>
                    <a:pt x="1031" y="1871"/>
                    <a:pt x="1031" y="1871"/>
                  </a:cubicBezTo>
                  <a:cubicBezTo>
                    <a:pt x="1031" y="1871"/>
                    <a:pt x="1031" y="1871"/>
                    <a:pt x="1031" y="1871"/>
                  </a:cubicBezTo>
                  <a:cubicBezTo>
                    <a:pt x="1035" y="1856"/>
                    <a:pt x="1039" y="1846"/>
                    <a:pt x="1041" y="1842"/>
                  </a:cubicBezTo>
                  <a:cubicBezTo>
                    <a:pt x="1045" y="1818"/>
                    <a:pt x="1051" y="1781"/>
                    <a:pt x="1055" y="1729"/>
                  </a:cubicBezTo>
                  <a:cubicBezTo>
                    <a:pt x="1059" y="1676"/>
                    <a:pt x="1065" y="1639"/>
                    <a:pt x="1071" y="1615"/>
                  </a:cubicBezTo>
                  <a:cubicBezTo>
                    <a:pt x="1076" y="1593"/>
                    <a:pt x="1086" y="1564"/>
                    <a:pt x="1100" y="1530"/>
                  </a:cubicBezTo>
                  <a:cubicBezTo>
                    <a:pt x="1123" y="1471"/>
                    <a:pt x="1135" y="1440"/>
                    <a:pt x="1135" y="1440"/>
                  </a:cubicBezTo>
                  <a:cubicBezTo>
                    <a:pt x="1155" y="1382"/>
                    <a:pt x="1165" y="1351"/>
                    <a:pt x="1167" y="1351"/>
                  </a:cubicBezTo>
                  <a:cubicBezTo>
                    <a:pt x="1180" y="1319"/>
                    <a:pt x="1194" y="1294"/>
                    <a:pt x="1208" y="1278"/>
                  </a:cubicBezTo>
                  <a:cubicBezTo>
                    <a:pt x="1206" y="1164"/>
                    <a:pt x="1202" y="1083"/>
                    <a:pt x="1196" y="1037"/>
                  </a:cubicBezTo>
                  <a:cubicBezTo>
                    <a:pt x="1188" y="957"/>
                    <a:pt x="1167" y="899"/>
                    <a:pt x="1135" y="856"/>
                  </a:cubicBezTo>
                  <a:cubicBezTo>
                    <a:pt x="1129" y="848"/>
                    <a:pt x="1116" y="836"/>
                    <a:pt x="1100" y="823"/>
                  </a:cubicBezTo>
                  <a:cubicBezTo>
                    <a:pt x="1080" y="805"/>
                    <a:pt x="1067" y="793"/>
                    <a:pt x="1061" y="787"/>
                  </a:cubicBezTo>
                  <a:cubicBezTo>
                    <a:pt x="1014" y="740"/>
                    <a:pt x="976" y="708"/>
                    <a:pt x="945" y="690"/>
                  </a:cubicBezTo>
                  <a:cubicBezTo>
                    <a:pt x="945" y="681"/>
                    <a:pt x="939" y="665"/>
                    <a:pt x="927" y="645"/>
                  </a:cubicBezTo>
                  <a:cubicBezTo>
                    <a:pt x="927" y="643"/>
                    <a:pt x="925" y="641"/>
                    <a:pt x="925" y="639"/>
                  </a:cubicBezTo>
                  <a:cubicBezTo>
                    <a:pt x="912" y="614"/>
                    <a:pt x="904" y="594"/>
                    <a:pt x="904" y="580"/>
                  </a:cubicBezTo>
                  <a:cubicBezTo>
                    <a:pt x="900" y="576"/>
                    <a:pt x="896" y="576"/>
                    <a:pt x="890" y="576"/>
                  </a:cubicBezTo>
                  <a:cubicBezTo>
                    <a:pt x="886" y="576"/>
                    <a:pt x="880" y="574"/>
                    <a:pt x="871" y="574"/>
                  </a:cubicBezTo>
                  <a:cubicBezTo>
                    <a:pt x="906" y="549"/>
                    <a:pt x="931" y="509"/>
                    <a:pt x="949" y="452"/>
                  </a:cubicBezTo>
                  <a:cubicBezTo>
                    <a:pt x="965" y="397"/>
                    <a:pt x="971" y="340"/>
                    <a:pt x="967" y="280"/>
                  </a:cubicBezTo>
                  <a:cubicBezTo>
                    <a:pt x="963" y="217"/>
                    <a:pt x="949" y="162"/>
                    <a:pt x="925" y="121"/>
                  </a:cubicBezTo>
                  <a:cubicBezTo>
                    <a:pt x="896" y="73"/>
                    <a:pt x="859" y="44"/>
                    <a:pt x="812" y="36"/>
                  </a:cubicBezTo>
                  <a:cubicBezTo>
                    <a:pt x="806" y="36"/>
                    <a:pt x="806" y="32"/>
                    <a:pt x="810" y="28"/>
                  </a:cubicBezTo>
                  <a:cubicBezTo>
                    <a:pt x="812" y="24"/>
                    <a:pt x="812" y="22"/>
                    <a:pt x="808" y="22"/>
                  </a:cubicBezTo>
                  <a:cubicBezTo>
                    <a:pt x="802" y="20"/>
                    <a:pt x="798" y="20"/>
                    <a:pt x="796" y="24"/>
                  </a:cubicBezTo>
                  <a:cubicBezTo>
                    <a:pt x="794" y="28"/>
                    <a:pt x="792" y="32"/>
                    <a:pt x="790" y="32"/>
                  </a:cubicBezTo>
                  <a:cubicBezTo>
                    <a:pt x="782" y="22"/>
                    <a:pt x="763" y="14"/>
                    <a:pt x="733" y="8"/>
                  </a:cubicBezTo>
                  <a:cubicBezTo>
                    <a:pt x="706" y="2"/>
                    <a:pt x="680" y="0"/>
                    <a:pt x="657" y="0"/>
                  </a:cubicBezTo>
                  <a:cubicBezTo>
                    <a:pt x="614" y="6"/>
                    <a:pt x="565" y="24"/>
                    <a:pt x="508" y="56"/>
                  </a:cubicBezTo>
                  <a:cubicBezTo>
                    <a:pt x="477" y="75"/>
                    <a:pt x="437" y="99"/>
                    <a:pt x="386" y="129"/>
                  </a:cubicBezTo>
                  <a:cubicBezTo>
                    <a:pt x="390" y="140"/>
                    <a:pt x="388" y="150"/>
                    <a:pt x="386" y="160"/>
                  </a:cubicBezTo>
                  <a:cubicBezTo>
                    <a:pt x="382" y="166"/>
                    <a:pt x="377" y="174"/>
                    <a:pt x="373" y="190"/>
                  </a:cubicBezTo>
                  <a:cubicBezTo>
                    <a:pt x="384" y="192"/>
                    <a:pt x="394" y="192"/>
                    <a:pt x="402" y="190"/>
                  </a:cubicBezTo>
                  <a:cubicBezTo>
                    <a:pt x="412" y="186"/>
                    <a:pt x="418" y="186"/>
                    <a:pt x="420" y="186"/>
                  </a:cubicBezTo>
                  <a:cubicBezTo>
                    <a:pt x="416" y="202"/>
                    <a:pt x="408" y="229"/>
                    <a:pt x="396" y="263"/>
                  </a:cubicBezTo>
                  <a:cubicBezTo>
                    <a:pt x="388" y="292"/>
                    <a:pt x="386" y="324"/>
                    <a:pt x="386" y="353"/>
                  </a:cubicBezTo>
                  <a:cubicBezTo>
                    <a:pt x="414" y="369"/>
                    <a:pt x="422" y="393"/>
                    <a:pt x="410" y="426"/>
                  </a:cubicBezTo>
                  <a:cubicBezTo>
                    <a:pt x="404" y="444"/>
                    <a:pt x="390" y="472"/>
                    <a:pt x="369" y="511"/>
                  </a:cubicBezTo>
                  <a:cubicBezTo>
                    <a:pt x="369" y="519"/>
                    <a:pt x="375" y="523"/>
                    <a:pt x="386" y="527"/>
                  </a:cubicBezTo>
                  <a:cubicBezTo>
                    <a:pt x="390" y="529"/>
                    <a:pt x="398" y="531"/>
                    <a:pt x="412" y="531"/>
                  </a:cubicBezTo>
                  <a:cubicBezTo>
                    <a:pt x="412" y="556"/>
                    <a:pt x="414" y="574"/>
                    <a:pt x="418" y="588"/>
                  </a:cubicBezTo>
                  <a:cubicBezTo>
                    <a:pt x="422" y="596"/>
                    <a:pt x="431" y="608"/>
                    <a:pt x="443" y="625"/>
                  </a:cubicBezTo>
                  <a:cubicBezTo>
                    <a:pt x="367" y="608"/>
                    <a:pt x="296" y="625"/>
                    <a:pt x="226" y="673"/>
                  </a:cubicBezTo>
                  <a:cubicBezTo>
                    <a:pt x="218" y="698"/>
                    <a:pt x="206" y="744"/>
                    <a:pt x="194" y="815"/>
                  </a:cubicBezTo>
                  <a:cubicBezTo>
                    <a:pt x="181" y="884"/>
                    <a:pt x="167" y="933"/>
                    <a:pt x="153" y="963"/>
                  </a:cubicBezTo>
                  <a:cubicBezTo>
                    <a:pt x="149" y="972"/>
                    <a:pt x="143" y="984"/>
                    <a:pt x="132" y="1002"/>
                  </a:cubicBezTo>
                  <a:cubicBezTo>
                    <a:pt x="128" y="1010"/>
                    <a:pt x="124" y="1016"/>
                    <a:pt x="120" y="1022"/>
                  </a:cubicBezTo>
                  <a:cubicBezTo>
                    <a:pt x="116" y="1030"/>
                    <a:pt x="112" y="1039"/>
                    <a:pt x="110" y="1045"/>
                  </a:cubicBezTo>
                  <a:cubicBezTo>
                    <a:pt x="108" y="1049"/>
                    <a:pt x="108" y="1053"/>
                    <a:pt x="106" y="1057"/>
                  </a:cubicBezTo>
                  <a:cubicBezTo>
                    <a:pt x="73" y="1134"/>
                    <a:pt x="53" y="1181"/>
                    <a:pt x="47" y="1201"/>
                  </a:cubicBezTo>
                  <a:cubicBezTo>
                    <a:pt x="24" y="1262"/>
                    <a:pt x="10" y="1319"/>
                    <a:pt x="6" y="1371"/>
                  </a:cubicBezTo>
                  <a:cubicBezTo>
                    <a:pt x="0" y="1457"/>
                    <a:pt x="8" y="1528"/>
                    <a:pt x="26" y="1578"/>
                  </a:cubicBezTo>
                  <a:cubicBezTo>
                    <a:pt x="55" y="1647"/>
                    <a:pt x="104" y="1676"/>
                    <a:pt x="175" y="1664"/>
                  </a:cubicBezTo>
                  <a:close/>
                  <a:moveTo>
                    <a:pt x="296" y="917"/>
                  </a:moveTo>
                  <a:cubicBezTo>
                    <a:pt x="300" y="911"/>
                    <a:pt x="312" y="901"/>
                    <a:pt x="326" y="888"/>
                  </a:cubicBezTo>
                  <a:cubicBezTo>
                    <a:pt x="341" y="876"/>
                    <a:pt x="351" y="864"/>
                    <a:pt x="357" y="856"/>
                  </a:cubicBezTo>
                  <a:cubicBezTo>
                    <a:pt x="363" y="846"/>
                    <a:pt x="369" y="832"/>
                    <a:pt x="373" y="811"/>
                  </a:cubicBezTo>
                  <a:cubicBezTo>
                    <a:pt x="379" y="789"/>
                    <a:pt x="386" y="773"/>
                    <a:pt x="390" y="763"/>
                  </a:cubicBezTo>
                  <a:cubicBezTo>
                    <a:pt x="410" y="771"/>
                    <a:pt x="426" y="775"/>
                    <a:pt x="441" y="773"/>
                  </a:cubicBezTo>
                  <a:cubicBezTo>
                    <a:pt x="455" y="771"/>
                    <a:pt x="471" y="767"/>
                    <a:pt x="490" y="759"/>
                  </a:cubicBezTo>
                  <a:cubicBezTo>
                    <a:pt x="490" y="754"/>
                    <a:pt x="488" y="750"/>
                    <a:pt x="484" y="746"/>
                  </a:cubicBezTo>
                  <a:cubicBezTo>
                    <a:pt x="479" y="742"/>
                    <a:pt x="479" y="738"/>
                    <a:pt x="479" y="734"/>
                  </a:cubicBezTo>
                  <a:cubicBezTo>
                    <a:pt x="494" y="738"/>
                    <a:pt x="510" y="734"/>
                    <a:pt x="526" y="718"/>
                  </a:cubicBezTo>
                  <a:cubicBezTo>
                    <a:pt x="545" y="704"/>
                    <a:pt x="561" y="700"/>
                    <a:pt x="575" y="706"/>
                  </a:cubicBezTo>
                  <a:cubicBezTo>
                    <a:pt x="577" y="714"/>
                    <a:pt x="577" y="726"/>
                    <a:pt x="569" y="738"/>
                  </a:cubicBezTo>
                  <a:cubicBezTo>
                    <a:pt x="559" y="754"/>
                    <a:pt x="555" y="765"/>
                    <a:pt x="553" y="767"/>
                  </a:cubicBezTo>
                  <a:cubicBezTo>
                    <a:pt x="543" y="775"/>
                    <a:pt x="508" y="791"/>
                    <a:pt x="453" y="813"/>
                  </a:cubicBezTo>
                  <a:cubicBezTo>
                    <a:pt x="410" y="832"/>
                    <a:pt x="382" y="850"/>
                    <a:pt x="365" y="870"/>
                  </a:cubicBezTo>
                  <a:cubicBezTo>
                    <a:pt x="357" y="878"/>
                    <a:pt x="351" y="892"/>
                    <a:pt x="341" y="911"/>
                  </a:cubicBezTo>
                  <a:cubicBezTo>
                    <a:pt x="333" y="929"/>
                    <a:pt x="324" y="943"/>
                    <a:pt x="316" y="951"/>
                  </a:cubicBezTo>
                  <a:cubicBezTo>
                    <a:pt x="314" y="968"/>
                    <a:pt x="308" y="984"/>
                    <a:pt x="300" y="998"/>
                  </a:cubicBezTo>
                  <a:cubicBezTo>
                    <a:pt x="296" y="1008"/>
                    <a:pt x="286" y="1020"/>
                    <a:pt x="275" y="1037"/>
                  </a:cubicBezTo>
                  <a:cubicBezTo>
                    <a:pt x="267" y="1030"/>
                    <a:pt x="263" y="1022"/>
                    <a:pt x="261" y="1014"/>
                  </a:cubicBezTo>
                  <a:cubicBezTo>
                    <a:pt x="253" y="990"/>
                    <a:pt x="265" y="957"/>
                    <a:pt x="296" y="917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7" name="išḻiḓe">
              <a:extLst>
                <a:ext uri="{FF2B5EF4-FFF2-40B4-BE49-F238E27FC236}">
                  <a16:creationId xmlns:a16="http://schemas.microsoft.com/office/drawing/2014/main" id="{962BA7EC-C4D9-4D1F-A383-3FC12AEA599C}"/>
                </a:ext>
              </a:extLst>
            </p:cNvPr>
            <p:cNvGrpSpPr/>
            <p:nvPr/>
          </p:nvGrpSpPr>
          <p:grpSpPr>
            <a:xfrm>
              <a:off x="687279" y="1143496"/>
              <a:ext cx="7388721" cy="1655504"/>
              <a:chOff x="687278" y="2398652"/>
              <a:chExt cx="3524773" cy="1655504"/>
            </a:xfrm>
          </p:grpSpPr>
          <p:sp>
            <p:nvSpPr>
              <p:cNvPr id="18" name="îşľîḍê">
                <a:extLst>
                  <a:ext uri="{FF2B5EF4-FFF2-40B4-BE49-F238E27FC236}">
                    <a16:creationId xmlns:a16="http://schemas.microsoft.com/office/drawing/2014/main" id="{00D6750C-6B67-4218-AA21-C570A6D35C98}"/>
                  </a:ext>
                </a:extLst>
              </p:cNvPr>
              <p:cNvSpPr/>
              <p:nvPr/>
            </p:nvSpPr>
            <p:spPr>
              <a:xfrm>
                <a:off x="687278" y="2840457"/>
                <a:ext cx="3524773" cy="12136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90000" anchor="t" anchorCtr="0">
                <a:normAutofit/>
              </a:bodyPr>
              <a:lstStyle/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400" dirty="0"/>
                  <a:t>Unified fonts make reading more fluent.</a:t>
                </a:r>
              </a:p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400" dirty="0"/>
                  <a:t>Theme color makes PPT more convenient to change.</a:t>
                </a:r>
              </a:p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400" dirty="0"/>
                  <a:t>Adjust the spacing to adapt to Chinese typesetting, use the reference line in PPT.</a:t>
                </a:r>
              </a:p>
            </p:txBody>
          </p:sp>
          <p:sp>
            <p:nvSpPr>
              <p:cNvPr id="19" name="iṩļiḋê">
                <a:extLst>
                  <a:ext uri="{FF2B5EF4-FFF2-40B4-BE49-F238E27FC236}">
                    <a16:creationId xmlns:a16="http://schemas.microsoft.com/office/drawing/2014/main" id="{F49D2E55-FE18-4AC7-9ECC-05F2ABA6ABE1}"/>
                  </a:ext>
                </a:extLst>
              </p:cNvPr>
              <p:cNvSpPr txBox="1"/>
              <p:nvPr/>
            </p:nvSpPr>
            <p:spPr bwMode="auto">
              <a:xfrm>
                <a:off x="687278" y="2398652"/>
                <a:ext cx="3524773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>
                <a:normAutofit lnSpcReduction="100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400" b="1" dirty="0"/>
                  <a:t>Text here</a:t>
                </a:r>
              </a:p>
            </p:txBody>
          </p:sp>
        </p:grpSp>
        <p:cxnSp>
          <p:nvCxnSpPr>
            <p:cNvPr id="8" name="ï$ľïďê">
              <a:extLst>
                <a:ext uri="{FF2B5EF4-FFF2-40B4-BE49-F238E27FC236}">
                  <a16:creationId xmlns:a16="http://schemas.microsoft.com/office/drawing/2014/main" id="{0845C55C-A92A-455B-9279-7CE7CCB83251}"/>
                </a:ext>
              </a:extLst>
            </p:cNvPr>
            <p:cNvCxnSpPr/>
            <p:nvPr/>
          </p:nvCxnSpPr>
          <p:spPr>
            <a:xfrm>
              <a:off x="687279" y="2799000"/>
              <a:ext cx="7703721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ïṣļiḋê">
              <a:extLst>
                <a:ext uri="{FF2B5EF4-FFF2-40B4-BE49-F238E27FC236}">
                  <a16:creationId xmlns:a16="http://schemas.microsoft.com/office/drawing/2014/main" id="{6AA6077F-38DD-4262-AC34-AE83BF962372}"/>
                </a:ext>
              </a:extLst>
            </p:cNvPr>
            <p:cNvGrpSpPr/>
            <p:nvPr/>
          </p:nvGrpSpPr>
          <p:grpSpPr>
            <a:xfrm>
              <a:off x="687279" y="3356470"/>
              <a:ext cx="7388720" cy="1254907"/>
              <a:chOff x="687279" y="2984347"/>
              <a:chExt cx="7388720" cy="1254907"/>
            </a:xfrm>
          </p:grpSpPr>
          <p:sp>
            <p:nvSpPr>
              <p:cNvPr id="15" name="íSḻïḓe">
                <a:extLst>
                  <a:ext uri="{FF2B5EF4-FFF2-40B4-BE49-F238E27FC236}">
                    <a16:creationId xmlns:a16="http://schemas.microsoft.com/office/drawing/2014/main" id="{1BF6C4F5-EC31-4DD6-A576-B83C878677DE}"/>
                  </a:ext>
                </a:extLst>
              </p:cNvPr>
              <p:cNvSpPr/>
              <p:nvPr/>
            </p:nvSpPr>
            <p:spPr>
              <a:xfrm>
                <a:off x="687279" y="3124978"/>
                <a:ext cx="231652" cy="23165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604" y="21600"/>
                    </a:moveTo>
                    <a:cubicBezTo>
                      <a:pt x="4713" y="21600"/>
                      <a:pt x="0" y="16887"/>
                      <a:pt x="0" y="10996"/>
                    </a:cubicBezTo>
                    <a:cubicBezTo>
                      <a:pt x="0" y="5105"/>
                      <a:pt x="4713" y="0"/>
                      <a:pt x="10604" y="0"/>
                    </a:cubicBezTo>
                    <a:cubicBezTo>
                      <a:pt x="16495" y="0"/>
                      <a:pt x="21600" y="5105"/>
                      <a:pt x="21600" y="10996"/>
                    </a:cubicBezTo>
                    <a:cubicBezTo>
                      <a:pt x="21600" y="16887"/>
                      <a:pt x="16495" y="21600"/>
                      <a:pt x="10604" y="21600"/>
                    </a:cubicBezTo>
                    <a:close/>
                    <a:moveTo>
                      <a:pt x="16887" y="9818"/>
                    </a:moveTo>
                    <a:cubicBezTo>
                      <a:pt x="16887" y="9425"/>
                      <a:pt x="16495" y="9033"/>
                      <a:pt x="16102" y="9033"/>
                    </a:cubicBezTo>
                    <a:cubicBezTo>
                      <a:pt x="12567" y="9033"/>
                      <a:pt x="12567" y="9033"/>
                      <a:pt x="12567" y="9033"/>
                    </a:cubicBezTo>
                    <a:cubicBezTo>
                      <a:pt x="12567" y="5498"/>
                      <a:pt x="12567" y="5498"/>
                      <a:pt x="12567" y="5498"/>
                    </a:cubicBezTo>
                    <a:cubicBezTo>
                      <a:pt x="12567" y="5105"/>
                      <a:pt x="12175" y="4713"/>
                      <a:pt x="11389" y="4713"/>
                    </a:cubicBezTo>
                    <a:cubicBezTo>
                      <a:pt x="9818" y="4713"/>
                      <a:pt x="9818" y="4713"/>
                      <a:pt x="9818" y="4713"/>
                    </a:cubicBezTo>
                    <a:cubicBezTo>
                      <a:pt x="9425" y="4713"/>
                      <a:pt x="9033" y="5105"/>
                      <a:pt x="9033" y="5498"/>
                    </a:cubicBezTo>
                    <a:cubicBezTo>
                      <a:pt x="9033" y="9033"/>
                      <a:pt x="9033" y="9033"/>
                      <a:pt x="9033" y="9033"/>
                    </a:cubicBezTo>
                    <a:cubicBezTo>
                      <a:pt x="5105" y="9033"/>
                      <a:pt x="5105" y="9033"/>
                      <a:pt x="5105" y="9033"/>
                    </a:cubicBezTo>
                    <a:cubicBezTo>
                      <a:pt x="4713" y="9033"/>
                      <a:pt x="4320" y="9425"/>
                      <a:pt x="4320" y="9818"/>
                    </a:cubicBezTo>
                    <a:cubicBezTo>
                      <a:pt x="4320" y="11782"/>
                      <a:pt x="4320" y="11782"/>
                      <a:pt x="4320" y="11782"/>
                    </a:cubicBezTo>
                    <a:cubicBezTo>
                      <a:pt x="4320" y="12175"/>
                      <a:pt x="4713" y="12567"/>
                      <a:pt x="5105" y="12567"/>
                    </a:cubicBezTo>
                    <a:cubicBezTo>
                      <a:pt x="9033" y="12567"/>
                      <a:pt x="9033" y="12567"/>
                      <a:pt x="9033" y="12567"/>
                    </a:cubicBezTo>
                    <a:cubicBezTo>
                      <a:pt x="9033" y="16102"/>
                      <a:pt x="9033" y="16102"/>
                      <a:pt x="9033" y="16102"/>
                    </a:cubicBezTo>
                    <a:cubicBezTo>
                      <a:pt x="9033" y="16887"/>
                      <a:pt x="9425" y="17280"/>
                      <a:pt x="9818" y="17280"/>
                    </a:cubicBezTo>
                    <a:cubicBezTo>
                      <a:pt x="11389" y="17280"/>
                      <a:pt x="11389" y="17280"/>
                      <a:pt x="11389" y="17280"/>
                    </a:cubicBezTo>
                    <a:cubicBezTo>
                      <a:pt x="12175" y="17280"/>
                      <a:pt x="12567" y="16887"/>
                      <a:pt x="12567" y="16102"/>
                    </a:cubicBezTo>
                    <a:cubicBezTo>
                      <a:pt x="12567" y="12567"/>
                      <a:pt x="12567" y="12567"/>
                      <a:pt x="12567" y="12567"/>
                    </a:cubicBezTo>
                    <a:cubicBezTo>
                      <a:pt x="16102" y="12567"/>
                      <a:pt x="16102" y="12567"/>
                      <a:pt x="16102" y="12567"/>
                    </a:cubicBezTo>
                    <a:cubicBezTo>
                      <a:pt x="16495" y="12567"/>
                      <a:pt x="16887" y="12175"/>
                      <a:pt x="16887" y="11782"/>
                    </a:cubicBezTo>
                    <a:lnTo>
                      <a:pt x="16887" y="9818"/>
                    </a:lnTo>
                    <a:close/>
                  </a:path>
                </a:pathLst>
              </a:custGeom>
              <a:solidFill>
                <a:schemeClr val="accent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lvl="0" algn="l" defTabSz="457200">
                  <a:defRPr sz="2400">
                    <a:solidFill>
                      <a:srgbClr val="000000"/>
                    </a:solidFill>
                  </a:defRPr>
                </a:pPr>
                <a:endParaRPr>
                  <a:solidFill>
                    <a:schemeClr val="bg2"/>
                  </a:solidFill>
                </a:endParaRPr>
              </a:p>
            </p:txBody>
          </p:sp>
          <p:sp>
            <p:nvSpPr>
              <p:cNvPr id="16" name="išḷïďè">
                <a:extLst>
                  <a:ext uri="{FF2B5EF4-FFF2-40B4-BE49-F238E27FC236}">
                    <a16:creationId xmlns:a16="http://schemas.microsoft.com/office/drawing/2014/main" id="{6B042116-3EBE-4B6F-ACEA-24962CBBCE7B}"/>
                  </a:ext>
                </a:extLst>
              </p:cNvPr>
              <p:cNvSpPr txBox="1"/>
              <p:nvPr/>
            </p:nvSpPr>
            <p:spPr bwMode="auto">
              <a:xfrm>
                <a:off x="1011000" y="2984347"/>
                <a:ext cx="7064999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b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01.Text here</a:t>
                </a:r>
              </a:p>
            </p:txBody>
          </p:sp>
          <p:sp>
            <p:nvSpPr>
              <p:cNvPr id="17" name="îṩḷîḓé">
                <a:extLst>
                  <a:ext uri="{FF2B5EF4-FFF2-40B4-BE49-F238E27FC236}">
                    <a16:creationId xmlns:a16="http://schemas.microsoft.com/office/drawing/2014/main" id="{01119FD3-3B4D-45CF-86A8-F63A62AA1AA6}"/>
                  </a:ext>
                </a:extLst>
              </p:cNvPr>
              <p:cNvSpPr/>
              <p:nvPr/>
            </p:nvSpPr>
            <p:spPr bwMode="auto">
              <a:xfrm>
                <a:off x="1011000" y="3426153"/>
                <a:ext cx="7064999" cy="8131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Supporting text here. </a:t>
                </a:r>
              </a:p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When you copy &amp; paste, choose "keep text only" option.</a:t>
                </a:r>
              </a:p>
            </p:txBody>
          </p:sp>
        </p:grpSp>
        <p:grpSp>
          <p:nvGrpSpPr>
            <p:cNvPr id="10" name="isľíḍê">
              <a:extLst>
                <a:ext uri="{FF2B5EF4-FFF2-40B4-BE49-F238E27FC236}">
                  <a16:creationId xmlns:a16="http://schemas.microsoft.com/office/drawing/2014/main" id="{A23CB678-485B-45EB-9489-6489401FF97F}"/>
                </a:ext>
              </a:extLst>
            </p:cNvPr>
            <p:cNvGrpSpPr/>
            <p:nvPr/>
          </p:nvGrpSpPr>
          <p:grpSpPr>
            <a:xfrm>
              <a:off x="687279" y="4891893"/>
              <a:ext cx="7388720" cy="1254907"/>
              <a:chOff x="687279" y="2984347"/>
              <a:chExt cx="7388720" cy="1254907"/>
            </a:xfrm>
          </p:grpSpPr>
          <p:sp>
            <p:nvSpPr>
              <p:cNvPr id="12" name="îSḻide">
                <a:extLst>
                  <a:ext uri="{FF2B5EF4-FFF2-40B4-BE49-F238E27FC236}">
                    <a16:creationId xmlns:a16="http://schemas.microsoft.com/office/drawing/2014/main" id="{237E73C7-7F17-41D7-82B4-221D9D65E3B8}"/>
                  </a:ext>
                </a:extLst>
              </p:cNvPr>
              <p:cNvSpPr/>
              <p:nvPr/>
            </p:nvSpPr>
            <p:spPr>
              <a:xfrm>
                <a:off x="687279" y="3124978"/>
                <a:ext cx="231652" cy="23165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604" y="21600"/>
                    </a:moveTo>
                    <a:cubicBezTo>
                      <a:pt x="4713" y="21600"/>
                      <a:pt x="0" y="16887"/>
                      <a:pt x="0" y="10996"/>
                    </a:cubicBezTo>
                    <a:cubicBezTo>
                      <a:pt x="0" y="5105"/>
                      <a:pt x="4713" y="0"/>
                      <a:pt x="10604" y="0"/>
                    </a:cubicBezTo>
                    <a:cubicBezTo>
                      <a:pt x="16495" y="0"/>
                      <a:pt x="21600" y="5105"/>
                      <a:pt x="21600" y="10996"/>
                    </a:cubicBezTo>
                    <a:cubicBezTo>
                      <a:pt x="21600" y="16887"/>
                      <a:pt x="16495" y="21600"/>
                      <a:pt x="10604" y="21600"/>
                    </a:cubicBezTo>
                    <a:close/>
                    <a:moveTo>
                      <a:pt x="16887" y="9818"/>
                    </a:moveTo>
                    <a:cubicBezTo>
                      <a:pt x="16887" y="9425"/>
                      <a:pt x="16495" y="9033"/>
                      <a:pt x="16102" y="9033"/>
                    </a:cubicBezTo>
                    <a:cubicBezTo>
                      <a:pt x="12567" y="9033"/>
                      <a:pt x="12567" y="9033"/>
                      <a:pt x="12567" y="9033"/>
                    </a:cubicBezTo>
                    <a:cubicBezTo>
                      <a:pt x="12567" y="5498"/>
                      <a:pt x="12567" y="5498"/>
                      <a:pt x="12567" y="5498"/>
                    </a:cubicBezTo>
                    <a:cubicBezTo>
                      <a:pt x="12567" y="5105"/>
                      <a:pt x="12175" y="4713"/>
                      <a:pt x="11389" y="4713"/>
                    </a:cubicBezTo>
                    <a:cubicBezTo>
                      <a:pt x="9818" y="4713"/>
                      <a:pt x="9818" y="4713"/>
                      <a:pt x="9818" y="4713"/>
                    </a:cubicBezTo>
                    <a:cubicBezTo>
                      <a:pt x="9425" y="4713"/>
                      <a:pt x="9033" y="5105"/>
                      <a:pt x="9033" y="5498"/>
                    </a:cubicBezTo>
                    <a:cubicBezTo>
                      <a:pt x="9033" y="9033"/>
                      <a:pt x="9033" y="9033"/>
                      <a:pt x="9033" y="9033"/>
                    </a:cubicBezTo>
                    <a:cubicBezTo>
                      <a:pt x="5105" y="9033"/>
                      <a:pt x="5105" y="9033"/>
                      <a:pt x="5105" y="9033"/>
                    </a:cubicBezTo>
                    <a:cubicBezTo>
                      <a:pt x="4713" y="9033"/>
                      <a:pt x="4320" y="9425"/>
                      <a:pt x="4320" y="9818"/>
                    </a:cubicBezTo>
                    <a:cubicBezTo>
                      <a:pt x="4320" y="11782"/>
                      <a:pt x="4320" y="11782"/>
                      <a:pt x="4320" y="11782"/>
                    </a:cubicBezTo>
                    <a:cubicBezTo>
                      <a:pt x="4320" y="12175"/>
                      <a:pt x="4713" y="12567"/>
                      <a:pt x="5105" y="12567"/>
                    </a:cubicBezTo>
                    <a:cubicBezTo>
                      <a:pt x="9033" y="12567"/>
                      <a:pt x="9033" y="12567"/>
                      <a:pt x="9033" y="12567"/>
                    </a:cubicBezTo>
                    <a:cubicBezTo>
                      <a:pt x="9033" y="16102"/>
                      <a:pt x="9033" y="16102"/>
                      <a:pt x="9033" y="16102"/>
                    </a:cubicBezTo>
                    <a:cubicBezTo>
                      <a:pt x="9033" y="16887"/>
                      <a:pt x="9425" y="17280"/>
                      <a:pt x="9818" y="17280"/>
                    </a:cubicBezTo>
                    <a:cubicBezTo>
                      <a:pt x="11389" y="17280"/>
                      <a:pt x="11389" y="17280"/>
                      <a:pt x="11389" y="17280"/>
                    </a:cubicBezTo>
                    <a:cubicBezTo>
                      <a:pt x="12175" y="17280"/>
                      <a:pt x="12567" y="16887"/>
                      <a:pt x="12567" y="16102"/>
                    </a:cubicBezTo>
                    <a:cubicBezTo>
                      <a:pt x="12567" y="12567"/>
                      <a:pt x="12567" y="12567"/>
                      <a:pt x="12567" y="12567"/>
                    </a:cubicBezTo>
                    <a:cubicBezTo>
                      <a:pt x="16102" y="12567"/>
                      <a:pt x="16102" y="12567"/>
                      <a:pt x="16102" y="12567"/>
                    </a:cubicBezTo>
                    <a:cubicBezTo>
                      <a:pt x="16495" y="12567"/>
                      <a:pt x="16887" y="12175"/>
                      <a:pt x="16887" y="11782"/>
                    </a:cubicBezTo>
                    <a:lnTo>
                      <a:pt x="16887" y="9818"/>
                    </a:lnTo>
                    <a:close/>
                  </a:path>
                </a:pathLst>
              </a:custGeom>
              <a:solidFill>
                <a:schemeClr val="accent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lvl="0" algn="l" defTabSz="457200">
                  <a:defRPr sz="2400">
                    <a:solidFill>
                      <a:srgbClr val="000000"/>
                    </a:solidFill>
                  </a:defRPr>
                </a:pPr>
                <a:endParaRPr>
                  <a:solidFill>
                    <a:schemeClr val="bg2"/>
                  </a:solidFill>
                </a:endParaRPr>
              </a:p>
            </p:txBody>
          </p:sp>
          <p:sp>
            <p:nvSpPr>
              <p:cNvPr id="13" name="îṩḷîdè">
                <a:extLst>
                  <a:ext uri="{FF2B5EF4-FFF2-40B4-BE49-F238E27FC236}">
                    <a16:creationId xmlns:a16="http://schemas.microsoft.com/office/drawing/2014/main" id="{677FC162-06E9-43B5-ADB3-2D262B7EAC02}"/>
                  </a:ext>
                </a:extLst>
              </p:cNvPr>
              <p:cNvSpPr txBox="1"/>
              <p:nvPr/>
            </p:nvSpPr>
            <p:spPr bwMode="auto">
              <a:xfrm>
                <a:off x="1011000" y="2984347"/>
                <a:ext cx="7064999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b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02.Text here</a:t>
                </a:r>
              </a:p>
            </p:txBody>
          </p:sp>
          <p:sp>
            <p:nvSpPr>
              <p:cNvPr id="14" name="ïśḷíďè">
                <a:extLst>
                  <a:ext uri="{FF2B5EF4-FFF2-40B4-BE49-F238E27FC236}">
                    <a16:creationId xmlns:a16="http://schemas.microsoft.com/office/drawing/2014/main" id="{2ABE6942-BD07-43BB-9C66-79FE978285C1}"/>
                  </a:ext>
                </a:extLst>
              </p:cNvPr>
              <p:cNvSpPr/>
              <p:nvPr/>
            </p:nvSpPr>
            <p:spPr bwMode="auto">
              <a:xfrm>
                <a:off x="1011000" y="3426153"/>
                <a:ext cx="7064999" cy="8131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Supporting text here. </a:t>
                </a:r>
              </a:p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When you copy &amp; paste, choose "keep text only" option.</a:t>
                </a:r>
              </a:p>
            </p:txBody>
          </p:sp>
        </p:grpSp>
        <p:cxnSp>
          <p:nvCxnSpPr>
            <p:cNvPr id="11" name="işliḍé">
              <a:extLst>
                <a:ext uri="{FF2B5EF4-FFF2-40B4-BE49-F238E27FC236}">
                  <a16:creationId xmlns:a16="http://schemas.microsoft.com/office/drawing/2014/main" id="{C829AED2-F1EC-4BE5-9CED-E5C3528EB85A}"/>
                </a:ext>
              </a:extLst>
            </p:cNvPr>
            <p:cNvCxnSpPr/>
            <p:nvPr/>
          </p:nvCxnSpPr>
          <p:spPr>
            <a:xfrm>
              <a:off x="1101000" y="4734000"/>
              <a:ext cx="369000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9412461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ṩḻï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$ļïḋé">
            <a:extLst>
              <a:ext uri="{FF2B5EF4-FFF2-40B4-BE49-F238E27FC236}">
                <a16:creationId xmlns:a16="http://schemas.microsoft.com/office/drawing/2014/main" id="{463E2A62-7C53-4F00-9082-AB83D7B9F7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isḷîḋè">
            <a:extLst>
              <a:ext uri="{FF2B5EF4-FFF2-40B4-BE49-F238E27FC236}">
                <a16:creationId xmlns:a16="http://schemas.microsoft.com/office/drawing/2014/main" id="{F24EC047-EE13-4708-9832-D9F352BFF1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îşľíḑè">
            <a:extLst>
              <a:ext uri="{FF2B5EF4-FFF2-40B4-BE49-F238E27FC236}">
                <a16:creationId xmlns:a16="http://schemas.microsoft.com/office/drawing/2014/main" id="{1E8A3CAC-5E31-461C-9A5F-4B99075331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4</a:t>
            </a:fld>
            <a:endParaRPr lang="zh-CN" altLang="en-US"/>
          </a:p>
        </p:txBody>
      </p:sp>
      <p:grpSp>
        <p:nvGrpSpPr>
          <p:cNvPr id="65" name="iṧliḋè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FF948B53-2A38-46A5-B49D-8657ED767E4A}"/>
              </a:ext>
            </a:extLst>
          </p:cNvPr>
          <p:cNvGrpSpPr>
            <a:grpSpLocks noChangeAspect="1"/>
          </p:cNvGrpSpPr>
          <p:nvPr/>
        </p:nvGrpSpPr>
        <p:grpSpPr>
          <a:xfrm>
            <a:off x="672704" y="1686192"/>
            <a:ext cx="10846593" cy="3904716"/>
            <a:chOff x="672704" y="1686192"/>
            <a:chExt cx="10846593" cy="3904716"/>
          </a:xfrm>
        </p:grpSpPr>
        <p:grpSp>
          <p:nvGrpSpPr>
            <p:cNvPr id="66" name="ïṥļíďé">
              <a:extLst>
                <a:ext uri="{FF2B5EF4-FFF2-40B4-BE49-F238E27FC236}">
                  <a16:creationId xmlns:a16="http://schemas.microsoft.com/office/drawing/2014/main" id="{DD6F39A6-51F3-4827-8FE9-29A06F44DE56}"/>
                </a:ext>
              </a:extLst>
            </p:cNvPr>
            <p:cNvGrpSpPr/>
            <p:nvPr/>
          </p:nvGrpSpPr>
          <p:grpSpPr>
            <a:xfrm>
              <a:off x="4655694" y="1686192"/>
              <a:ext cx="2881409" cy="2871986"/>
              <a:chOff x="4655296" y="2198106"/>
              <a:chExt cx="2881409" cy="2871986"/>
            </a:xfrm>
          </p:grpSpPr>
          <p:grpSp>
            <p:nvGrpSpPr>
              <p:cNvPr id="89" name="íşľîḋê">
                <a:extLst>
                  <a:ext uri="{FF2B5EF4-FFF2-40B4-BE49-F238E27FC236}">
                    <a16:creationId xmlns:a16="http://schemas.microsoft.com/office/drawing/2014/main" id="{6BBBB0C5-DA68-4ECB-BE3C-068C472F4A96}"/>
                  </a:ext>
                </a:extLst>
              </p:cNvPr>
              <p:cNvGrpSpPr/>
              <p:nvPr/>
            </p:nvGrpSpPr>
            <p:grpSpPr>
              <a:xfrm>
                <a:off x="4655296" y="2198106"/>
                <a:ext cx="2881409" cy="2871986"/>
                <a:chOff x="4655296" y="2198106"/>
                <a:chExt cx="2881409" cy="2871986"/>
              </a:xfrm>
            </p:grpSpPr>
            <p:sp>
              <p:nvSpPr>
                <p:cNvPr id="93" name="ïş1ïḋê">
                  <a:extLst>
                    <a:ext uri="{FF2B5EF4-FFF2-40B4-BE49-F238E27FC236}">
                      <a16:creationId xmlns:a16="http://schemas.microsoft.com/office/drawing/2014/main" id="{DA767641-B0F8-4F0B-90B0-B761C7918832}"/>
                    </a:ext>
                  </a:extLst>
                </p:cNvPr>
                <p:cNvSpPr/>
                <p:nvPr/>
              </p:nvSpPr>
              <p:spPr bwMode="auto">
                <a:xfrm>
                  <a:off x="4655296" y="2198106"/>
                  <a:ext cx="1787594" cy="2871986"/>
                </a:xfrm>
                <a:custGeom>
                  <a:avLst/>
                  <a:gdLst>
                    <a:gd name="T0" fmla="*/ 1037 w 1444"/>
                    <a:gd name="T1" fmla="*/ 2320 h 2320"/>
                    <a:gd name="T2" fmla="*/ 789 w 1444"/>
                    <a:gd name="T3" fmla="*/ 2073 h 2320"/>
                    <a:gd name="T4" fmla="*/ 980 w 1444"/>
                    <a:gd name="T5" fmla="*/ 1881 h 2320"/>
                    <a:gd name="T6" fmla="*/ 423 w 1444"/>
                    <a:gd name="T7" fmla="*/ 1163 h 2320"/>
                    <a:gd name="T8" fmla="*/ 1164 w 1444"/>
                    <a:gd name="T9" fmla="*/ 423 h 2320"/>
                    <a:gd name="T10" fmla="*/ 1268 w 1444"/>
                    <a:gd name="T11" fmla="*/ 430 h 2320"/>
                    <a:gd name="T12" fmla="*/ 1444 w 1444"/>
                    <a:gd name="T13" fmla="*/ 254 h 2320"/>
                    <a:gd name="T14" fmla="*/ 1189 w 1444"/>
                    <a:gd name="T15" fmla="*/ 0 h 2320"/>
                    <a:gd name="T16" fmla="*/ 1164 w 1444"/>
                    <a:gd name="T17" fmla="*/ 0 h 2320"/>
                    <a:gd name="T18" fmla="*/ 0 w 1444"/>
                    <a:gd name="T19" fmla="*/ 1163 h 2320"/>
                    <a:gd name="T20" fmla="*/ 1037 w 1444"/>
                    <a:gd name="T21" fmla="*/ 2320 h 23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444" h="2320">
                      <a:moveTo>
                        <a:pt x="1037" y="2320"/>
                      </a:moveTo>
                      <a:cubicBezTo>
                        <a:pt x="789" y="2073"/>
                        <a:pt x="789" y="2073"/>
                        <a:pt x="789" y="2073"/>
                      </a:cubicBezTo>
                      <a:cubicBezTo>
                        <a:pt x="980" y="1881"/>
                        <a:pt x="980" y="1881"/>
                        <a:pt x="980" y="1881"/>
                      </a:cubicBezTo>
                      <a:cubicBezTo>
                        <a:pt x="660" y="1800"/>
                        <a:pt x="423" y="1509"/>
                        <a:pt x="423" y="1163"/>
                      </a:cubicBezTo>
                      <a:cubicBezTo>
                        <a:pt x="423" y="754"/>
                        <a:pt x="755" y="423"/>
                        <a:pt x="1164" y="423"/>
                      </a:cubicBezTo>
                      <a:cubicBezTo>
                        <a:pt x="1199" y="423"/>
                        <a:pt x="1234" y="425"/>
                        <a:pt x="1268" y="430"/>
                      </a:cubicBezTo>
                      <a:cubicBezTo>
                        <a:pt x="1444" y="254"/>
                        <a:pt x="1444" y="254"/>
                        <a:pt x="1444" y="254"/>
                      </a:cubicBezTo>
                      <a:cubicBezTo>
                        <a:pt x="1189" y="0"/>
                        <a:pt x="1189" y="0"/>
                        <a:pt x="1189" y="0"/>
                      </a:cubicBezTo>
                      <a:cubicBezTo>
                        <a:pt x="1181" y="0"/>
                        <a:pt x="1172" y="0"/>
                        <a:pt x="1164" y="0"/>
                      </a:cubicBezTo>
                      <a:cubicBezTo>
                        <a:pt x="521" y="0"/>
                        <a:pt x="0" y="521"/>
                        <a:pt x="0" y="1163"/>
                      </a:cubicBezTo>
                      <a:cubicBezTo>
                        <a:pt x="0" y="1763"/>
                        <a:pt x="453" y="2257"/>
                        <a:pt x="1037" y="232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1053"/>
                </a:p>
              </p:txBody>
            </p:sp>
            <p:sp>
              <p:nvSpPr>
                <p:cNvPr id="94" name="íṩḷîḋé">
                  <a:extLst>
                    <a:ext uri="{FF2B5EF4-FFF2-40B4-BE49-F238E27FC236}">
                      <a16:creationId xmlns:a16="http://schemas.microsoft.com/office/drawing/2014/main" id="{FE7F7B2B-E664-48BA-94DD-1B6A646A133E}"/>
                    </a:ext>
                  </a:extLst>
                </p:cNvPr>
                <p:cNvSpPr/>
                <p:nvPr/>
              </p:nvSpPr>
              <p:spPr bwMode="auto">
                <a:xfrm>
                  <a:off x="5749634" y="2198106"/>
                  <a:ext cx="1787071" cy="2871986"/>
                </a:xfrm>
                <a:custGeom>
                  <a:avLst/>
                  <a:gdLst>
                    <a:gd name="T0" fmla="*/ 254 w 1444"/>
                    <a:gd name="T1" fmla="*/ 2320 h 2320"/>
                    <a:gd name="T2" fmla="*/ 280 w 1444"/>
                    <a:gd name="T3" fmla="*/ 2320 h 2320"/>
                    <a:gd name="T4" fmla="*/ 1444 w 1444"/>
                    <a:gd name="T5" fmla="*/ 1156 h 2320"/>
                    <a:gd name="T6" fmla="*/ 407 w 1444"/>
                    <a:gd name="T7" fmla="*/ 0 h 2320"/>
                    <a:gd name="T8" fmla="*/ 654 w 1444"/>
                    <a:gd name="T9" fmla="*/ 247 h 2320"/>
                    <a:gd name="T10" fmla="*/ 463 w 1444"/>
                    <a:gd name="T11" fmla="*/ 439 h 2320"/>
                    <a:gd name="T12" fmla="*/ 1020 w 1444"/>
                    <a:gd name="T13" fmla="*/ 1156 h 2320"/>
                    <a:gd name="T14" fmla="*/ 280 w 1444"/>
                    <a:gd name="T15" fmla="*/ 1897 h 2320"/>
                    <a:gd name="T16" fmla="*/ 176 w 1444"/>
                    <a:gd name="T17" fmla="*/ 1890 h 2320"/>
                    <a:gd name="T18" fmla="*/ 0 w 1444"/>
                    <a:gd name="T19" fmla="*/ 2066 h 2320"/>
                    <a:gd name="T20" fmla="*/ 254 w 1444"/>
                    <a:gd name="T21" fmla="*/ 2320 h 23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444" h="2320">
                      <a:moveTo>
                        <a:pt x="254" y="2320"/>
                      </a:moveTo>
                      <a:cubicBezTo>
                        <a:pt x="262" y="2320"/>
                        <a:pt x="271" y="2320"/>
                        <a:pt x="280" y="2320"/>
                      </a:cubicBezTo>
                      <a:cubicBezTo>
                        <a:pt x="922" y="2320"/>
                        <a:pt x="1444" y="1799"/>
                        <a:pt x="1444" y="1156"/>
                      </a:cubicBezTo>
                      <a:cubicBezTo>
                        <a:pt x="1444" y="557"/>
                        <a:pt x="990" y="63"/>
                        <a:pt x="407" y="0"/>
                      </a:cubicBezTo>
                      <a:cubicBezTo>
                        <a:pt x="654" y="247"/>
                        <a:pt x="654" y="247"/>
                        <a:pt x="654" y="247"/>
                      </a:cubicBezTo>
                      <a:cubicBezTo>
                        <a:pt x="463" y="439"/>
                        <a:pt x="463" y="439"/>
                        <a:pt x="463" y="439"/>
                      </a:cubicBezTo>
                      <a:cubicBezTo>
                        <a:pt x="783" y="520"/>
                        <a:pt x="1020" y="811"/>
                        <a:pt x="1020" y="1156"/>
                      </a:cubicBezTo>
                      <a:cubicBezTo>
                        <a:pt x="1020" y="1566"/>
                        <a:pt x="689" y="1897"/>
                        <a:pt x="280" y="1897"/>
                      </a:cubicBezTo>
                      <a:cubicBezTo>
                        <a:pt x="244" y="1897"/>
                        <a:pt x="210" y="1895"/>
                        <a:pt x="176" y="1890"/>
                      </a:cubicBezTo>
                      <a:cubicBezTo>
                        <a:pt x="0" y="2066"/>
                        <a:pt x="0" y="2066"/>
                        <a:pt x="0" y="2066"/>
                      </a:cubicBezTo>
                      <a:lnTo>
                        <a:pt x="254" y="232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1053"/>
                </a:p>
              </p:txBody>
            </p:sp>
          </p:grpSp>
          <p:grpSp>
            <p:nvGrpSpPr>
              <p:cNvPr id="90" name="iŝḻíḓe">
                <a:extLst>
                  <a:ext uri="{FF2B5EF4-FFF2-40B4-BE49-F238E27FC236}">
                    <a16:creationId xmlns:a16="http://schemas.microsoft.com/office/drawing/2014/main" id="{5B5F0732-8825-45CC-B0EE-B88E3001FCA7}"/>
                  </a:ext>
                </a:extLst>
              </p:cNvPr>
              <p:cNvGrpSpPr/>
              <p:nvPr/>
            </p:nvGrpSpPr>
            <p:grpSpPr>
              <a:xfrm>
                <a:off x="5330225" y="2868323"/>
                <a:ext cx="1531551" cy="1531552"/>
                <a:chOff x="5330225" y="2868323"/>
                <a:chExt cx="1531551" cy="1531552"/>
              </a:xfrm>
            </p:grpSpPr>
            <p:sp>
              <p:nvSpPr>
                <p:cNvPr id="91" name="ïśḻiḋé">
                  <a:extLst>
                    <a:ext uri="{FF2B5EF4-FFF2-40B4-BE49-F238E27FC236}">
                      <a16:creationId xmlns:a16="http://schemas.microsoft.com/office/drawing/2014/main" id="{DB1AA85D-ED87-475E-91FD-05E4419943D5}"/>
                    </a:ext>
                  </a:extLst>
                </p:cNvPr>
                <p:cNvSpPr/>
                <p:nvPr/>
              </p:nvSpPr>
              <p:spPr bwMode="auto">
                <a:xfrm>
                  <a:off x="5330225" y="2868323"/>
                  <a:ext cx="1531551" cy="1531552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1053"/>
                </a:p>
              </p:txBody>
            </p:sp>
            <p:sp>
              <p:nvSpPr>
                <p:cNvPr id="92" name="išliḍè">
                  <a:extLst>
                    <a:ext uri="{FF2B5EF4-FFF2-40B4-BE49-F238E27FC236}">
                      <a16:creationId xmlns:a16="http://schemas.microsoft.com/office/drawing/2014/main" id="{940C77E9-DFAC-4131-B40D-62CEBEDD6EAF}"/>
                    </a:ext>
                  </a:extLst>
                </p:cNvPr>
                <p:cNvSpPr/>
                <p:nvPr/>
              </p:nvSpPr>
              <p:spPr>
                <a:xfrm>
                  <a:off x="5785026" y="3265927"/>
                  <a:ext cx="621949" cy="736347"/>
                </a:xfrm>
                <a:custGeom>
                  <a:avLst/>
                  <a:gdLst>
                    <a:gd name="connsiteX0" fmla="*/ 165256 w 512489"/>
                    <a:gd name="connsiteY0" fmla="*/ 344815 h 606754"/>
                    <a:gd name="connsiteX1" fmla="*/ 206016 w 512489"/>
                    <a:gd name="connsiteY1" fmla="*/ 473468 h 606754"/>
                    <a:gd name="connsiteX2" fmla="*/ 213629 w 512489"/>
                    <a:gd name="connsiteY2" fmla="*/ 497659 h 606754"/>
                    <a:gd name="connsiteX3" fmla="*/ 213815 w 512489"/>
                    <a:gd name="connsiteY3" fmla="*/ 497289 h 606754"/>
                    <a:gd name="connsiteX4" fmla="*/ 220500 w 512489"/>
                    <a:gd name="connsiteY4" fmla="*/ 517773 h 606754"/>
                    <a:gd name="connsiteX5" fmla="*/ 242040 w 512489"/>
                    <a:gd name="connsiteY5" fmla="*/ 456876 h 606754"/>
                    <a:gd name="connsiteX6" fmla="*/ 256245 w 512489"/>
                    <a:gd name="connsiteY6" fmla="*/ 384115 h 606754"/>
                    <a:gd name="connsiteX7" fmla="*/ 270451 w 512489"/>
                    <a:gd name="connsiteY7" fmla="*/ 456876 h 606754"/>
                    <a:gd name="connsiteX8" fmla="*/ 291991 w 512489"/>
                    <a:gd name="connsiteY8" fmla="*/ 517773 h 606754"/>
                    <a:gd name="connsiteX9" fmla="*/ 298676 w 512489"/>
                    <a:gd name="connsiteY9" fmla="*/ 497289 h 606754"/>
                    <a:gd name="connsiteX10" fmla="*/ 298861 w 512489"/>
                    <a:gd name="connsiteY10" fmla="*/ 497659 h 606754"/>
                    <a:gd name="connsiteX11" fmla="*/ 306475 w 512489"/>
                    <a:gd name="connsiteY11" fmla="*/ 473468 h 606754"/>
                    <a:gd name="connsiteX12" fmla="*/ 347234 w 512489"/>
                    <a:gd name="connsiteY12" fmla="*/ 344815 h 606754"/>
                    <a:gd name="connsiteX13" fmla="*/ 463756 w 512489"/>
                    <a:gd name="connsiteY13" fmla="*/ 397833 h 606754"/>
                    <a:gd name="connsiteX14" fmla="*/ 512035 w 512489"/>
                    <a:gd name="connsiteY14" fmla="*/ 492561 h 606754"/>
                    <a:gd name="connsiteX15" fmla="*/ 506465 w 512489"/>
                    <a:gd name="connsiteY15" fmla="*/ 545950 h 606754"/>
                    <a:gd name="connsiteX16" fmla="*/ 256152 w 512489"/>
                    <a:gd name="connsiteY16" fmla="*/ 606754 h 606754"/>
                    <a:gd name="connsiteX17" fmla="*/ 5840 w 512489"/>
                    <a:gd name="connsiteY17" fmla="*/ 545950 h 606754"/>
                    <a:gd name="connsiteX18" fmla="*/ 455 w 512489"/>
                    <a:gd name="connsiteY18" fmla="*/ 492561 h 606754"/>
                    <a:gd name="connsiteX19" fmla="*/ 48735 w 512489"/>
                    <a:gd name="connsiteY19" fmla="*/ 397833 h 606754"/>
                    <a:gd name="connsiteX20" fmla="*/ 165256 w 512489"/>
                    <a:gd name="connsiteY20" fmla="*/ 344815 h 606754"/>
                    <a:gd name="connsiteX21" fmla="*/ 247957 w 512489"/>
                    <a:gd name="connsiteY21" fmla="*/ 445 h 606754"/>
                    <a:gd name="connsiteX22" fmla="*/ 313324 w 512489"/>
                    <a:gd name="connsiteY22" fmla="*/ 14258 h 606754"/>
                    <a:gd name="connsiteX23" fmla="*/ 345080 w 512489"/>
                    <a:gd name="connsiteY23" fmla="*/ 43830 h 606754"/>
                    <a:gd name="connsiteX24" fmla="*/ 379992 w 512489"/>
                    <a:gd name="connsiteY24" fmla="*/ 154608 h 606754"/>
                    <a:gd name="connsiteX25" fmla="*/ 375442 w 512489"/>
                    <a:gd name="connsiteY25" fmla="*/ 171665 h 606754"/>
                    <a:gd name="connsiteX26" fmla="*/ 386677 w 512489"/>
                    <a:gd name="connsiteY26" fmla="*/ 218108 h 606754"/>
                    <a:gd name="connsiteX27" fmla="*/ 364207 w 512489"/>
                    <a:gd name="connsiteY27" fmla="*/ 257321 h 606754"/>
                    <a:gd name="connsiteX28" fmla="*/ 284912 w 512489"/>
                    <a:gd name="connsiteY28" fmla="*/ 354936 h 606754"/>
                    <a:gd name="connsiteX29" fmla="*/ 226972 w 512489"/>
                    <a:gd name="connsiteY29" fmla="*/ 355028 h 606754"/>
                    <a:gd name="connsiteX30" fmla="*/ 148049 w 512489"/>
                    <a:gd name="connsiteY30" fmla="*/ 257321 h 606754"/>
                    <a:gd name="connsiteX31" fmla="*/ 125579 w 512489"/>
                    <a:gd name="connsiteY31" fmla="*/ 218108 h 606754"/>
                    <a:gd name="connsiteX32" fmla="*/ 136906 w 512489"/>
                    <a:gd name="connsiteY32" fmla="*/ 171665 h 606754"/>
                    <a:gd name="connsiteX33" fmla="*/ 132264 w 512489"/>
                    <a:gd name="connsiteY33" fmla="*/ 154608 h 606754"/>
                    <a:gd name="connsiteX34" fmla="*/ 132078 w 512489"/>
                    <a:gd name="connsiteY34" fmla="*/ 100099 h 606754"/>
                    <a:gd name="connsiteX35" fmla="*/ 163833 w 512489"/>
                    <a:gd name="connsiteY35" fmla="*/ 44293 h 606754"/>
                    <a:gd name="connsiteX36" fmla="*/ 193360 w 512489"/>
                    <a:gd name="connsiteY36" fmla="*/ 20005 h 606754"/>
                    <a:gd name="connsiteX37" fmla="*/ 221958 w 512489"/>
                    <a:gd name="connsiteY37" fmla="*/ 5358 h 606754"/>
                    <a:gd name="connsiteX38" fmla="*/ 247957 w 512489"/>
                    <a:gd name="connsiteY38" fmla="*/ 445 h 6067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</a:cxnLst>
                  <a:rect l="l" t="t" r="r" b="b"/>
                  <a:pathLst>
                    <a:path w="512489" h="606754">
                      <a:moveTo>
                        <a:pt x="165256" y="344815"/>
                      </a:moveTo>
                      <a:lnTo>
                        <a:pt x="206016" y="473468"/>
                      </a:lnTo>
                      <a:lnTo>
                        <a:pt x="213629" y="497659"/>
                      </a:lnTo>
                      <a:lnTo>
                        <a:pt x="213815" y="497289"/>
                      </a:lnTo>
                      <a:lnTo>
                        <a:pt x="220500" y="517773"/>
                      </a:lnTo>
                      <a:lnTo>
                        <a:pt x="242040" y="456876"/>
                      </a:lnTo>
                      <a:cubicBezTo>
                        <a:pt x="189118" y="383188"/>
                        <a:pt x="252624" y="383930"/>
                        <a:pt x="256245" y="384115"/>
                      </a:cubicBezTo>
                      <a:cubicBezTo>
                        <a:pt x="259866" y="383930"/>
                        <a:pt x="323373" y="383188"/>
                        <a:pt x="270451" y="456876"/>
                      </a:cubicBezTo>
                      <a:lnTo>
                        <a:pt x="291991" y="517773"/>
                      </a:lnTo>
                      <a:lnTo>
                        <a:pt x="298676" y="497289"/>
                      </a:lnTo>
                      <a:lnTo>
                        <a:pt x="298861" y="497659"/>
                      </a:lnTo>
                      <a:lnTo>
                        <a:pt x="306475" y="473468"/>
                      </a:lnTo>
                      <a:lnTo>
                        <a:pt x="347234" y="344815"/>
                      </a:lnTo>
                      <a:cubicBezTo>
                        <a:pt x="347234" y="344815"/>
                        <a:pt x="399506" y="381520"/>
                        <a:pt x="463756" y="397833"/>
                      </a:cubicBezTo>
                      <a:cubicBezTo>
                        <a:pt x="511664" y="410068"/>
                        <a:pt x="513985" y="465311"/>
                        <a:pt x="512035" y="492561"/>
                      </a:cubicBezTo>
                      <a:cubicBezTo>
                        <a:pt x="512035" y="492561"/>
                        <a:pt x="509250" y="529637"/>
                        <a:pt x="506465" y="545950"/>
                      </a:cubicBezTo>
                      <a:cubicBezTo>
                        <a:pt x="506465" y="545950"/>
                        <a:pt x="412876" y="606754"/>
                        <a:pt x="256152" y="606754"/>
                      </a:cubicBezTo>
                      <a:cubicBezTo>
                        <a:pt x="99429" y="606662"/>
                        <a:pt x="5840" y="545950"/>
                        <a:pt x="5840" y="545950"/>
                      </a:cubicBezTo>
                      <a:cubicBezTo>
                        <a:pt x="3055" y="529637"/>
                        <a:pt x="269" y="492561"/>
                        <a:pt x="455" y="492561"/>
                      </a:cubicBezTo>
                      <a:cubicBezTo>
                        <a:pt x="-1495" y="465126"/>
                        <a:pt x="826" y="409883"/>
                        <a:pt x="48735" y="397833"/>
                      </a:cubicBezTo>
                      <a:cubicBezTo>
                        <a:pt x="112984" y="381520"/>
                        <a:pt x="165256" y="344815"/>
                        <a:pt x="165256" y="344815"/>
                      </a:cubicBezTo>
                      <a:close/>
                      <a:moveTo>
                        <a:pt x="247957" y="445"/>
                      </a:moveTo>
                      <a:cubicBezTo>
                        <a:pt x="276277" y="-1872"/>
                        <a:pt x="297818" y="5173"/>
                        <a:pt x="313324" y="14258"/>
                      </a:cubicBezTo>
                      <a:cubicBezTo>
                        <a:pt x="336352" y="27051"/>
                        <a:pt x="345080" y="43830"/>
                        <a:pt x="345080" y="43830"/>
                      </a:cubicBezTo>
                      <a:cubicBezTo>
                        <a:pt x="345080" y="43830"/>
                        <a:pt x="397819" y="47538"/>
                        <a:pt x="379992" y="154608"/>
                      </a:cubicBezTo>
                      <a:cubicBezTo>
                        <a:pt x="379063" y="160262"/>
                        <a:pt x="377392" y="165917"/>
                        <a:pt x="375442" y="171665"/>
                      </a:cubicBezTo>
                      <a:cubicBezTo>
                        <a:pt x="385934" y="170645"/>
                        <a:pt x="398469" y="176671"/>
                        <a:pt x="386677" y="218108"/>
                      </a:cubicBezTo>
                      <a:cubicBezTo>
                        <a:pt x="378135" y="248236"/>
                        <a:pt x="370242" y="256765"/>
                        <a:pt x="364207" y="257321"/>
                      </a:cubicBezTo>
                      <a:cubicBezTo>
                        <a:pt x="358636" y="293103"/>
                        <a:pt x="329852" y="338713"/>
                        <a:pt x="284912" y="354936"/>
                      </a:cubicBezTo>
                      <a:cubicBezTo>
                        <a:pt x="266249" y="361610"/>
                        <a:pt x="245728" y="361610"/>
                        <a:pt x="226972" y="355028"/>
                      </a:cubicBezTo>
                      <a:cubicBezTo>
                        <a:pt x="181289" y="338991"/>
                        <a:pt x="153620" y="293289"/>
                        <a:pt x="148049" y="257321"/>
                      </a:cubicBezTo>
                      <a:cubicBezTo>
                        <a:pt x="141920" y="256765"/>
                        <a:pt x="134028" y="248421"/>
                        <a:pt x="125579" y="218108"/>
                      </a:cubicBezTo>
                      <a:cubicBezTo>
                        <a:pt x="113879" y="176671"/>
                        <a:pt x="126321" y="170645"/>
                        <a:pt x="136906" y="171665"/>
                      </a:cubicBezTo>
                      <a:cubicBezTo>
                        <a:pt x="134771" y="165825"/>
                        <a:pt x="133285" y="160262"/>
                        <a:pt x="132264" y="154608"/>
                      </a:cubicBezTo>
                      <a:cubicBezTo>
                        <a:pt x="128550" y="135140"/>
                        <a:pt x="127436" y="117249"/>
                        <a:pt x="132078" y="100099"/>
                      </a:cubicBezTo>
                      <a:cubicBezTo>
                        <a:pt x="137371" y="77109"/>
                        <a:pt x="149906" y="58569"/>
                        <a:pt x="163833" y="44293"/>
                      </a:cubicBezTo>
                      <a:cubicBezTo>
                        <a:pt x="172654" y="34930"/>
                        <a:pt x="182682" y="26680"/>
                        <a:pt x="193360" y="20005"/>
                      </a:cubicBezTo>
                      <a:cubicBezTo>
                        <a:pt x="201995" y="14072"/>
                        <a:pt x="211559" y="8881"/>
                        <a:pt x="221958" y="5358"/>
                      </a:cubicBezTo>
                      <a:cubicBezTo>
                        <a:pt x="230129" y="2670"/>
                        <a:pt x="238765" y="909"/>
                        <a:pt x="247957" y="445"/>
                      </a:cubicBez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zh-CN" altLang="en-US"/>
                </a:p>
              </p:txBody>
            </p:sp>
          </p:grpSp>
        </p:grpSp>
        <p:grpSp>
          <p:nvGrpSpPr>
            <p:cNvPr id="67" name="ïSḷîḓé">
              <a:extLst>
                <a:ext uri="{FF2B5EF4-FFF2-40B4-BE49-F238E27FC236}">
                  <a16:creationId xmlns:a16="http://schemas.microsoft.com/office/drawing/2014/main" id="{F2B92131-0C36-43B6-88A7-9BB1A66CE683}"/>
                </a:ext>
              </a:extLst>
            </p:cNvPr>
            <p:cNvGrpSpPr/>
            <p:nvPr/>
          </p:nvGrpSpPr>
          <p:grpSpPr>
            <a:xfrm>
              <a:off x="7252380" y="2752439"/>
              <a:ext cx="739494" cy="739494"/>
              <a:chOff x="7251982" y="3264352"/>
              <a:chExt cx="739494" cy="739494"/>
            </a:xfrm>
          </p:grpSpPr>
          <p:sp>
            <p:nvSpPr>
              <p:cNvPr id="87" name="ísļíḑê">
                <a:extLst>
                  <a:ext uri="{FF2B5EF4-FFF2-40B4-BE49-F238E27FC236}">
                    <a16:creationId xmlns:a16="http://schemas.microsoft.com/office/drawing/2014/main" id="{DADF50DE-4C56-4407-8673-0C914BE79047}"/>
                  </a:ext>
                </a:extLst>
              </p:cNvPr>
              <p:cNvSpPr/>
              <p:nvPr/>
            </p:nvSpPr>
            <p:spPr bwMode="auto">
              <a:xfrm>
                <a:off x="7251982" y="3264352"/>
                <a:ext cx="739494" cy="739494"/>
              </a:xfrm>
              <a:prstGeom prst="ellipse">
                <a:avLst/>
              </a:prstGeom>
              <a:solidFill>
                <a:schemeClr val="accent2"/>
              </a:solidFill>
              <a:ln w="28575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053"/>
              </a:p>
            </p:txBody>
          </p:sp>
          <p:sp>
            <p:nvSpPr>
              <p:cNvPr id="88" name="ïSliḋe">
                <a:extLst>
                  <a:ext uri="{FF2B5EF4-FFF2-40B4-BE49-F238E27FC236}">
                    <a16:creationId xmlns:a16="http://schemas.microsoft.com/office/drawing/2014/main" id="{9FAEFFBF-5314-4131-978D-5909C097AB5E}"/>
                  </a:ext>
                </a:extLst>
              </p:cNvPr>
              <p:cNvSpPr/>
              <p:nvPr/>
            </p:nvSpPr>
            <p:spPr>
              <a:xfrm>
                <a:off x="7469946" y="3467724"/>
                <a:ext cx="303563" cy="332752"/>
              </a:xfrm>
              <a:custGeom>
                <a:avLst/>
                <a:gdLst>
                  <a:gd name="connsiteX0" fmla="*/ 247650 w 495300"/>
                  <a:gd name="connsiteY0" fmla="*/ 0 h 542925"/>
                  <a:gd name="connsiteX1" fmla="*/ 495300 w 495300"/>
                  <a:gd name="connsiteY1" fmla="*/ 247650 h 542925"/>
                  <a:gd name="connsiteX2" fmla="*/ 322707 w 495300"/>
                  <a:gd name="connsiteY2" fmla="*/ 483775 h 542925"/>
                  <a:gd name="connsiteX3" fmla="*/ 345853 w 495300"/>
                  <a:gd name="connsiteY3" fmla="*/ 523875 h 542925"/>
                  <a:gd name="connsiteX4" fmla="*/ 419100 w 495300"/>
                  <a:gd name="connsiteY4" fmla="*/ 523875 h 542925"/>
                  <a:gd name="connsiteX5" fmla="*/ 419100 w 495300"/>
                  <a:gd name="connsiteY5" fmla="*/ 542925 h 542925"/>
                  <a:gd name="connsiteX6" fmla="*/ 76200 w 495300"/>
                  <a:gd name="connsiteY6" fmla="*/ 542925 h 542925"/>
                  <a:gd name="connsiteX7" fmla="*/ 76200 w 495300"/>
                  <a:gd name="connsiteY7" fmla="*/ 523875 h 542925"/>
                  <a:gd name="connsiteX8" fmla="*/ 149447 w 495300"/>
                  <a:gd name="connsiteY8" fmla="*/ 523875 h 542925"/>
                  <a:gd name="connsiteX9" fmla="*/ 172593 w 495300"/>
                  <a:gd name="connsiteY9" fmla="*/ 483775 h 542925"/>
                  <a:gd name="connsiteX10" fmla="*/ 0 w 495300"/>
                  <a:gd name="connsiteY10" fmla="*/ 247650 h 542925"/>
                  <a:gd name="connsiteX11" fmla="*/ 247650 w 495300"/>
                  <a:gd name="connsiteY11" fmla="*/ 0 h 542925"/>
                  <a:gd name="connsiteX12" fmla="*/ 191643 w 495300"/>
                  <a:gd name="connsiteY12" fmla="*/ 488918 h 542925"/>
                  <a:gd name="connsiteX13" fmla="*/ 171450 w 495300"/>
                  <a:gd name="connsiteY13" fmla="*/ 523875 h 542925"/>
                  <a:gd name="connsiteX14" fmla="*/ 323850 w 495300"/>
                  <a:gd name="connsiteY14" fmla="*/ 523875 h 542925"/>
                  <a:gd name="connsiteX15" fmla="*/ 303657 w 495300"/>
                  <a:gd name="connsiteY15" fmla="*/ 488918 h 542925"/>
                  <a:gd name="connsiteX16" fmla="*/ 247650 w 495300"/>
                  <a:gd name="connsiteY16" fmla="*/ 495300 h 542925"/>
                  <a:gd name="connsiteX17" fmla="*/ 191643 w 495300"/>
                  <a:gd name="connsiteY17" fmla="*/ 488918 h 542925"/>
                  <a:gd name="connsiteX18" fmla="*/ 247650 w 495300"/>
                  <a:gd name="connsiteY18" fmla="*/ 142875 h 542925"/>
                  <a:gd name="connsiteX19" fmla="*/ 142875 w 495300"/>
                  <a:gd name="connsiteY19" fmla="*/ 247650 h 542925"/>
                  <a:gd name="connsiteX20" fmla="*/ 247650 w 495300"/>
                  <a:gd name="connsiteY20" fmla="*/ 352425 h 542925"/>
                  <a:gd name="connsiteX21" fmla="*/ 352425 w 495300"/>
                  <a:gd name="connsiteY21" fmla="*/ 247650 h 542925"/>
                  <a:gd name="connsiteX22" fmla="*/ 247650 w 495300"/>
                  <a:gd name="connsiteY22" fmla="*/ 142875 h 542925"/>
                  <a:gd name="connsiteX23" fmla="*/ 366713 w 495300"/>
                  <a:gd name="connsiteY23" fmla="*/ 114300 h 542925"/>
                  <a:gd name="connsiteX24" fmla="*/ 352425 w 495300"/>
                  <a:gd name="connsiteY24" fmla="*/ 128588 h 542925"/>
                  <a:gd name="connsiteX25" fmla="*/ 366713 w 495300"/>
                  <a:gd name="connsiteY25" fmla="*/ 142875 h 542925"/>
                  <a:gd name="connsiteX26" fmla="*/ 381000 w 495300"/>
                  <a:gd name="connsiteY26" fmla="*/ 128588 h 542925"/>
                  <a:gd name="connsiteX27" fmla="*/ 366713 w 495300"/>
                  <a:gd name="connsiteY27" fmla="*/ 114300 h 542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495300" h="542925">
                    <a:moveTo>
                      <a:pt x="247650" y="0"/>
                    </a:moveTo>
                    <a:cubicBezTo>
                      <a:pt x="384429" y="0"/>
                      <a:pt x="495300" y="110871"/>
                      <a:pt x="495300" y="247650"/>
                    </a:cubicBezTo>
                    <a:cubicBezTo>
                      <a:pt x="495300" y="358235"/>
                      <a:pt x="422815" y="451961"/>
                      <a:pt x="322707" y="483775"/>
                    </a:cubicBezTo>
                    <a:lnTo>
                      <a:pt x="345853" y="523875"/>
                    </a:lnTo>
                    <a:lnTo>
                      <a:pt x="419100" y="523875"/>
                    </a:lnTo>
                    <a:lnTo>
                      <a:pt x="419100" y="542925"/>
                    </a:lnTo>
                    <a:lnTo>
                      <a:pt x="76200" y="542925"/>
                    </a:lnTo>
                    <a:lnTo>
                      <a:pt x="76200" y="523875"/>
                    </a:lnTo>
                    <a:lnTo>
                      <a:pt x="149447" y="523875"/>
                    </a:lnTo>
                    <a:lnTo>
                      <a:pt x="172593" y="483775"/>
                    </a:lnTo>
                    <a:cubicBezTo>
                      <a:pt x="72485" y="451961"/>
                      <a:pt x="0" y="358235"/>
                      <a:pt x="0" y="247650"/>
                    </a:cubicBezTo>
                    <a:cubicBezTo>
                      <a:pt x="0" y="110871"/>
                      <a:pt x="110871" y="0"/>
                      <a:pt x="247650" y="0"/>
                    </a:cubicBezTo>
                    <a:close/>
                    <a:moveTo>
                      <a:pt x="191643" y="488918"/>
                    </a:moveTo>
                    <a:lnTo>
                      <a:pt x="171450" y="523875"/>
                    </a:lnTo>
                    <a:lnTo>
                      <a:pt x="323850" y="523875"/>
                    </a:lnTo>
                    <a:lnTo>
                      <a:pt x="303657" y="488918"/>
                    </a:lnTo>
                    <a:cubicBezTo>
                      <a:pt x="285655" y="493109"/>
                      <a:pt x="266891" y="495300"/>
                      <a:pt x="247650" y="495300"/>
                    </a:cubicBezTo>
                    <a:cubicBezTo>
                      <a:pt x="228409" y="495300"/>
                      <a:pt x="209645" y="493109"/>
                      <a:pt x="191643" y="488918"/>
                    </a:cubicBezTo>
                    <a:close/>
                    <a:moveTo>
                      <a:pt x="247650" y="142875"/>
                    </a:moveTo>
                    <a:cubicBezTo>
                      <a:pt x="189738" y="142875"/>
                      <a:pt x="142875" y="189738"/>
                      <a:pt x="142875" y="247650"/>
                    </a:cubicBezTo>
                    <a:cubicBezTo>
                      <a:pt x="142875" y="305562"/>
                      <a:pt x="189738" y="352425"/>
                      <a:pt x="247650" y="352425"/>
                    </a:cubicBezTo>
                    <a:cubicBezTo>
                      <a:pt x="305562" y="352425"/>
                      <a:pt x="352425" y="305562"/>
                      <a:pt x="352425" y="247650"/>
                    </a:cubicBezTo>
                    <a:cubicBezTo>
                      <a:pt x="352425" y="189738"/>
                      <a:pt x="305562" y="142875"/>
                      <a:pt x="247650" y="142875"/>
                    </a:cubicBezTo>
                    <a:close/>
                    <a:moveTo>
                      <a:pt x="366713" y="114300"/>
                    </a:moveTo>
                    <a:cubicBezTo>
                      <a:pt x="358807" y="114300"/>
                      <a:pt x="352425" y="120682"/>
                      <a:pt x="352425" y="128588"/>
                    </a:cubicBezTo>
                    <a:cubicBezTo>
                      <a:pt x="352425" y="136493"/>
                      <a:pt x="358807" y="142875"/>
                      <a:pt x="366713" y="142875"/>
                    </a:cubicBezTo>
                    <a:cubicBezTo>
                      <a:pt x="374618" y="142875"/>
                      <a:pt x="381000" y="136493"/>
                      <a:pt x="381000" y="128588"/>
                    </a:cubicBezTo>
                    <a:cubicBezTo>
                      <a:pt x="381000" y="120682"/>
                      <a:pt x="374618" y="114300"/>
                      <a:pt x="366713" y="11430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</p:grpSp>
        <p:grpSp>
          <p:nvGrpSpPr>
            <p:cNvPr id="68" name="îšlíḓê">
              <a:extLst>
                <a:ext uri="{FF2B5EF4-FFF2-40B4-BE49-F238E27FC236}">
                  <a16:creationId xmlns:a16="http://schemas.microsoft.com/office/drawing/2014/main" id="{85F570DF-23BA-4A0C-AC64-C53DBAD746D1}"/>
                </a:ext>
              </a:extLst>
            </p:cNvPr>
            <p:cNvGrpSpPr/>
            <p:nvPr/>
          </p:nvGrpSpPr>
          <p:grpSpPr>
            <a:xfrm>
              <a:off x="4200923" y="2752439"/>
              <a:ext cx="739494" cy="739494"/>
              <a:chOff x="4200525" y="3264352"/>
              <a:chExt cx="739494" cy="739494"/>
            </a:xfrm>
          </p:grpSpPr>
          <p:sp>
            <p:nvSpPr>
              <p:cNvPr id="85" name="ïṣḷíďè">
                <a:extLst>
                  <a:ext uri="{FF2B5EF4-FFF2-40B4-BE49-F238E27FC236}">
                    <a16:creationId xmlns:a16="http://schemas.microsoft.com/office/drawing/2014/main" id="{1BA7D2B9-1092-4F7F-8B21-AD0D80258C3E}"/>
                  </a:ext>
                </a:extLst>
              </p:cNvPr>
              <p:cNvSpPr/>
              <p:nvPr/>
            </p:nvSpPr>
            <p:spPr bwMode="auto">
              <a:xfrm>
                <a:off x="4200525" y="3264352"/>
                <a:ext cx="739494" cy="739494"/>
              </a:xfrm>
              <a:prstGeom prst="ellipse">
                <a:avLst/>
              </a:prstGeom>
              <a:solidFill>
                <a:schemeClr val="accent1"/>
              </a:solidFill>
              <a:ln w="28575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053"/>
              </a:p>
            </p:txBody>
          </p:sp>
          <p:sp>
            <p:nvSpPr>
              <p:cNvPr id="86" name="î$1íḓè">
                <a:extLst>
                  <a:ext uri="{FF2B5EF4-FFF2-40B4-BE49-F238E27FC236}">
                    <a16:creationId xmlns:a16="http://schemas.microsoft.com/office/drawing/2014/main" id="{969BB8A7-EA40-46A8-81AB-2E1D2C36BF45}"/>
                  </a:ext>
                </a:extLst>
              </p:cNvPr>
              <p:cNvSpPr/>
              <p:nvPr/>
            </p:nvSpPr>
            <p:spPr>
              <a:xfrm>
                <a:off x="4403895" y="3482577"/>
                <a:ext cx="332752" cy="303042"/>
              </a:xfrm>
              <a:custGeom>
                <a:avLst/>
                <a:gdLst>
                  <a:gd name="connsiteX0" fmla="*/ 123825 w 533400"/>
                  <a:gd name="connsiteY0" fmla="*/ 228600 h 485775"/>
                  <a:gd name="connsiteX1" fmla="*/ 123825 w 533400"/>
                  <a:gd name="connsiteY1" fmla="*/ 276225 h 485775"/>
                  <a:gd name="connsiteX2" fmla="*/ 142875 w 533400"/>
                  <a:gd name="connsiteY2" fmla="*/ 276225 h 485775"/>
                  <a:gd name="connsiteX3" fmla="*/ 142875 w 533400"/>
                  <a:gd name="connsiteY3" fmla="*/ 228600 h 485775"/>
                  <a:gd name="connsiteX4" fmla="*/ 390525 w 533400"/>
                  <a:gd name="connsiteY4" fmla="*/ 228600 h 485775"/>
                  <a:gd name="connsiteX5" fmla="*/ 390525 w 533400"/>
                  <a:gd name="connsiteY5" fmla="*/ 276225 h 485775"/>
                  <a:gd name="connsiteX6" fmla="*/ 409575 w 533400"/>
                  <a:gd name="connsiteY6" fmla="*/ 276225 h 485775"/>
                  <a:gd name="connsiteX7" fmla="*/ 409575 w 533400"/>
                  <a:gd name="connsiteY7" fmla="*/ 228600 h 485775"/>
                  <a:gd name="connsiteX8" fmla="*/ 533400 w 533400"/>
                  <a:gd name="connsiteY8" fmla="*/ 228600 h 485775"/>
                  <a:gd name="connsiteX9" fmla="*/ 533400 w 533400"/>
                  <a:gd name="connsiteY9" fmla="*/ 457200 h 485775"/>
                  <a:gd name="connsiteX10" fmla="*/ 504825 w 533400"/>
                  <a:gd name="connsiteY10" fmla="*/ 485775 h 485775"/>
                  <a:gd name="connsiteX11" fmla="*/ 28575 w 533400"/>
                  <a:gd name="connsiteY11" fmla="*/ 485775 h 485775"/>
                  <a:gd name="connsiteX12" fmla="*/ 0 w 533400"/>
                  <a:gd name="connsiteY12" fmla="*/ 457200 h 485775"/>
                  <a:gd name="connsiteX13" fmla="*/ 0 w 533400"/>
                  <a:gd name="connsiteY13" fmla="*/ 228600 h 485775"/>
                  <a:gd name="connsiteX14" fmla="*/ 123825 w 533400"/>
                  <a:gd name="connsiteY14" fmla="*/ 228600 h 485775"/>
                  <a:gd name="connsiteX15" fmla="*/ 371475 w 533400"/>
                  <a:gd name="connsiteY15" fmla="*/ 0 h 485775"/>
                  <a:gd name="connsiteX16" fmla="*/ 409575 w 533400"/>
                  <a:gd name="connsiteY16" fmla="*/ 36195 h 485775"/>
                  <a:gd name="connsiteX17" fmla="*/ 409575 w 533400"/>
                  <a:gd name="connsiteY17" fmla="*/ 38100 h 485775"/>
                  <a:gd name="connsiteX18" fmla="*/ 409575 w 533400"/>
                  <a:gd name="connsiteY18" fmla="*/ 114300 h 485775"/>
                  <a:gd name="connsiteX19" fmla="*/ 504825 w 533400"/>
                  <a:gd name="connsiteY19" fmla="*/ 114300 h 485775"/>
                  <a:gd name="connsiteX20" fmla="*/ 533400 w 533400"/>
                  <a:gd name="connsiteY20" fmla="*/ 142875 h 485775"/>
                  <a:gd name="connsiteX21" fmla="*/ 533400 w 533400"/>
                  <a:gd name="connsiteY21" fmla="*/ 209550 h 485775"/>
                  <a:gd name="connsiteX22" fmla="*/ 0 w 533400"/>
                  <a:gd name="connsiteY22" fmla="*/ 209550 h 485775"/>
                  <a:gd name="connsiteX23" fmla="*/ 0 w 533400"/>
                  <a:gd name="connsiteY23" fmla="*/ 142875 h 485775"/>
                  <a:gd name="connsiteX24" fmla="*/ 28575 w 533400"/>
                  <a:gd name="connsiteY24" fmla="*/ 114300 h 485775"/>
                  <a:gd name="connsiteX25" fmla="*/ 123825 w 533400"/>
                  <a:gd name="connsiteY25" fmla="*/ 114300 h 485775"/>
                  <a:gd name="connsiteX26" fmla="*/ 123825 w 533400"/>
                  <a:gd name="connsiteY26" fmla="*/ 38100 h 485775"/>
                  <a:gd name="connsiteX27" fmla="*/ 160020 w 533400"/>
                  <a:gd name="connsiteY27" fmla="*/ 0 h 485775"/>
                  <a:gd name="connsiteX28" fmla="*/ 161925 w 533400"/>
                  <a:gd name="connsiteY28" fmla="*/ 0 h 485775"/>
                  <a:gd name="connsiteX29" fmla="*/ 371475 w 533400"/>
                  <a:gd name="connsiteY29" fmla="*/ 0 h 485775"/>
                  <a:gd name="connsiteX30" fmla="*/ 371475 w 533400"/>
                  <a:gd name="connsiteY30" fmla="*/ 19050 h 485775"/>
                  <a:gd name="connsiteX31" fmla="*/ 161925 w 533400"/>
                  <a:gd name="connsiteY31" fmla="*/ 19050 h 485775"/>
                  <a:gd name="connsiteX32" fmla="*/ 142970 w 533400"/>
                  <a:gd name="connsiteY32" fmla="*/ 36671 h 485775"/>
                  <a:gd name="connsiteX33" fmla="*/ 142875 w 533400"/>
                  <a:gd name="connsiteY33" fmla="*/ 38100 h 485775"/>
                  <a:gd name="connsiteX34" fmla="*/ 142875 w 533400"/>
                  <a:gd name="connsiteY34" fmla="*/ 114300 h 485775"/>
                  <a:gd name="connsiteX35" fmla="*/ 390525 w 533400"/>
                  <a:gd name="connsiteY35" fmla="*/ 114300 h 485775"/>
                  <a:gd name="connsiteX36" fmla="*/ 390525 w 533400"/>
                  <a:gd name="connsiteY36" fmla="*/ 38100 h 485775"/>
                  <a:gd name="connsiteX37" fmla="*/ 374333 w 533400"/>
                  <a:gd name="connsiteY37" fmla="*/ 19241 h 485775"/>
                  <a:gd name="connsiteX38" fmla="*/ 372904 w 533400"/>
                  <a:gd name="connsiteY38" fmla="*/ 19050 h 485775"/>
                  <a:gd name="connsiteX39" fmla="*/ 371475 w 533400"/>
                  <a:gd name="connsiteY39" fmla="*/ 19050 h 485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533400" h="485775">
                    <a:moveTo>
                      <a:pt x="123825" y="228600"/>
                    </a:moveTo>
                    <a:lnTo>
                      <a:pt x="123825" y="276225"/>
                    </a:lnTo>
                    <a:lnTo>
                      <a:pt x="142875" y="276225"/>
                    </a:lnTo>
                    <a:lnTo>
                      <a:pt x="142875" y="228600"/>
                    </a:lnTo>
                    <a:lnTo>
                      <a:pt x="390525" y="228600"/>
                    </a:lnTo>
                    <a:lnTo>
                      <a:pt x="390525" y="276225"/>
                    </a:lnTo>
                    <a:lnTo>
                      <a:pt x="409575" y="276225"/>
                    </a:lnTo>
                    <a:lnTo>
                      <a:pt x="409575" y="228600"/>
                    </a:lnTo>
                    <a:lnTo>
                      <a:pt x="533400" y="228600"/>
                    </a:lnTo>
                    <a:lnTo>
                      <a:pt x="533400" y="457200"/>
                    </a:lnTo>
                    <a:cubicBezTo>
                      <a:pt x="533400" y="473012"/>
                      <a:pt x="520637" y="485775"/>
                      <a:pt x="504825" y="485775"/>
                    </a:cubicBezTo>
                    <a:lnTo>
                      <a:pt x="28575" y="485775"/>
                    </a:lnTo>
                    <a:cubicBezTo>
                      <a:pt x="12763" y="485775"/>
                      <a:pt x="0" y="473012"/>
                      <a:pt x="0" y="457200"/>
                    </a:cubicBezTo>
                    <a:lnTo>
                      <a:pt x="0" y="228600"/>
                    </a:lnTo>
                    <a:lnTo>
                      <a:pt x="123825" y="228600"/>
                    </a:lnTo>
                    <a:close/>
                    <a:moveTo>
                      <a:pt x="371475" y="0"/>
                    </a:moveTo>
                    <a:cubicBezTo>
                      <a:pt x="391859" y="0"/>
                      <a:pt x="408527" y="16002"/>
                      <a:pt x="409575" y="36195"/>
                    </a:cubicBezTo>
                    <a:lnTo>
                      <a:pt x="409575" y="38100"/>
                    </a:lnTo>
                    <a:lnTo>
                      <a:pt x="409575" y="114300"/>
                    </a:lnTo>
                    <a:lnTo>
                      <a:pt x="504825" y="114300"/>
                    </a:lnTo>
                    <a:cubicBezTo>
                      <a:pt x="520637" y="114300"/>
                      <a:pt x="533400" y="127064"/>
                      <a:pt x="533400" y="142875"/>
                    </a:cubicBezTo>
                    <a:lnTo>
                      <a:pt x="533400" y="209550"/>
                    </a:lnTo>
                    <a:lnTo>
                      <a:pt x="0" y="209550"/>
                    </a:lnTo>
                    <a:lnTo>
                      <a:pt x="0" y="142875"/>
                    </a:lnTo>
                    <a:cubicBezTo>
                      <a:pt x="0" y="127064"/>
                      <a:pt x="12763" y="114300"/>
                      <a:pt x="28575" y="114300"/>
                    </a:cubicBezTo>
                    <a:lnTo>
                      <a:pt x="123825" y="114300"/>
                    </a:lnTo>
                    <a:lnTo>
                      <a:pt x="123825" y="38100"/>
                    </a:lnTo>
                    <a:cubicBezTo>
                      <a:pt x="123825" y="17716"/>
                      <a:pt x="139828" y="1048"/>
                      <a:pt x="160020" y="0"/>
                    </a:cubicBezTo>
                    <a:lnTo>
                      <a:pt x="161925" y="0"/>
                    </a:lnTo>
                    <a:lnTo>
                      <a:pt x="371475" y="0"/>
                    </a:lnTo>
                    <a:close/>
                    <a:moveTo>
                      <a:pt x="371475" y="19050"/>
                    </a:moveTo>
                    <a:lnTo>
                      <a:pt x="161925" y="19050"/>
                    </a:lnTo>
                    <a:cubicBezTo>
                      <a:pt x="151923" y="19050"/>
                      <a:pt x="143637" y="26861"/>
                      <a:pt x="142970" y="36671"/>
                    </a:cubicBezTo>
                    <a:lnTo>
                      <a:pt x="142875" y="38100"/>
                    </a:lnTo>
                    <a:lnTo>
                      <a:pt x="142875" y="114300"/>
                    </a:lnTo>
                    <a:lnTo>
                      <a:pt x="390525" y="114300"/>
                    </a:lnTo>
                    <a:lnTo>
                      <a:pt x="390525" y="38100"/>
                    </a:lnTo>
                    <a:cubicBezTo>
                      <a:pt x="390525" y="28575"/>
                      <a:pt x="383477" y="20669"/>
                      <a:pt x="374333" y="19241"/>
                    </a:cubicBezTo>
                    <a:lnTo>
                      <a:pt x="372904" y="19050"/>
                    </a:lnTo>
                    <a:lnTo>
                      <a:pt x="371475" y="1905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</p:grpSp>
        <p:grpSp>
          <p:nvGrpSpPr>
            <p:cNvPr id="69" name="îṥḻídé">
              <a:extLst>
                <a:ext uri="{FF2B5EF4-FFF2-40B4-BE49-F238E27FC236}">
                  <a16:creationId xmlns:a16="http://schemas.microsoft.com/office/drawing/2014/main" id="{C92C70C9-8522-4FDD-A167-A3FE8BE63C2D}"/>
                </a:ext>
              </a:extLst>
            </p:cNvPr>
            <p:cNvGrpSpPr>
              <a:grpSpLocks/>
            </p:cNvGrpSpPr>
            <p:nvPr/>
          </p:nvGrpSpPr>
          <p:grpSpPr>
            <a:xfrm>
              <a:off x="698632" y="3138183"/>
              <a:ext cx="3306327" cy="463799"/>
              <a:chOff x="698234" y="3656230"/>
              <a:chExt cx="3306327" cy="463799"/>
            </a:xfrm>
          </p:grpSpPr>
          <p:cxnSp>
            <p:nvCxnSpPr>
              <p:cNvPr id="83" name="îṡḷiḍe">
                <a:extLst>
                  <a:ext uri="{FF2B5EF4-FFF2-40B4-BE49-F238E27FC236}">
                    <a16:creationId xmlns:a16="http://schemas.microsoft.com/office/drawing/2014/main" id="{60B0C960-A2EA-4AAC-B15B-AE6B240E41D4}"/>
                  </a:ext>
                </a:extLst>
              </p:cNvPr>
              <p:cNvCxnSpPr/>
              <p:nvPr/>
            </p:nvCxnSpPr>
            <p:spPr>
              <a:xfrm flipH="1" flipV="1">
                <a:off x="698234" y="4120029"/>
                <a:ext cx="2566478" cy="0"/>
              </a:xfrm>
              <a:prstGeom prst="line">
                <a:avLst/>
              </a:prstGeom>
              <a:ln w="12700">
                <a:solidFill>
                  <a:schemeClr val="bg1">
                    <a:lumMod val="75000"/>
                  </a:schemeClr>
                </a:solidFill>
                <a:head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4" name="îSļïḑè">
                <a:extLst>
                  <a:ext uri="{FF2B5EF4-FFF2-40B4-BE49-F238E27FC236}">
                    <a16:creationId xmlns:a16="http://schemas.microsoft.com/office/drawing/2014/main" id="{FE913D28-264A-4E8D-A472-0E842FEEB3FD}"/>
                  </a:ext>
                </a:extLst>
              </p:cNvPr>
              <p:cNvSpPr/>
              <p:nvPr/>
            </p:nvSpPr>
            <p:spPr bwMode="auto">
              <a:xfrm>
                <a:off x="3264712" y="3656230"/>
                <a:ext cx="739849" cy="463799"/>
              </a:xfrm>
              <a:custGeom>
                <a:avLst/>
                <a:gdLst>
                  <a:gd name="T0" fmla="*/ 0 w 1149"/>
                  <a:gd name="T1" fmla="*/ 830 h 830"/>
                  <a:gd name="T2" fmla="*/ 273 w 1149"/>
                  <a:gd name="T3" fmla="*/ 717 h 830"/>
                  <a:gd name="T4" fmla="*/ 876 w 1149"/>
                  <a:gd name="T5" fmla="*/ 113 h 830"/>
                  <a:gd name="T6" fmla="*/ 1149 w 1149"/>
                  <a:gd name="T7" fmla="*/ 0 h 8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49" h="830">
                    <a:moveTo>
                      <a:pt x="0" y="830"/>
                    </a:moveTo>
                    <a:cubicBezTo>
                      <a:pt x="88" y="830"/>
                      <a:pt x="211" y="779"/>
                      <a:pt x="273" y="717"/>
                    </a:cubicBezTo>
                    <a:cubicBezTo>
                      <a:pt x="876" y="113"/>
                      <a:pt x="876" y="113"/>
                      <a:pt x="876" y="113"/>
                    </a:cubicBezTo>
                    <a:cubicBezTo>
                      <a:pt x="938" y="51"/>
                      <a:pt x="1061" y="0"/>
                      <a:pt x="1149" y="0"/>
                    </a:cubicBezTo>
                  </a:path>
                </a:pathLst>
              </a:custGeom>
              <a:noFill/>
              <a:ln w="12700" cap="flat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 type="none"/>
                <a:tailEnd type="oval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053"/>
              </a:p>
            </p:txBody>
          </p:sp>
        </p:grpSp>
        <p:grpSp>
          <p:nvGrpSpPr>
            <p:cNvPr id="70" name="iŝlïḓe">
              <a:extLst>
                <a:ext uri="{FF2B5EF4-FFF2-40B4-BE49-F238E27FC236}">
                  <a16:creationId xmlns:a16="http://schemas.microsoft.com/office/drawing/2014/main" id="{3A143EF8-7B71-453B-8114-4919F24851B3}"/>
                </a:ext>
              </a:extLst>
            </p:cNvPr>
            <p:cNvGrpSpPr/>
            <p:nvPr/>
          </p:nvGrpSpPr>
          <p:grpSpPr>
            <a:xfrm>
              <a:off x="672704" y="3137507"/>
              <a:ext cx="2652161" cy="1086937"/>
              <a:chOff x="673100" y="3401524"/>
              <a:chExt cx="2652161" cy="1086937"/>
            </a:xfrm>
          </p:grpSpPr>
          <p:sp>
            <p:nvSpPr>
              <p:cNvPr id="81" name="ïsliďè">
                <a:extLst>
                  <a:ext uri="{FF2B5EF4-FFF2-40B4-BE49-F238E27FC236}">
                    <a16:creationId xmlns:a16="http://schemas.microsoft.com/office/drawing/2014/main" id="{3495B739-E5A7-4F4A-95FD-24BDFE4B18B1}"/>
                  </a:ext>
                </a:extLst>
              </p:cNvPr>
              <p:cNvSpPr txBox="1"/>
              <p:nvPr/>
            </p:nvSpPr>
            <p:spPr bwMode="auto">
              <a:xfrm>
                <a:off x="673100" y="3401524"/>
                <a:ext cx="2652161" cy="45518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  <p:sp>
            <p:nvSpPr>
              <p:cNvPr id="82" name="îṡlïḍé">
                <a:extLst>
                  <a:ext uri="{FF2B5EF4-FFF2-40B4-BE49-F238E27FC236}">
                    <a16:creationId xmlns:a16="http://schemas.microsoft.com/office/drawing/2014/main" id="{AC321F9B-F99D-44D6-95EE-4CF3F8A760F8}"/>
                  </a:ext>
                </a:extLst>
              </p:cNvPr>
              <p:cNvSpPr/>
              <p:nvPr/>
            </p:nvSpPr>
            <p:spPr bwMode="auto">
              <a:xfrm>
                <a:off x="673100" y="3856705"/>
                <a:ext cx="2652161" cy="631756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</p:grpSp>
        <p:sp>
          <p:nvSpPr>
            <p:cNvPr id="71" name="íṡḻîḓè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672704" y="4275920"/>
              <a:ext cx="2652161" cy="631756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  <p:sp>
          <p:nvSpPr>
            <p:cNvPr id="72" name="iṣlîḓê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672704" y="4959152"/>
              <a:ext cx="2652161" cy="631756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  <p:grpSp>
          <p:nvGrpSpPr>
            <p:cNvPr id="73" name="îṥḷîḋe">
              <a:extLst>
                <a:ext uri="{FF2B5EF4-FFF2-40B4-BE49-F238E27FC236}">
                  <a16:creationId xmlns:a16="http://schemas.microsoft.com/office/drawing/2014/main" id="{A0FCD3FB-ADDD-47D3-A895-B92EA33A44F6}"/>
                </a:ext>
              </a:extLst>
            </p:cNvPr>
            <p:cNvGrpSpPr>
              <a:grpSpLocks/>
            </p:cNvGrpSpPr>
            <p:nvPr/>
          </p:nvGrpSpPr>
          <p:grpSpPr>
            <a:xfrm flipH="1">
              <a:off x="8187042" y="3138183"/>
              <a:ext cx="3306327" cy="463799"/>
              <a:chOff x="698234" y="3656230"/>
              <a:chExt cx="3306327" cy="463799"/>
            </a:xfrm>
          </p:grpSpPr>
          <p:cxnSp>
            <p:nvCxnSpPr>
              <p:cNvPr id="79" name="išḷïḍê">
                <a:extLst>
                  <a:ext uri="{FF2B5EF4-FFF2-40B4-BE49-F238E27FC236}">
                    <a16:creationId xmlns:a16="http://schemas.microsoft.com/office/drawing/2014/main" id="{1737566B-AE8C-425C-92D9-CC50C6B1E3F5}"/>
                  </a:ext>
                </a:extLst>
              </p:cNvPr>
              <p:cNvCxnSpPr/>
              <p:nvPr/>
            </p:nvCxnSpPr>
            <p:spPr>
              <a:xfrm flipH="1" flipV="1">
                <a:off x="698234" y="4120029"/>
                <a:ext cx="2566478" cy="0"/>
              </a:xfrm>
              <a:prstGeom prst="line">
                <a:avLst/>
              </a:prstGeom>
              <a:ln w="12700">
                <a:solidFill>
                  <a:schemeClr val="bg1">
                    <a:lumMod val="75000"/>
                  </a:schemeClr>
                </a:solidFill>
                <a:head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0" name="íśľíḑê">
                <a:extLst>
                  <a:ext uri="{FF2B5EF4-FFF2-40B4-BE49-F238E27FC236}">
                    <a16:creationId xmlns:a16="http://schemas.microsoft.com/office/drawing/2014/main" id="{E77D5D3D-F7CE-4B15-ACBF-21631B0E206B}"/>
                  </a:ext>
                </a:extLst>
              </p:cNvPr>
              <p:cNvSpPr/>
              <p:nvPr/>
            </p:nvSpPr>
            <p:spPr bwMode="auto">
              <a:xfrm>
                <a:off x="3264712" y="3656230"/>
                <a:ext cx="739849" cy="463799"/>
              </a:xfrm>
              <a:custGeom>
                <a:avLst/>
                <a:gdLst>
                  <a:gd name="T0" fmla="*/ 0 w 1149"/>
                  <a:gd name="T1" fmla="*/ 830 h 830"/>
                  <a:gd name="T2" fmla="*/ 273 w 1149"/>
                  <a:gd name="T3" fmla="*/ 717 h 830"/>
                  <a:gd name="T4" fmla="*/ 876 w 1149"/>
                  <a:gd name="T5" fmla="*/ 113 h 830"/>
                  <a:gd name="T6" fmla="*/ 1149 w 1149"/>
                  <a:gd name="T7" fmla="*/ 0 h 8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49" h="830">
                    <a:moveTo>
                      <a:pt x="0" y="830"/>
                    </a:moveTo>
                    <a:cubicBezTo>
                      <a:pt x="88" y="830"/>
                      <a:pt x="211" y="779"/>
                      <a:pt x="273" y="717"/>
                    </a:cubicBezTo>
                    <a:cubicBezTo>
                      <a:pt x="876" y="113"/>
                      <a:pt x="876" y="113"/>
                      <a:pt x="876" y="113"/>
                    </a:cubicBezTo>
                    <a:cubicBezTo>
                      <a:pt x="938" y="51"/>
                      <a:pt x="1061" y="0"/>
                      <a:pt x="1149" y="0"/>
                    </a:cubicBezTo>
                  </a:path>
                </a:pathLst>
              </a:custGeom>
              <a:noFill/>
              <a:ln w="12700" cap="flat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 type="none"/>
                <a:tailEnd type="oval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053"/>
              </a:p>
            </p:txBody>
          </p:sp>
        </p:grpSp>
        <p:grpSp>
          <p:nvGrpSpPr>
            <p:cNvPr id="74" name="ïṥļïḓe">
              <a:extLst>
                <a:ext uri="{FF2B5EF4-FFF2-40B4-BE49-F238E27FC236}">
                  <a16:creationId xmlns:a16="http://schemas.microsoft.com/office/drawing/2014/main" id="{0D1A59C4-6A68-4B97-AF65-44DA37455A32}"/>
                </a:ext>
              </a:extLst>
            </p:cNvPr>
            <p:cNvGrpSpPr/>
            <p:nvPr/>
          </p:nvGrpSpPr>
          <p:grpSpPr>
            <a:xfrm flipH="1">
              <a:off x="8867136" y="3137507"/>
              <a:ext cx="2652161" cy="1086937"/>
              <a:chOff x="673100" y="3401524"/>
              <a:chExt cx="2652161" cy="1086937"/>
            </a:xfrm>
          </p:grpSpPr>
          <p:sp>
            <p:nvSpPr>
              <p:cNvPr id="77" name="îṩḻïḓe">
                <a:extLst>
                  <a:ext uri="{FF2B5EF4-FFF2-40B4-BE49-F238E27FC236}">
                    <a16:creationId xmlns:a16="http://schemas.microsoft.com/office/drawing/2014/main" id="{3495B739-E5A7-4F4A-95FD-24BDFE4B18B1}"/>
                  </a:ext>
                </a:extLst>
              </p:cNvPr>
              <p:cNvSpPr txBox="1"/>
              <p:nvPr/>
            </p:nvSpPr>
            <p:spPr bwMode="auto">
              <a:xfrm>
                <a:off x="673100" y="3401524"/>
                <a:ext cx="2652161" cy="45518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  <p:sp>
            <p:nvSpPr>
              <p:cNvPr id="78" name="îślíḑè">
                <a:extLst>
                  <a:ext uri="{FF2B5EF4-FFF2-40B4-BE49-F238E27FC236}">
                    <a16:creationId xmlns:a16="http://schemas.microsoft.com/office/drawing/2014/main" id="{AC321F9B-F99D-44D6-95EE-4CF3F8A760F8}"/>
                  </a:ext>
                </a:extLst>
              </p:cNvPr>
              <p:cNvSpPr/>
              <p:nvPr/>
            </p:nvSpPr>
            <p:spPr bwMode="auto">
              <a:xfrm>
                <a:off x="673100" y="3856705"/>
                <a:ext cx="2652161" cy="631756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</p:grpSp>
        <p:sp>
          <p:nvSpPr>
            <p:cNvPr id="75" name="îS1íďè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 flipH="1">
              <a:off x="8867136" y="4275920"/>
              <a:ext cx="2652161" cy="631756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  <p:sp>
          <p:nvSpPr>
            <p:cNvPr id="76" name="ïṡḻïḋè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 flipH="1">
              <a:off x="8867136" y="4959152"/>
              <a:ext cx="2652161" cy="631756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69791386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š1íḓ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ṧḻîďê">
            <a:extLst>
              <a:ext uri="{FF2B5EF4-FFF2-40B4-BE49-F238E27FC236}">
                <a16:creationId xmlns:a16="http://schemas.microsoft.com/office/drawing/2014/main" id="{9AD385CA-1272-4B01-A982-88D6CEC28B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iś1îḋe">
            <a:extLst>
              <a:ext uri="{FF2B5EF4-FFF2-40B4-BE49-F238E27FC236}">
                <a16:creationId xmlns:a16="http://schemas.microsoft.com/office/drawing/2014/main" id="{AAE9D27B-1810-4B27-9DE3-B5861D3373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îşḷiḑé">
            <a:extLst>
              <a:ext uri="{FF2B5EF4-FFF2-40B4-BE49-F238E27FC236}">
                <a16:creationId xmlns:a16="http://schemas.microsoft.com/office/drawing/2014/main" id="{A4CD2006-518F-4399-9617-27316556A2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5</a:t>
            </a:fld>
            <a:endParaRPr lang="zh-CN" altLang="en-US"/>
          </a:p>
        </p:txBody>
      </p:sp>
      <p:grpSp>
        <p:nvGrpSpPr>
          <p:cNvPr id="177" name="ïṣļiďè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F420826A-776B-4211-B340-0AD3780FF752}"/>
              </a:ext>
            </a:extLst>
          </p:cNvPr>
          <p:cNvGrpSpPr>
            <a:grpSpLocks noChangeAspect="1"/>
          </p:cNvGrpSpPr>
          <p:nvPr/>
        </p:nvGrpSpPr>
        <p:grpSpPr>
          <a:xfrm>
            <a:off x="673099" y="1379710"/>
            <a:ext cx="10847389" cy="4479161"/>
            <a:chOff x="673099" y="1370745"/>
            <a:chExt cx="10847389" cy="4479161"/>
          </a:xfrm>
        </p:grpSpPr>
        <p:grpSp>
          <p:nvGrpSpPr>
            <p:cNvPr id="178" name="iŝ1îḓê">
              <a:extLst>
                <a:ext uri="{FF2B5EF4-FFF2-40B4-BE49-F238E27FC236}">
                  <a16:creationId xmlns:a16="http://schemas.microsoft.com/office/drawing/2014/main" id="{D3949D60-908D-4EA8-AF20-9261C5120FDF}"/>
                </a:ext>
              </a:extLst>
            </p:cNvPr>
            <p:cNvGrpSpPr/>
            <p:nvPr/>
          </p:nvGrpSpPr>
          <p:grpSpPr>
            <a:xfrm>
              <a:off x="7191128" y="4013200"/>
              <a:ext cx="3354957" cy="1836706"/>
              <a:chOff x="1729607" y="4013200"/>
              <a:chExt cx="3354957" cy="1836706"/>
            </a:xfrm>
          </p:grpSpPr>
          <p:grpSp>
            <p:nvGrpSpPr>
              <p:cNvPr id="212" name="iṡļiḋé">
                <a:extLst>
                  <a:ext uri="{FF2B5EF4-FFF2-40B4-BE49-F238E27FC236}">
                    <a16:creationId xmlns:a16="http://schemas.microsoft.com/office/drawing/2014/main" id="{8FCECF8C-FA9C-4667-9A3D-CEB2B530988C}"/>
                  </a:ext>
                </a:extLst>
              </p:cNvPr>
              <p:cNvGrpSpPr/>
              <p:nvPr/>
            </p:nvGrpSpPr>
            <p:grpSpPr>
              <a:xfrm>
                <a:off x="4397176" y="4013200"/>
                <a:ext cx="687388" cy="1566007"/>
                <a:chOff x="1685329" y="3530600"/>
                <a:chExt cx="687388" cy="1566007"/>
              </a:xfrm>
            </p:grpSpPr>
            <p:cxnSp>
              <p:nvCxnSpPr>
                <p:cNvPr id="216" name="ís1iḋé">
                  <a:extLst>
                    <a:ext uri="{FF2B5EF4-FFF2-40B4-BE49-F238E27FC236}">
                      <a16:creationId xmlns:a16="http://schemas.microsoft.com/office/drawing/2014/main" id="{D3D6DFC5-57DF-44A1-93B0-744791DB1CE5}"/>
                    </a:ext>
                  </a:extLst>
                </p:cNvPr>
                <p:cNvCxnSpPr/>
                <p:nvPr/>
              </p:nvCxnSpPr>
              <p:spPr>
                <a:xfrm>
                  <a:off x="2016323" y="3530600"/>
                  <a:ext cx="0" cy="982663"/>
                </a:xfrm>
                <a:prstGeom prst="line">
                  <a:avLst/>
                </a:prstGeom>
                <a:ln w="3175">
                  <a:solidFill>
                    <a:schemeClr val="bg1">
                      <a:lumMod val="75000"/>
                    </a:schemeClr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217" name="íṡ1ïḋè">
                  <a:extLst>
                    <a:ext uri="{FF2B5EF4-FFF2-40B4-BE49-F238E27FC236}">
                      <a16:creationId xmlns:a16="http://schemas.microsoft.com/office/drawing/2014/main" id="{BD71E236-1B2B-43A0-A3BD-1B58473FB65E}"/>
                    </a:ext>
                  </a:extLst>
                </p:cNvPr>
                <p:cNvGrpSpPr/>
                <p:nvPr/>
              </p:nvGrpSpPr>
              <p:grpSpPr>
                <a:xfrm>
                  <a:off x="1685329" y="4467957"/>
                  <a:ext cx="687388" cy="628650"/>
                  <a:chOff x="1784351" y="1890713"/>
                  <a:chExt cx="687388" cy="628650"/>
                </a:xfrm>
              </p:grpSpPr>
              <p:sp>
                <p:nvSpPr>
                  <p:cNvPr id="218" name="îšlîḍe">
                    <a:extLst>
                      <a:ext uri="{FF2B5EF4-FFF2-40B4-BE49-F238E27FC236}">
                        <a16:creationId xmlns:a16="http://schemas.microsoft.com/office/drawing/2014/main" id="{8193A67D-EEE6-49EF-B015-1234BE04D850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1784351" y="1890713"/>
                    <a:ext cx="687388" cy="628650"/>
                  </a:xfrm>
                  <a:custGeom>
                    <a:avLst/>
                    <a:gdLst>
                      <a:gd name="T0" fmla="*/ 107 w 111"/>
                      <a:gd name="T1" fmla="*/ 38 h 101"/>
                      <a:gd name="T2" fmla="*/ 91 w 111"/>
                      <a:gd name="T3" fmla="*/ 12 h 101"/>
                      <a:gd name="T4" fmla="*/ 71 w 111"/>
                      <a:gd name="T5" fmla="*/ 0 h 101"/>
                      <a:gd name="T6" fmla="*/ 40 w 111"/>
                      <a:gd name="T7" fmla="*/ 0 h 101"/>
                      <a:gd name="T8" fmla="*/ 19 w 111"/>
                      <a:gd name="T9" fmla="*/ 12 h 101"/>
                      <a:gd name="T10" fmla="*/ 4 w 111"/>
                      <a:gd name="T11" fmla="*/ 38 h 101"/>
                      <a:gd name="T12" fmla="*/ 4 w 111"/>
                      <a:gd name="T13" fmla="*/ 62 h 101"/>
                      <a:gd name="T14" fmla="*/ 19 w 111"/>
                      <a:gd name="T15" fmla="*/ 89 h 101"/>
                      <a:gd name="T16" fmla="*/ 40 w 111"/>
                      <a:gd name="T17" fmla="*/ 101 h 101"/>
                      <a:gd name="T18" fmla="*/ 71 w 111"/>
                      <a:gd name="T19" fmla="*/ 101 h 101"/>
                      <a:gd name="T20" fmla="*/ 91 w 111"/>
                      <a:gd name="T21" fmla="*/ 89 h 101"/>
                      <a:gd name="T22" fmla="*/ 107 w 111"/>
                      <a:gd name="T23" fmla="*/ 62 h 101"/>
                      <a:gd name="T24" fmla="*/ 107 w 111"/>
                      <a:gd name="T25" fmla="*/ 38 h 10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1" h="101">
                        <a:moveTo>
                          <a:pt x="107" y="38"/>
                        </a:moveTo>
                        <a:cubicBezTo>
                          <a:pt x="91" y="12"/>
                          <a:pt x="91" y="12"/>
                          <a:pt x="91" y="12"/>
                        </a:cubicBezTo>
                        <a:cubicBezTo>
                          <a:pt x="87" y="4"/>
                          <a:pt x="79" y="0"/>
                          <a:pt x="71" y="0"/>
                        </a:cubicBezTo>
                        <a:cubicBezTo>
                          <a:pt x="40" y="0"/>
                          <a:pt x="40" y="0"/>
                          <a:pt x="40" y="0"/>
                        </a:cubicBezTo>
                        <a:cubicBezTo>
                          <a:pt x="31" y="0"/>
                          <a:pt x="24" y="4"/>
                          <a:pt x="19" y="12"/>
                        </a:cubicBezTo>
                        <a:cubicBezTo>
                          <a:pt x="4" y="38"/>
                          <a:pt x="4" y="38"/>
                          <a:pt x="4" y="38"/>
                        </a:cubicBezTo>
                        <a:cubicBezTo>
                          <a:pt x="0" y="46"/>
                          <a:pt x="0" y="55"/>
                          <a:pt x="4" y="62"/>
                        </a:cubicBezTo>
                        <a:cubicBezTo>
                          <a:pt x="19" y="89"/>
                          <a:pt x="19" y="89"/>
                          <a:pt x="19" y="89"/>
                        </a:cubicBezTo>
                        <a:cubicBezTo>
                          <a:pt x="24" y="96"/>
                          <a:pt x="31" y="101"/>
                          <a:pt x="40" y="101"/>
                        </a:cubicBezTo>
                        <a:cubicBezTo>
                          <a:pt x="71" y="101"/>
                          <a:pt x="71" y="101"/>
                          <a:pt x="71" y="101"/>
                        </a:cubicBezTo>
                        <a:cubicBezTo>
                          <a:pt x="79" y="101"/>
                          <a:pt x="87" y="96"/>
                          <a:pt x="91" y="89"/>
                        </a:cubicBezTo>
                        <a:cubicBezTo>
                          <a:pt x="107" y="62"/>
                          <a:pt x="107" y="62"/>
                          <a:pt x="107" y="62"/>
                        </a:cubicBezTo>
                        <a:cubicBezTo>
                          <a:pt x="111" y="55"/>
                          <a:pt x="111" y="46"/>
                          <a:pt x="107" y="38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rmAutofit/>
                  </a:bodyPr>
                  <a:lstStyle>
                    <a:defPPr>
                      <a:defRPr lang="zh-CN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en-US"/>
                  </a:p>
                </p:txBody>
              </p:sp>
              <p:sp>
                <p:nvSpPr>
                  <p:cNvPr id="219" name="îSḻîḍè">
                    <a:extLst>
                      <a:ext uri="{FF2B5EF4-FFF2-40B4-BE49-F238E27FC236}">
                        <a16:creationId xmlns:a16="http://schemas.microsoft.com/office/drawing/2014/main" id="{3F37D73D-6B1B-4969-B876-A8EA24109823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1944411" y="2058809"/>
                    <a:ext cx="367268" cy="292454"/>
                  </a:xfrm>
                  <a:custGeom>
                    <a:avLst/>
                    <a:gdLst>
                      <a:gd name="connsiteX0" fmla="*/ 485775 w 514350"/>
                      <a:gd name="connsiteY0" fmla="*/ 0 h 409575"/>
                      <a:gd name="connsiteX1" fmla="*/ 514350 w 514350"/>
                      <a:gd name="connsiteY1" fmla="*/ 28575 h 409575"/>
                      <a:gd name="connsiteX2" fmla="*/ 514350 w 514350"/>
                      <a:gd name="connsiteY2" fmla="*/ 323850 h 409575"/>
                      <a:gd name="connsiteX3" fmla="*/ 485775 w 514350"/>
                      <a:gd name="connsiteY3" fmla="*/ 352425 h 409575"/>
                      <a:gd name="connsiteX4" fmla="*/ 191167 w 514350"/>
                      <a:gd name="connsiteY4" fmla="*/ 352425 h 409575"/>
                      <a:gd name="connsiteX5" fmla="*/ 114395 w 514350"/>
                      <a:gd name="connsiteY5" fmla="*/ 409575 h 409575"/>
                      <a:gd name="connsiteX6" fmla="*/ 114395 w 514350"/>
                      <a:gd name="connsiteY6" fmla="*/ 352425 h 409575"/>
                      <a:gd name="connsiteX7" fmla="*/ 28575 w 514350"/>
                      <a:gd name="connsiteY7" fmla="*/ 352425 h 409575"/>
                      <a:gd name="connsiteX8" fmla="*/ 0 w 514350"/>
                      <a:gd name="connsiteY8" fmla="*/ 323850 h 409575"/>
                      <a:gd name="connsiteX9" fmla="*/ 0 w 514350"/>
                      <a:gd name="connsiteY9" fmla="*/ 28575 h 409575"/>
                      <a:gd name="connsiteX10" fmla="*/ 28575 w 514350"/>
                      <a:gd name="connsiteY10" fmla="*/ 0 h 409575"/>
                      <a:gd name="connsiteX11" fmla="*/ 485775 w 514350"/>
                      <a:gd name="connsiteY11" fmla="*/ 0 h 409575"/>
                      <a:gd name="connsiteX12" fmla="*/ 123825 w 514350"/>
                      <a:gd name="connsiteY12" fmla="*/ 142875 h 409575"/>
                      <a:gd name="connsiteX13" fmla="*/ 90488 w 514350"/>
                      <a:gd name="connsiteY13" fmla="*/ 176213 h 409575"/>
                      <a:gd name="connsiteX14" fmla="*/ 123825 w 514350"/>
                      <a:gd name="connsiteY14" fmla="*/ 209550 h 409575"/>
                      <a:gd name="connsiteX15" fmla="*/ 157163 w 514350"/>
                      <a:gd name="connsiteY15" fmla="*/ 176213 h 409575"/>
                      <a:gd name="connsiteX16" fmla="*/ 123825 w 514350"/>
                      <a:gd name="connsiteY16" fmla="*/ 142875 h 409575"/>
                      <a:gd name="connsiteX17" fmla="*/ 257175 w 514350"/>
                      <a:gd name="connsiteY17" fmla="*/ 142875 h 409575"/>
                      <a:gd name="connsiteX18" fmla="*/ 223838 w 514350"/>
                      <a:gd name="connsiteY18" fmla="*/ 176213 h 409575"/>
                      <a:gd name="connsiteX19" fmla="*/ 257175 w 514350"/>
                      <a:gd name="connsiteY19" fmla="*/ 209550 h 409575"/>
                      <a:gd name="connsiteX20" fmla="*/ 290513 w 514350"/>
                      <a:gd name="connsiteY20" fmla="*/ 176213 h 409575"/>
                      <a:gd name="connsiteX21" fmla="*/ 257175 w 514350"/>
                      <a:gd name="connsiteY21" fmla="*/ 142875 h 409575"/>
                      <a:gd name="connsiteX22" fmla="*/ 390525 w 514350"/>
                      <a:gd name="connsiteY22" fmla="*/ 142875 h 409575"/>
                      <a:gd name="connsiteX23" fmla="*/ 357188 w 514350"/>
                      <a:gd name="connsiteY23" fmla="*/ 176213 h 409575"/>
                      <a:gd name="connsiteX24" fmla="*/ 390525 w 514350"/>
                      <a:gd name="connsiteY24" fmla="*/ 209550 h 409575"/>
                      <a:gd name="connsiteX25" fmla="*/ 423863 w 514350"/>
                      <a:gd name="connsiteY25" fmla="*/ 176213 h 409575"/>
                      <a:gd name="connsiteX26" fmla="*/ 390525 w 514350"/>
                      <a:gd name="connsiteY26" fmla="*/ 142875 h 4095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</a:cxnLst>
                    <a:rect l="l" t="t" r="r" b="b"/>
                    <a:pathLst>
                      <a:path w="514350" h="409575">
                        <a:moveTo>
                          <a:pt x="485775" y="0"/>
                        </a:moveTo>
                        <a:cubicBezTo>
                          <a:pt x="501586" y="0"/>
                          <a:pt x="514350" y="12764"/>
                          <a:pt x="514350" y="28575"/>
                        </a:cubicBezTo>
                        <a:lnTo>
                          <a:pt x="514350" y="323850"/>
                        </a:lnTo>
                        <a:cubicBezTo>
                          <a:pt x="514350" y="339662"/>
                          <a:pt x="501586" y="352425"/>
                          <a:pt x="485775" y="352425"/>
                        </a:cubicBezTo>
                        <a:lnTo>
                          <a:pt x="191167" y="352425"/>
                        </a:lnTo>
                        <a:lnTo>
                          <a:pt x="114395" y="409575"/>
                        </a:lnTo>
                        <a:lnTo>
                          <a:pt x="114395" y="352425"/>
                        </a:lnTo>
                        <a:lnTo>
                          <a:pt x="28575" y="352425"/>
                        </a:lnTo>
                        <a:cubicBezTo>
                          <a:pt x="12764" y="352425"/>
                          <a:pt x="0" y="339662"/>
                          <a:pt x="0" y="323850"/>
                        </a:cubicBezTo>
                        <a:lnTo>
                          <a:pt x="0" y="28575"/>
                        </a:lnTo>
                        <a:cubicBezTo>
                          <a:pt x="0" y="12764"/>
                          <a:pt x="12764" y="0"/>
                          <a:pt x="28575" y="0"/>
                        </a:cubicBezTo>
                        <a:lnTo>
                          <a:pt x="485775" y="0"/>
                        </a:lnTo>
                        <a:close/>
                        <a:moveTo>
                          <a:pt x="123825" y="142875"/>
                        </a:moveTo>
                        <a:cubicBezTo>
                          <a:pt x="105442" y="142875"/>
                          <a:pt x="90488" y="157829"/>
                          <a:pt x="90488" y="176213"/>
                        </a:cubicBezTo>
                        <a:cubicBezTo>
                          <a:pt x="90488" y="194596"/>
                          <a:pt x="105442" y="209550"/>
                          <a:pt x="123825" y="209550"/>
                        </a:cubicBezTo>
                        <a:cubicBezTo>
                          <a:pt x="142208" y="209550"/>
                          <a:pt x="157163" y="194596"/>
                          <a:pt x="157163" y="176213"/>
                        </a:cubicBezTo>
                        <a:cubicBezTo>
                          <a:pt x="157163" y="157829"/>
                          <a:pt x="142208" y="142875"/>
                          <a:pt x="123825" y="142875"/>
                        </a:cubicBezTo>
                        <a:close/>
                        <a:moveTo>
                          <a:pt x="257175" y="142875"/>
                        </a:moveTo>
                        <a:cubicBezTo>
                          <a:pt x="238792" y="142875"/>
                          <a:pt x="223838" y="157829"/>
                          <a:pt x="223838" y="176213"/>
                        </a:cubicBezTo>
                        <a:cubicBezTo>
                          <a:pt x="223838" y="194596"/>
                          <a:pt x="238792" y="209550"/>
                          <a:pt x="257175" y="209550"/>
                        </a:cubicBezTo>
                        <a:cubicBezTo>
                          <a:pt x="275558" y="209550"/>
                          <a:pt x="290513" y="194596"/>
                          <a:pt x="290513" y="176213"/>
                        </a:cubicBezTo>
                        <a:cubicBezTo>
                          <a:pt x="290513" y="157829"/>
                          <a:pt x="275558" y="142875"/>
                          <a:pt x="257175" y="142875"/>
                        </a:cubicBezTo>
                        <a:close/>
                        <a:moveTo>
                          <a:pt x="390525" y="142875"/>
                        </a:moveTo>
                        <a:cubicBezTo>
                          <a:pt x="372142" y="142875"/>
                          <a:pt x="357188" y="157829"/>
                          <a:pt x="357188" y="176213"/>
                        </a:cubicBezTo>
                        <a:cubicBezTo>
                          <a:pt x="357188" y="194596"/>
                          <a:pt x="372142" y="209550"/>
                          <a:pt x="390525" y="209550"/>
                        </a:cubicBezTo>
                        <a:cubicBezTo>
                          <a:pt x="408908" y="209550"/>
                          <a:pt x="423863" y="194596"/>
                          <a:pt x="423863" y="176213"/>
                        </a:cubicBezTo>
                        <a:cubicBezTo>
                          <a:pt x="423863" y="157829"/>
                          <a:pt x="408908" y="142875"/>
                          <a:pt x="390525" y="142875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wrap="square" lIns="91440" tIns="45720" rIns="91440" bIns="45720" anchor="ctr">
                    <a:normAutofit fontScale="85000" lnSpcReduction="20000"/>
                  </a:bodyPr>
                  <a:lstStyle>
                    <a:defPPr>
                      <a:defRPr lang="zh-CN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/>
                    <a:endParaRPr/>
                  </a:p>
                </p:txBody>
              </p:sp>
            </p:grpSp>
          </p:grpSp>
          <p:grpSp>
            <p:nvGrpSpPr>
              <p:cNvPr id="213" name="ïṥľíḍê">
                <a:extLst>
                  <a:ext uri="{FF2B5EF4-FFF2-40B4-BE49-F238E27FC236}">
                    <a16:creationId xmlns:a16="http://schemas.microsoft.com/office/drawing/2014/main" id="{02573B9A-35FD-4E4E-B4E1-358B530A526B}"/>
                  </a:ext>
                </a:extLst>
              </p:cNvPr>
              <p:cNvGrpSpPr/>
              <p:nvPr/>
            </p:nvGrpSpPr>
            <p:grpSpPr>
              <a:xfrm>
                <a:off x="1729607" y="4742835"/>
                <a:ext cx="2556368" cy="1107071"/>
                <a:chOff x="4259265" y="1981584"/>
                <a:chExt cx="2214562" cy="1107071"/>
              </a:xfrm>
            </p:grpSpPr>
            <p:sp>
              <p:nvSpPr>
                <p:cNvPr id="214" name="îṥḷiḑé">
                  <a:extLst>
                    <a:ext uri="{FF2B5EF4-FFF2-40B4-BE49-F238E27FC236}">
                      <a16:creationId xmlns:a16="http://schemas.microsoft.com/office/drawing/2014/main" id="{78A98FEC-94BE-45D4-81F2-414254434F60}"/>
                    </a:ext>
                  </a:extLst>
                </p:cNvPr>
                <p:cNvSpPr txBox="1"/>
                <p:nvPr/>
              </p:nvSpPr>
              <p:spPr>
                <a:xfrm>
                  <a:off x="4259265" y="2489415"/>
                  <a:ext cx="2214562" cy="599240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lnSpc>
                      <a:spcPct val="120000"/>
                    </a:lnSpc>
                  </a:pPr>
                  <a:r>
                    <a:rPr lang="en-US" altLang="zh-CN" sz="1100" dirty="0"/>
                    <a:t>Copy paste fonts. Choose the only option to retain text……</a:t>
                  </a:r>
                </a:p>
              </p:txBody>
            </p:sp>
            <p:sp>
              <p:nvSpPr>
                <p:cNvPr id="215" name="íŝľïḓé">
                  <a:extLst>
                    <a:ext uri="{FF2B5EF4-FFF2-40B4-BE49-F238E27FC236}">
                      <a16:creationId xmlns:a16="http://schemas.microsoft.com/office/drawing/2014/main" id="{7362C008-480D-4B1C-B8E7-ABA262DBBE93}"/>
                    </a:ext>
                  </a:extLst>
                </p:cNvPr>
                <p:cNvSpPr/>
                <p:nvPr/>
              </p:nvSpPr>
              <p:spPr>
                <a:xfrm>
                  <a:off x="4259265" y="1981584"/>
                  <a:ext cx="2214562" cy="507831"/>
                </a:xfrm>
                <a:prstGeom prst="rect">
                  <a:avLst/>
                </a:prstGeom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/>
                  <a:r>
                    <a:rPr lang="en-US" altLang="zh-CN" sz="2000" b="1" dirty="0"/>
                    <a:t>Text here</a:t>
                  </a:r>
                  <a:endParaRPr lang="zh-CN" altLang="en-US" sz="2000" b="1" dirty="0"/>
                </a:p>
              </p:txBody>
            </p:sp>
          </p:grpSp>
        </p:grpSp>
        <p:grpSp>
          <p:nvGrpSpPr>
            <p:cNvPr id="179" name="iśľîďê">
              <a:extLst>
                <a:ext uri="{FF2B5EF4-FFF2-40B4-BE49-F238E27FC236}">
                  <a16:creationId xmlns:a16="http://schemas.microsoft.com/office/drawing/2014/main" id="{EAE1B2D7-B119-4EB1-B54E-FCFEEA187F65}"/>
                </a:ext>
              </a:extLst>
            </p:cNvPr>
            <p:cNvGrpSpPr/>
            <p:nvPr/>
          </p:nvGrpSpPr>
          <p:grpSpPr>
            <a:xfrm>
              <a:off x="1729607" y="4013200"/>
              <a:ext cx="3354957" cy="1836706"/>
              <a:chOff x="1729607" y="4013200"/>
              <a:chExt cx="3354957" cy="1836706"/>
            </a:xfrm>
          </p:grpSpPr>
          <p:grpSp>
            <p:nvGrpSpPr>
              <p:cNvPr id="204" name="îṣḻíḍe">
                <a:extLst>
                  <a:ext uri="{FF2B5EF4-FFF2-40B4-BE49-F238E27FC236}">
                    <a16:creationId xmlns:a16="http://schemas.microsoft.com/office/drawing/2014/main" id="{26715B51-8B83-4D8C-82CF-927A26117047}"/>
                  </a:ext>
                </a:extLst>
              </p:cNvPr>
              <p:cNvGrpSpPr/>
              <p:nvPr/>
            </p:nvGrpSpPr>
            <p:grpSpPr>
              <a:xfrm>
                <a:off x="4397176" y="4013200"/>
                <a:ext cx="687388" cy="1566007"/>
                <a:chOff x="1685329" y="3530600"/>
                <a:chExt cx="687388" cy="1566007"/>
              </a:xfrm>
            </p:grpSpPr>
            <p:cxnSp>
              <p:nvCxnSpPr>
                <p:cNvPr id="208" name="ïşḷïḍé">
                  <a:extLst>
                    <a:ext uri="{FF2B5EF4-FFF2-40B4-BE49-F238E27FC236}">
                      <a16:creationId xmlns:a16="http://schemas.microsoft.com/office/drawing/2014/main" id="{598F1D57-A8C0-46D3-BE55-5E939C1D395D}"/>
                    </a:ext>
                  </a:extLst>
                </p:cNvPr>
                <p:cNvCxnSpPr/>
                <p:nvPr/>
              </p:nvCxnSpPr>
              <p:spPr>
                <a:xfrm>
                  <a:off x="2016323" y="3530600"/>
                  <a:ext cx="0" cy="982663"/>
                </a:xfrm>
                <a:prstGeom prst="line">
                  <a:avLst/>
                </a:prstGeom>
                <a:ln w="3175">
                  <a:solidFill>
                    <a:schemeClr val="bg1">
                      <a:lumMod val="75000"/>
                    </a:schemeClr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209" name="iSḻíḍê">
                  <a:extLst>
                    <a:ext uri="{FF2B5EF4-FFF2-40B4-BE49-F238E27FC236}">
                      <a16:creationId xmlns:a16="http://schemas.microsoft.com/office/drawing/2014/main" id="{BB622716-A6D8-480B-90C8-88BF054F7822}"/>
                    </a:ext>
                  </a:extLst>
                </p:cNvPr>
                <p:cNvGrpSpPr/>
                <p:nvPr/>
              </p:nvGrpSpPr>
              <p:grpSpPr>
                <a:xfrm>
                  <a:off x="1685329" y="4467957"/>
                  <a:ext cx="687388" cy="628650"/>
                  <a:chOff x="1784351" y="1890713"/>
                  <a:chExt cx="687388" cy="628650"/>
                </a:xfrm>
              </p:grpSpPr>
              <p:sp>
                <p:nvSpPr>
                  <p:cNvPr id="210" name="îṩlîdé">
                    <a:extLst>
                      <a:ext uri="{FF2B5EF4-FFF2-40B4-BE49-F238E27FC236}">
                        <a16:creationId xmlns:a16="http://schemas.microsoft.com/office/drawing/2014/main" id="{5FDB5052-CAA8-4FCD-A4D5-B2EC269EA286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1784351" y="1890713"/>
                    <a:ext cx="687388" cy="628650"/>
                  </a:xfrm>
                  <a:custGeom>
                    <a:avLst/>
                    <a:gdLst>
                      <a:gd name="T0" fmla="*/ 107 w 111"/>
                      <a:gd name="T1" fmla="*/ 38 h 101"/>
                      <a:gd name="T2" fmla="*/ 91 w 111"/>
                      <a:gd name="T3" fmla="*/ 12 h 101"/>
                      <a:gd name="T4" fmla="*/ 71 w 111"/>
                      <a:gd name="T5" fmla="*/ 0 h 101"/>
                      <a:gd name="T6" fmla="*/ 40 w 111"/>
                      <a:gd name="T7" fmla="*/ 0 h 101"/>
                      <a:gd name="T8" fmla="*/ 19 w 111"/>
                      <a:gd name="T9" fmla="*/ 12 h 101"/>
                      <a:gd name="T10" fmla="*/ 4 w 111"/>
                      <a:gd name="T11" fmla="*/ 38 h 101"/>
                      <a:gd name="T12" fmla="*/ 4 w 111"/>
                      <a:gd name="T13" fmla="*/ 62 h 101"/>
                      <a:gd name="T14" fmla="*/ 19 w 111"/>
                      <a:gd name="T15" fmla="*/ 89 h 101"/>
                      <a:gd name="T16" fmla="*/ 40 w 111"/>
                      <a:gd name="T17" fmla="*/ 101 h 101"/>
                      <a:gd name="T18" fmla="*/ 71 w 111"/>
                      <a:gd name="T19" fmla="*/ 101 h 101"/>
                      <a:gd name="T20" fmla="*/ 91 w 111"/>
                      <a:gd name="T21" fmla="*/ 89 h 101"/>
                      <a:gd name="T22" fmla="*/ 107 w 111"/>
                      <a:gd name="T23" fmla="*/ 62 h 101"/>
                      <a:gd name="T24" fmla="*/ 107 w 111"/>
                      <a:gd name="T25" fmla="*/ 38 h 10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1" h="101">
                        <a:moveTo>
                          <a:pt x="107" y="38"/>
                        </a:moveTo>
                        <a:cubicBezTo>
                          <a:pt x="91" y="12"/>
                          <a:pt x="91" y="12"/>
                          <a:pt x="91" y="12"/>
                        </a:cubicBezTo>
                        <a:cubicBezTo>
                          <a:pt x="87" y="4"/>
                          <a:pt x="79" y="0"/>
                          <a:pt x="71" y="0"/>
                        </a:cubicBezTo>
                        <a:cubicBezTo>
                          <a:pt x="40" y="0"/>
                          <a:pt x="40" y="0"/>
                          <a:pt x="40" y="0"/>
                        </a:cubicBezTo>
                        <a:cubicBezTo>
                          <a:pt x="31" y="0"/>
                          <a:pt x="24" y="4"/>
                          <a:pt x="19" y="12"/>
                        </a:cubicBezTo>
                        <a:cubicBezTo>
                          <a:pt x="4" y="38"/>
                          <a:pt x="4" y="38"/>
                          <a:pt x="4" y="38"/>
                        </a:cubicBezTo>
                        <a:cubicBezTo>
                          <a:pt x="0" y="46"/>
                          <a:pt x="0" y="55"/>
                          <a:pt x="4" y="62"/>
                        </a:cubicBezTo>
                        <a:cubicBezTo>
                          <a:pt x="19" y="89"/>
                          <a:pt x="19" y="89"/>
                          <a:pt x="19" y="89"/>
                        </a:cubicBezTo>
                        <a:cubicBezTo>
                          <a:pt x="24" y="96"/>
                          <a:pt x="31" y="101"/>
                          <a:pt x="40" y="101"/>
                        </a:cubicBezTo>
                        <a:cubicBezTo>
                          <a:pt x="71" y="101"/>
                          <a:pt x="71" y="101"/>
                          <a:pt x="71" y="101"/>
                        </a:cubicBezTo>
                        <a:cubicBezTo>
                          <a:pt x="79" y="101"/>
                          <a:pt x="87" y="96"/>
                          <a:pt x="91" y="89"/>
                        </a:cubicBezTo>
                        <a:cubicBezTo>
                          <a:pt x="107" y="62"/>
                          <a:pt x="107" y="62"/>
                          <a:pt x="107" y="62"/>
                        </a:cubicBezTo>
                        <a:cubicBezTo>
                          <a:pt x="111" y="55"/>
                          <a:pt x="111" y="46"/>
                          <a:pt x="107" y="38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rmAutofit/>
                  </a:bodyPr>
                  <a:lstStyle>
                    <a:defPPr>
                      <a:defRPr lang="zh-CN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en-US"/>
                  </a:p>
                </p:txBody>
              </p:sp>
              <p:sp>
                <p:nvSpPr>
                  <p:cNvPr id="211" name="îŝlíḍe">
                    <a:extLst>
                      <a:ext uri="{FF2B5EF4-FFF2-40B4-BE49-F238E27FC236}">
                        <a16:creationId xmlns:a16="http://schemas.microsoft.com/office/drawing/2014/main" id="{FCD11136-08F9-48BD-9827-83C2420F4389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1944411" y="2024682"/>
                    <a:ext cx="367268" cy="360709"/>
                  </a:xfrm>
                  <a:custGeom>
                    <a:avLst/>
                    <a:gdLst>
                      <a:gd name="connsiteX0" fmla="*/ 342900 w 533400"/>
                      <a:gd name="connsiteY0" fmla="*/ 276225 h 523875"/>
                      <a:gd name="connsiteX1" fmla="*/ 371475 w 533400"/>
                      <a:gd name="connsiteY1" fmla="*/ 304800 h 523875"/>
                      <a:gd name="connsiteX2" fmla="*/ 371475 w 533400"/>
                      <a:gd name="connsiteY2" fmla="*/ 495300 h 523875"/>
                      <a:gd name="connsiteX3" fmla="*/ 342900 w 533400"/>
                      <a:gd name="connsiteY3" fmla="*/ 523875 h 523875"/>
                      <a:gd name="connsiteX4" fmla="*/ 190500 w 533400"/>
                      <a:gd name="connsiteY4" fmla="*/ 523875 h 523875"/>
                      <a:gd name="connsiteX5" fmla="*/ 161925 w 533400"/>
                      <a:gd name="connsiteY5" fmla="*/ 495300 h 523875"/>
                      <a:gd name="connsiteX6" fmla="*/ 161925 w 533400"/>
                      <a:gd name="connsiteY6" fmla="*/ 304800 h 523875"/>
                      <a:gd name="connsiteX7" fmla="*/ 190500 w 533400"/>
                      <a:gd name="connsiteY7" fmla="*/ 276225 h 523875"/>
                      <a:gd name="connsiteX8" fmla="*/ 342900 w 533400"/>
                      <a:gd name="connsiteY8" fmla="*/ 276225 h 523875"/>
                      <a:gd name="connsiteX9" fmla="*/ 142875 w 533400"/>
                      <a:gd name="connsiteY9" fmla="*/ 114300 h 523875"/>
                      <a:gd name="connsiteX10" fmla="*/ 179070 w 533400"/>
                      <a:gd name="connsiteY10" fmla="*/ 152400 h 523875"/>
                      <a:gd name="connsiteX11" fmla="*/ 180975 w 533400"/>
                      <a:gd name="connsiteY11" fmla="*/ 152400 h 523875"/>
                      <a:gd name="connsiteX12" fmla="*/ 352425 w 533400"/>
                      <a:gd name="connsiteY12" fmla="*/ 152400 h 523875"/>
                      <a:gd name="connsiteX13" fmla="*/ 390525 w 533400"/>
                      <a:gd name="connsiteY13" fmla="*/ 116205 h 523875"/>
                      <a:gd name="connsiteX14" fmla="*/ 390525 w 533400"/>
                      <a:gd name="connsiteY14" fmla="*/ 114300 h 523875"/>
                      <a:gd name="connsiteX15" fmla="*/ 504825 w 533400"/>
                      <a:gd name="connsiteY15" fmla="*/ 114300 h 523875"/>
                      <a:gd name="connsiteX16" fmla="*/ 533400 w 533400"/>
                      <a:gd name="connsiteY16" fmla="*/ 142875 h 523875"/>
                      <a:gd name="connsiteX17" fmla="*/ 533400 w 533400"/>
                      <a:gd name="connsiteY17" fmla="*/ 381000 h 523875"/>
                      <a:gd name="connsiteX18" fmla="*/ 504825 w 533400"/>
                      <a:gd name="connsiteY18" fmla="*/ 409575 h 523875"/>
                      <a:gd name="connsiteX19" fmla="*/ 390525 w 533400"/>
                      <a:gd name="connsiteY19" fmla="*/ 409575 h 523875"/>
                      <a:gd name="connsiteX20" fmla="*/ 390525 w 533400"/>
                      <a:gd name="connsiteY20" fmla="*/ 295275 h 523875"/>
                      <a:gd name="connsiteX21" fmla="*/ 354330 w 533400"/>
                      <a:gd name="connsiteY21" fmla="*/ 257175 h 523875"/>
                      <a:gd name="connsiteX22" fmla="*/ 352425 w 533400"/>
                      <a:gd name="connsiteY22" fmla="*/ 257175 h 523875"/>
                      <a:gd name="connsiteX23" fmla="*/ 180975 w 533400"/>
                      <a:gd name="connsiteY23" fmla="*/ 257175 h 523875"/>
                      <a:gd name="connsiteX24" fmla="*/ 142875 w 533400"/>
                      <a:gd name="connsiteY24" fmla="*/ 293370 h 523875"/>
                      <a:gd name="connsiteX25" fmla="*/ 142875 w 533400"/>
                      <a:gd name="connsiteY25" fmla="*/ 295275 h 523875"/>
                      <a:gd name="connsiteX26" fmla="*/ 142875 w 533400"/>
                      <a:gd name="connsiteY26" fmla="*/ 409575 h 523875"/>
                      <a:gd name="connsiteX27" fmla="*/ 28575 w 533400"/>
                      <a:gd name="connsiteY27" fmla="*/ 409575 h 523875"/>
                      <a:gd name="connsiteX28" fmla="*/ 0 w 533400"/>
                      <a:gd name="connsiteY28" fmla="*/ 381000 h 523875"/>
                      <a:gd name="connsiteX29" fmla="*/ 0 w 533400"/>
                      <a:gd name="connsiteY29" fmla="*/ 200787 h 523875"/>
                      <a:gd name="connsiteX30" fmla="*/ 10287 w 533400"/>
                      <a:gd name="connsiteY30" fmla="*/ 174784 h 523875"/>
                      <a:gd name="connsiteX31" fmla="*/ 55436 w 533400"/>
                      <a:gd name="connsiteY31" fmla="*/ 126397 h 523875"/>
                      <a:gd name="connsiteX32" fmla="*/ 83248 w 533400"/>
                      <a:gd name="connsiteY32" fmla="*/ 114300 h 523875"/>
                      <a:gd name="connsiteX33" fmla="*/ 142875 w 533400"/>
                      <a:gd name="connsiteY33" fmla="*/ 114300 h 523875"/>
                      <a:gd name="connsiteX34" fmla="*/ 461963 w 533400"/>
                      <a:gd name="connsiteY34" fmla="*/ 171450 h 523875"/>
                      <a:gd name="connsiteX35" fmla="*/ 447675 w 533400"/>
                      <a:gd name="connsiteY35" fmla="*/ 185738 h 523875"/>
                      <a:gd name="connsiteX36" fmla="*/ 461963 w 533400"/>
                      <a:gd name="connsiteY36" fmla="*/ 200025 h 523875"/>
                      <a:gd name="connsiteX37" fmla="*/ 476250 w 533400"/>
                      <a:gd name="connsiteY37" fmla="*/ 185738 h 523875"/>
                      <a:gd name="connsiteX38" fmla="*/ 461963 w 533400"/>
                      <a:gd name="connsiteY38" fmla="*/ 171450 h 523875"/>
                      <a:gd name="connsiteX39" fmla="*/ 342900 w 533400"/>
                      <a:gd name="connsiteY39" fmla="*/ 0 h 523875"/>
                      <a:gd name="connsiteX40" fmla="*/ 371475 w 533400"/>
                      <a:gd name="connsiteY40" fmla="*/ 28575 h 523875"/>
                      <a:gd name="connsiteX41" fmla="*/ 371475 w 533400"/>
                      <a:gd name="connsiteY41" fmla="*/ 104775 h 523875"/>
                      <a:gd name="connsiteX42" fmla="*/ 342900 w 533400"/>
                      <a:gd name="connsiteY42" fmla="*/ 133350 h 523875"/>
                      <a:gd name="connsiteX43" fmla="*/ 190500 w 533400"/>
                      <a:gd name="connsiteY43" fmla="*/ 133350 h 523875"/>
                      <a:gd name="connsiteX44" fmla="*/ 161925 w 533400"/>
                      <a:gd name="connsiteY44" fmla="*/ 104775 h 523875"/>
                      <a:gd name="connsiteX45" fmla="*/ 161925 w 533400"/>
                      <a:gd name="connsiteY45" fmla="*/ 28575 h 523875"/>
                      <a:gd name="connsiteX46" fmla="*/ 190500 w 533400"/>
                      <a:gd name="connsiteY46" fmla="*/ 0 h 523875"/>
                      <a:gd name="connsiteX47" fmla="*/ 342900 w 533400"/>
                      <a:gd name="connsiteY47" fmla="*/ 0 h 523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</a:cxnLst>
                    <a:rect l="l" t="t" r="r" b="b"/>
                    <a:pathLst>
                      <a:path w="533400" h="523875">
                        <a:moveTo>
                          <a:pt x="342900" y="276225"/>
                        </a:moveTo>
                        <a:cubicBezTo>
                          <a:pt x="358711" y="276225"/>
                          <a:pt x="371475" y="288989"/>
                          <a:pt x="371475" y="304800"/>
                        </a:cubicBezTo>
                        <a:lnTo>
                          <a:pt x="371475" y="495300"/>
                        </a:lnTo>
                        <a:cubicBezTo>
                          <a:pt x="371475" y="511112"/>
                          <a:pt x="358711" y="523875"/>
                          <a:pt x="342900" y="523875"/>
                        </a:cubicBezTo>
                        <a:lnTo>
                          <a:pt x="190500" y="523875"/>
                        </a:lnTo>
                        <a:cubicBezTo>
                          <a:pt x="174689" y="523875"/>
                          <a:pt x="161925" y="511112"/>
                          <a:pt x="161925" y="495300"/>
                        </a:cubicBezTo>
                        <a:lnTo>
                          <a:pt x="161925" y="304800"/>
                        </a:lnTo>
                        <a:cubicBezTo>
                          <a:pt x="161925" y="288989"/>
                          <a:pt x="174689" y="276225"/>
                          <a:pt x="190500" y="276225"/>
                        </a:cubicBezTo>
                        <a:lnTo>
                          <a:pt x="342900" y="276225"/>
                        </a:lnTo>
                        <a:close/>
                        <a:moveTo>
                          <a:pt x="142875" y="114300"/>
                        </a:moveTo>
                        <a:cubicBezTo>
                          <a:pt x="142875" y="134684"/>
                          <a:pt x="158877" y="151352"/>
                          <a:pt x="179070" y="152400"/>
                        </a:cubicBezTo>
                        <a:lnTo>
                          <a:pt x="180975" y="152400"/>
                        </a:lnTo>
                        <a:lnTo>
                          <a:pt x="352425" y="152400"/>
                        </a:lnTo>
                        <a:cubicBezTo>
                          <a:pt x="372809" y="152400"/>
                          <a:pt x="389477" y="136398"/>
                          <a:pt x="390525" y="116205"/>
                        </a:cubicBezTo>
                        <a:lnTo>
                          <a:pt x="390525" y="114300"/>
                        </a:lnTo>
                        <a:lnTo>
                          <a:pt x="504825" y="114300"/>
                        </a:lnTo>
                        <a:cubicBezTo>
                          <a:pt x="520636" y="114300"/>
                          <a:pt x="533400" y="127064"/>
                          <a:pt x="533400" y="142875"/>
                        </a:cubicBezTo>
                        <a:lnTo>
                          <a:pt x="533400" y="381000"/>
                        </a:lnTo>
                        <a:cubicBezTo>
                          <a:pt x="533400" y="396812"/>
                          <a:pt x="520636" y="409575"/>
                          <a:pt x="504825" y="409575"/>
                        </a:cubicBezTo>
                        <a:lnTo>
                          <a:pt x="390525" y="409575"/>
                        </a:lnTo>
                        <a:lnTo>
                          <a:pt x="390525" y="295275"/>
                        </a:lnTo>
                        <a:cubicBezTo>
                          <a:pt x="390525" y="274892"/>
                          <a:pt x="374523" y="258223"/>
                          <a:pt x="354330" y="257175"/>
                        </a:cubicBezTo>
                        <a:lnTo>
                          <a:pt x="352425" y="257175"/>
                        </a:lnTo>
                        <a:lnTo>
                          <a:pt x="180975" y="257175"/>
                        </a:lnTo>
                        <a:cubicBezTo>
                          <a:pt x="160591" y="257175"/>
                          <a:pt x="143923" y="273177"/>
                          <a:pt x="142875" y="293370"/>
                        </a:cubicBezTo>
                        <a:lnTo>
                          <a:pt x="142875" y="295275"/>
                        </a:lnTo>
                        <a:lnTo>
                          <a:pt x="142875" y="409575"/>
                        </a:lnTo>
                        <a:lnTo>
                          <a:pt x="28575" y="409575"/>
                        </a:lnTo>
                        <a:cubicBezTo>
                          <a:pt x="12763" y="409575"/>
                          <a:pt x="0" y="396812"/>
                          <a:pt x="0" y="381000"/>
                        </a:cubicBezTo>
                        <a:lnTo>
                          <a:pt x="0" y="200787"/>
                        </a:lnTo>
                        <a:cubicBezTo>
                          <a:pt x="0" y="191167"/>
                          <a:pt x="3620" y="181832"/>
                          <a:pt x="10287" y="174784"/>
                        </a:cubicBezTo>
                        <a:lnTo>
                          <a:pt x="55436" y="126397"/>
                        </a:lnTo>
                        <a:cubicBezTo>
                          <a:pt x="62675" y="118682"/>
                          <a:pt x="72771" y="114300"/>
                          <a:pt x="83248" y="114300"/>
                        </a:cubicBezTo>
                        <a:lnTo>
                          <a:pt x="142875" y="114300"/>
                        </a:lnTo>
                        <a:close/>
                        <a:moveTo>
                          <a:pt x="461963" y="171450"/>
                        </a:moveTo>
                        <a:cubicBezTo>
                          <a:pt x="454057" y="171450"/>
                          <a:pt x="447675" y="177832"/>
                          <a:pt x="447675" y="185738"/>
                        </a:cubicBezTo>
                        <a:cubicBezTo>
                          <a:pt x="447675" y="193643"/>
                          <a:pt x="454057" y="200025"/>
                          <a:pt x="461963" y="200025"/>
                        </a:cubicBezTo>
                        <a:cubicBezTo>
                          <a:pt x="469868" y="200025"/>
                          <a:pt x="476250" y="193643"/>
                          <a:pt x="476250" y="185738"/>
                        </a:cubicBezTo>
                        <a:cubicBezTo>
                          <a:pt x="476250" y="177832"/>
                          <a:pt x="469868" y="171450"/>
                          <a:pt x="461963" y="171450"/>
                        </a:cubicBezTo>
                        <a:close/>
                        <a:moveTo>
                          <a:pt x="342900" y="0"/>
                        </a:moveTo>
                        <a:cubicBezTo>
                          <a:pt x="358711" y="0"/>
                          <a:pt x="371475" y="12763"/>
                          <a:pt x="371475" y="28575"/>
                        </a:cubicBezTo>
                        <a:lnTo>
                          <a:pt x="371475" y="104775"/>
                        </a:lnTo>
                        <a:cubicBezTo>
                          <a:pt x="371475" y="120587"/>
                          <a:pt x="358711" y="133350"/>
                          <a:pt x="342900" y="133350"/>
                        </a:cubicBezTo>
                        <a:lnTo>
                          <a:pt x="190500" y="133350"/>
                        </a:lnTo>
                        <a:cubicBezTo>
                          <a:pt x="174689" y="133350"/>
                          <a:pt x="161925" y="120587"/>
                          <a:pt x="161925" y="104775"/>
                        </a:cubicBezTo>
                        <a:lnTo>
                          <a:pt x="161925" y="28575"/>
                        </a:lnTo>
                        <a:cubicBezTo>
                          <a:pt x="161925" y="12763"/>
                          <a:pt x="174689" y="0"/>
                          <a:pt x="190500" y="0"/>
                        </a:cubicBezTo>
                        <a:lnTo>
                          <a:pt x="342900" y="0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wrap="square" lIns="91440" tIns="45720" rIns="91440" bIns="45720" anchor="ctr">
                    <a:normAutofit lnSpcReduction="10000"/>
                  </a:bodyPr>
                  <a:lstStyle>
                    <a:defPPr>
                      <a:defRPr lang="zh-CN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/>
                    <a:endParaRPr/>
                  </a:p>
                </p:txBody>
              </p:sp>
            </p:grpSp>
          </p:grpSp>
          <p:grpSp>
            <p:nvGrpSpPr>
              <p:cNvPr id="205" name="ïSļîḓê">
                <a:extLst>
                  <a:ext uri="{FF2B5EF4-FFF2-40B4-BE49-F238E27FC236}">
                    <a16:creationId xmlns:a16="http://schemas.microsoft.com/office/drawing/2014/main" id="{D895D1C2-3A2A-4347-8D5C-D3B1FF2CDD5B}"/>
                  </a:ext>
                </a:extLst>
              </p:cNvPr>
              <p:cNvGrpSpPr/>
              <p:nvPr/>
            </p:nvGrpSpPr>
            <p:grpSpPr>
              <a:xfrm>
                <a:off x="1729607" y="4742835"/>
                <a:ext cx="2556368" cy="1107071"/>
                <a:chOff x="4259265" y="1981584"/>
                <a:chExt cx="2214562" cy="1107071"/>
              </a:xfrm>
            </p:grpSpPr>
            <p:sp>
              <p:nvSpPr>
                <p:cNvPr id="206" name="ïS1îḋé">
                  <a:extLst>
                    <a:ext uri="{FF2B5EF4-FFF2-40B4-BE49-F238E27FC236}">
                      <a16:creationId xmlns:a16="http://schemas.microsoft.com/office/drawing/2014/main" id="{D78AC822-4DD8-4F01-B63E-7A6FA431B9EB}"/>
                    </a:ext>
                  </a:extLst>
                </p:cNvPr>
                <p:cNvSpPr txBox="1"/>
                <p:nvPr/>
              </p:nvSpPr>
              <p:spPr>
                <a:xfrm>
                  <a:off x="4259265" y="2489415"/>
                  <a:ext cx="2214562" cy="599240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lnSpc>
                      <a:spcPct val="120000"/>
                    </a:lnSpc>
                  </a:pPr>
                  <a:r>
                    <a:rPr lang="en-US" altLang="zh-CN" sz="1100" dirty="0"/>
                    <a:t>Copy paste fonts. Choose the only option to retain text……</a:t>
                  </a:r>
                </a:p>
              </p:txBody>
            </p:sp>
            <p:sp>
              <p:nvSpPr>
                <p:cNvPr id="207" name="ïŝlïḓê">
                  <a:extLst>
                    <a:ext uri="{FF2B5EF4-FFF2-40B4-BE49-F238E27FC236}">
                      <a16:creationId xmlns:a16="http://schemas.microsoft.com/office/drawing/2014/main" id="{BD346D62-D7C9-499A-96EB-D46A3DDE26E7}"/>
                    </a:ext>
                  </a:extLst>
                </p:cNvPr>
                <p:cNvSpPr/>
                <p:nvPr/>
              </p:nvSpPr>
              <p:spPr>
                <a:xfrm>
                  <a:off x="4259265" y="1981584"/>
                  <a:ext cx="2214562" cy="507831"/>
                </a:xfrm>
                <a:prstGeom prst="rect">
                  <a:avLst/>
                </a:prstGeom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/>
                  <a:r>
                    <a:rPr lang="en-US" altLang="zh-CN" sz="2000" b="1" dirty="0"/>
                    <a:t>Text here</a:t>
                  </a:r>
                  <a:endParaRPr lang="zh-CN" altLang="en-US" sz="2000" b="1" dirty="0"/>
                </a:p>
              </p:txBody>
            </p:sp>
          </p:grpSp>
        </p:grpSp>
        <p:grpSp>
          <p:nvGrpSpPr>
            <p:cNvPr id="180" name="îṧḻîdè">
              <a:extLst>
                <a:ext uri="{FF2B5EF4-FFF2-40B4-BE49-F238E27FC236}">
                  <a16:creationId xmlns:a16="http://schemas.microsoft.com/office/drawing/2014/main" id="{C0F8B852-6FDA-4FE6-92AE-0C1ABC96C33F}"/>
                </a:ext>
              </a:extLst>
            </p:cNvPr>
            <p:cNvGrpSpPr/>
            <p:nvPr/>
          </p:nvGrpSpPr>
          <p:grpSpPr>
            <a:xfrm>
              <a:off x="7108229" y="1560513"/>
              <a:ext cx="687388" cy="1611313"/>
              <a:chOff x="1685329" y="1560513"/>
              <a:chExt cx="687388" cy="1611313"/>
            </a:xfrm>
          </p:grpSpPr>
          <p:cxnSp>
            <p:nvCxnSpPr>
              <p:cNvPr id="200" name="îşļiḓê">
                <a:extLst>
                  <a:ext uri="{FF2B5EF4-FFF2-40B4-BE49-F238E27FC236}">
                    <a16:creationId xmlns:a16="http://schemas.microsoft.com/office/drawing/2014/main" id="{11AFF58B-608C-4ED4-9C1B-15778B548338}"/>
                  </a:ext>
                </a:extLst>
              </p:cNvPr>
              <p:cNvCxnSpPr/>
              <p:nvPr/>
            </p:nvCxnSpPr>
            <p:spPr>
              <a:xfrm>
                <a:off x="2016323" y="2189163"/>
                <a:ext cx="0" cy="982663"/>
              </a:xfrm>
              <a:prstGeom prst="line">
                <a:avLst/>
              </a:prstGeom>
              <a:ln w="3175">
                <a:solidFill>
                  <a:schemeClr val="bg1">
                    <a:lumMod val="7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01" name="ïṥļîďè">
                <a:extLst>
                  <a:ext uri="{FF2B5EF4-FFF2-40B4-BE49-F238E27FC236}">
                    <a16:creationId xmlns:a16="http://schemas.microsoft.com/office/drawing/2014/main" id="{52CD4243-24B1-4F1A-BC7D-E0F8E3F92F1E}"/>
                  </a:ext>
                </a:extLst>
              </p:cNvPr>
              <p:cNvGrpSpPr/>
              <p:nvPr/>
            </p:nvGrpSpPr>
            <p:grpSpPr>
              <a:xfrm>
                <a:off x="1685329" y="1560513"/>
                <a:ext cx="687388" cy="628650"/>
                <a:chOff x="1784351" y="1890713"/>
                <a:chExt cx="687388" cy="628650"/>
              </a:xfrm>
            </p:grpSpPr>
            <p:sp>
              <p:nvSpPr>
                <p:cNvPr id="202" name="ïṥľiḍè">
                  <a:extLst>
                    <a:ext uri="{FF2B5EF4-FFF2-40B4-BE49-F238E27FC236}">
                      <a16:creationId xmlns:a16="http://schemas.microsoft.com/office/drawing/2014/main" id="{1982B3E2-9FB8-4178-AF62-256B79FDB0B3}"/>
                    </a:ext>
                  </a:extLst>
                </p:cNvPr>
                <p:cNvSpPr/>
                <p:nvPr/>
              </p:nvSpPr>
              <p:spPr bwMode="auto">
                <a:xfrm>
                  <a:off x="1784351" y="1890713"/>
                  <a:ext cx="687388" cy="628650"/>
                </a:xfrm>
                <a:custGeom>
                  <a:avLst/>
                  <a:gdLst>
                    <a:gd name="T0" fmla="*/ 107 w 111"/>
                    <a:gd name="T1" fmla="*/ 38 h 101"/>
                    <a:gd name="T2" fmla="*/ 91 w 111"/>
                    <a:gd name="T3" fmla="*/ 12 h 101"/>
                    <a:gd name="T4" fmla="*/ 71 w 111"/>
                    <a:gd name="T5" fmla="*/ 0 h 101"/>
                    <a:gd name="T6" fmla="*/ 40 w 111"/>
                    <a:gd name="T7" fmla="*/ 0 h 101"/>
                    <a:gd name="T8" fmla="*/ 19 w 111"/>
                    <a:gd name="T9" fmla="*/ 12 h 101"/>
                    <a:gd name="T10" fmla="*/ 4 w 111"/>
                    <a:gd name="T11" fmla="*/ 38 h 101"/>
                    <a:gd name="T12" fmla="*/ 4 w 111"/>
                    <a:gd name="T13" fmla="*/ 62 h 101"/>
                    <a:gd name="T14" fmla="*/ 19 w 111"/>
                    <a:gd name="T15" fmla="*/ 89 h 101"/>
                    <a:gd name="T16" fmla="*/ 40 w 111"/>
                    <a:gd name="T17" fmla="*/ 101 h 101"/>
                    <a:gd name="T18" fmla="*/ 71 w 111"/>
                    <a:gd name="T19" fmla="*/ 101 h 101"/>
                    <a:gd name="T20" fmla="*/ 91 w 111"/>
                    <a:gd name="T21" fmla="*/ 89 h 101"/>
                    <a:gd name="T22" fmla="*/ 107 w 111"/>
                    <a:gd name="T23" fmla="*/ 62 h 101"/>
                    <a:gd name="T24" fmla="*/ 107 w 111"/>
                    <a:gd name="T25" fmla="*/ 38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11" h="101">
                      <a:moveTo>
                        <a:pt x="107" y="38"/>
                      </a:moveTo>
                      <a:cubicBezTo>
                        <a:pt x="91" y="12"/>
                        <a:pt x="91" y="12"/>
                        <a:pt x="91" y="12"/>
                      </a:cubicBezTo>
                      <a:cubicBezTo>
                        <a:pt x="87" y="4"/>
                        <a:pt x="79" y="0"/>
                        <a:pt x="71" y="0"/>
                      </a:cubicBez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1" y="0"/>
                        <a:pt x="24" y="4"/>
                        <a:pt x="19" y="12"/>
                      </a:cubicBezTo>
                      <a:cubicBezTo>
                        <a:pt x="4" y="38"/>
                        <a:pt x="4" y="38"/>
                        <a:pt x="4" y="38"/>
                      </a:cubicBezTo>
                      <a:cubicBezTo>
                        <a:pt x="0" y="46"/>
                        <a:pt x="0" y="55"/>
                        <a:pt x="4" y="62"/>
                      </a:cubicBezTo>
                      <a:cubicBezTo>
                        <a:pt x="19" y="89"/>
                        <a:pt x="19" y="89"/>
                        <a:pt x="19" y="89"/>
                      </a:cubicBezTo>
                      <a:cubicBezTo>
                        <a:pt x="24" y="96"/>
                        <a:pt x="31" y="101"/>
                        <a:pt x="40" y="101"/>
                      </a:cubicBezTo>
                      <a:cubicBezTo>
                        <a:pt x="71" y="101"/>
                        <a:pt x="71" y="101"/>
                        <a:pt x="71" y="101"/>
                      </a:cubicBezTo>
                      <a:cubicBezTo>
                        <a:pt x="79" y="101"/>
                        <a:pt x="87" y="96"/>
                        <a:pt x="91" y="89"/>
                      </a:cubicBezTo>
                      <a:cubicBezTo>
                        <a:pt x="107" y="62"/>
                        <a:pt x="107" y="62"/>
                        <a:pt x="107" y="62"/>
                      </a:cubicBezTo>
                      <a:cubicBezTo>
                        <a:pt x="111" y="55"/>
                        <a:pt x="111" y="46"/>
                        <a:pt x="107" y="38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203" name="ïSlîďè">
                  <a:extLst>
                    <a:ext uri="{FF2B5EF4-FFF2-40B4-BE49-F238E27FC236}">
                      <a16:creationId xmlns:a16="http://schemas.microsoft.com/office/drawing/2014/main" id="{23B63118-7E9C-4AB1-89D6-75384ADF9284}"/>
                    </a:ext>
                  </a:extLst>
                </p:cNvPr>
                <p:cNvSpPr/>
                <p:nvPr/>
              </p:nvSpPr>
              <p:spPr bwMode="auto">
                <a:xfrm>
                  <a:off x="1960519" y="2021403"/>
                  <a:ext cx="335051" cy="367268"/>
                </a:xfrm>
                <a:custGeom>
                  <a:avLst/>
                  <a:gdLst>
                    <a:gd name="connsiteX0" fmla="*/ 247650 w 495300"/>
                    <a:gd name="connsiteY0" fmla="*/ 0 h 542925"/>
                    <a:gd name="connsiteX1" fmla="*/ 495300 w 495300"/>
                    <a:gd name="connsiteY1" fmla="*/ 247650 h 542925"/>
                    <a:gd name="connsiteX2" fmla="*/ 322707 w 495300"/>
                    <a:gd name="connsiteY2" fmla="*/ 483775 h 542925"/>
                    <a:gd name="connsiteX3" fmla="*/ 345853 w 495300"/>
                    <a:gd name="connsiteY3" fmla="*/ 523875 h 542925"/>
                    <a:gd name="connsiteX4" fmla="*/ 419100 w 495300"/>
                    <a:gd name="connsiteY4" fmla="*/ 523875 h 542925"/>
                    <a:gd name="connsiteX5" fmla="*/ 419100 w 495300"/>
                    <a:gd name="connsiteY5" fmla="*/ 542925 h 542925"/>
                    <a:gd name="connsiteX6" fmla="*/ 76200 w 495300"/>
                    <a:gd name="connsiteY6" fmla="*/ 542925 h 542925"/>
                    <a:gd name="connsiteX7" fmla="*/ 76200 w 495300"/>
                    <a:gd name="connsiteY7" fmla="*/ 523875 h 542925"/>
                    <a:gd name="connsiteX8" fmla="*/ 149447 w 495300"/>
                    <a:gd name="connsiteY8" fmla="*/ 523875 h 542925"/>
                    <a:gd name="connsiteX9" fmla="*/ 172593 w 495300"/>
                    <a:gd name="connsiteY9" fmla="*/ 483775 h 542925"/>
                    <a:gd name="connsiteX10" fmla="*/ 0 w 495300"/>
                    <a:gd name="connsiteY10" fmla="*/ 247650 h 542925"/>
                    <a:gd name="connsiteX11" fmla="*/ 247650 w 495300"/>
                    <a:gd name="connsiteY11" fmla="*/ 0 h 542925"/>
                    <a:gd name="connsiteX12" fmla="*/ 191643 w 495300"/>
                    <a:gd name="connsiteY12" fmla="*/ 488918 h 542925"/>
                    <a:gd name="connsiteX13" fmla="*/ 171450 w 495300"/>
                    <a:gd name="connsiteY13" fmla="*/ 523875 h 542925"/>
                    <a:gd name="connsiteX14" fmla="*/ 323850 w 495300"/>
                    <a:gd name="connsiteY14" fmla="*/ 523875 h 542925"/>
                    <a:gd name="connsiteX15" fmla="*/ 303657 w 495300"/>
                    <a:gd name="connsiteY15" fmla="*/ 488918 h 542925"/>
                    <a:gd name="connsiteX16" fmla="*/ 247650 w 495300"/>
                    <a:gd name="connsiteY16" fmla="*/ 495300 h 542925"/>
                    <a:gd name="connsiteX17" fmla="*/ 191643 w 495300"/>
                    <a:gd name="connsiteY17" fmla="*/ 488918 h 542925"/>
                    <a:gd name="connsiteX18" fmla="*/ 247650 w 495300"/>
                    <a:gd name="connsiteY18" fmla="*/ 142875 h 542925"/>
                    <a:gd name="connsiteX19" fmla="*/ 142875 w 495300"/>
                    <a:gd name="connsiteY19" fmla="*/ 247650 h 542925"/>
                    <a:gd name="connsiteX20" fmla="*/ 247650 w 495300"/>
                    <a:gd name="connsiteY20" fmla="*/ 352425 h 542925"/>
                    <a:gd name="connsiteX21" fmla="*/ 352425 w 495300"/>
                    <a:gd name="connsiteY21" fmla="*/ 247650 h 542925"/>
                    <a:gd name="connsiteX22" fmla="*/ 247650 w 495300"/>
                    <a:gd name="connsiteY22" fmla="*/ 142875 h 542925"/>
                    <a:gd name="connsiteX23" fmla="*/ 366713 w 495300"/>
                    <a:gd name="connsiteY23" fmla="*/ 114300 h 542925"/>
                    <a:gd name="connsiteX24" fmla="*/ 352425 w 495300"/>
                    <a:gd name="connsiteY24" fmla="*/ 128588 h 542925"/>
                    <a:gd name="connsiteX25" fmla="*/ 366713 w 495300"/>
                    <a:gd name="connsiteY25" fmla="*/ 142875 h 542925"/>
                    <a:gd name="connsiteX26" fmla="*/ 381000 w 495300"/>
                    <a:gd name="connsiteY26" fmla="*/ 128588 h 542925"/>
                    <a:gd name="connsiteX27" fmla="*/ 366713 w 495300"/>
                    <a:gd name="connsiteY27" fmla="*/ 114300 h 5429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495300" h="542925">
                      <a:moveTo>
                        <a:pt x="247650" y="0"/>
                      </a:moveTo>
                      <a:cubicBezTo>
                        <a:pt x="384429" y="0"/>
                        <a:pt x="495300" y="110871"/>
                        <a:pt x="495300" y="247650"/>
                      </a:cubicBezTo>
                      <a:cubicBezTo>
                        <a:pt x="495300" y="358235"/>
                        <a:pt x="422815" y="451961"/>
                        <a:pt x="322707" y="483775"/>
                      </a:cubicBezTo>
                      <a:lnTo>
                        <a:pt x="345853" y="523875"/>
                      </a:lnTo>
                      <a:lnTo>
                        <a:pt x="419100" y="523875"/>
                      </a:lnTo>
                      <a:lnTo>
                        <a:pt x="419100" y="542925"/>
                      </a:lnTo>
                      <a:lnTo>
                        <a:pt x="76200" y="542925"/>
                      </a:lnTo>
                      <a:lnTo>
                        <a:pt x="76200" y="523875"/>
                      </a:lnTo>
                      <a:lnTo>
                        <a:pt x="149447" y="523875"/>
                      </a:lnTo>
                      <a:lnTo>
                        <a:pt x="172593" y="483775"/>
                      </a:lnTo>
                      <a:cubicBezTo>
                        <a:pt x="72485" y="451961"/>
                        <a:pt x="0" y="358235"/>
                        <a:pt x="0" y="247650"/>
                      </a:cubicBezTo>
                      <a:cubicBezTo>
                        <a:pt x="0" y="110871"/>
                        <a:pt x="110871" y="0"/>
                        <a:pt x="247650" y="0"/>
                      </a:cubicBezTo>
                      <a:close/>
                      <a:moveTo>
                        <a:pt x="191643" y="488918"/>
                      </a:moveTo>
                      <a:lnTo>
                        <a:pt x="171450" y="523875"/>
                      </a:lnTo>
                      <a:lnTo>
                        <a:pt x="323850" y="523875"/>
                      </a:lnTo>
                      <a:lnTo>
                        <a:pt x="303657" y="488918"/>
                      </a:lnTo>
                      <a:cubicBezTo>
                        <a:pt x="285655" y="493109"/>
                        <a:pt x="266891" y="495300"/>
                        <a:pt x="247650" y="495300"/>
                      </a:cubicBezTo>
                      <a:cubicBezTo>
                        <a:pt x="228409" y="495300"/>
                        <a:pt x="209645" y="493109"/>
                        <a:pt x="191643" y="488918"/>
                      </a:cubicBezTo>
                      <a:close/>
                      <a:moveTo>
                        <a:pt x="247650" y="142875"/>
                      </a:moveTo>
                      <a:cubicBezTo>
                        <a:pt x="189738" y="142875"/>
                        <a:pt x="142875" y="189738"/>
                        <a:pt x="142875" y="247650"/>
                      </a:cubicBezTo>
                      <a:cubicBezTo>
                        <a:pt x="142875" y="305562"/>
                        <a:pt x="189738" y="352425"/>
                        <a:pt x="247650" y="352425"/>
                      </a:cubicBezTo>
                      <a:cubicBezTo>
                        <a:pt x="305562" y="352425"/>
                        <a:pt x="352425" y="305562"/>
                        <a:pt x="352425" y="247650"/>
                      </a:cubicBezTo>
                      <a:cubicBezTo>
                        <a:pt x="352425" y="189738"/>
                        <a:pt x="305562" y="142875"/>
                        <a:pt x="247650" y="142875"/>
                      </a:cubicBezTo>
                      <a:close/>
                      <a:moveTo>
                        <a:pt x="366713" y="114300"/>
                      </a:moveTo>
                      <a:cubicBezTo>
                        <a:pt x="358807" y="114300"/>
                        <a:pt x="352425" y="120682"/>
                        <a:pt x="352425" y="128588"/>
                      </a:cubicBezTo>
                      <a:cubicBezTo>
                        <a:pt x="352425" y="136493"/>
                        <a:pt x="358807" y="142875"/>
                        <a:pt x="366713" y="142875"/>
                      </a:cubicBezTo>
                      <a:cubicBezTo>
                        <a:pt x="374618" y="142875"/>
                        <a:pt x="381000" y="136493"/>
                        <a:pt x="381000" y="128588"/>
                      </a:cubicBezTo>
                      <a:cubicBezTo>
                        <a:pt x="381000" y="120682"/>
                        <a:pt x="374618" y="114300"/>
                        <a:pt x="366713" y="11430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/>
                </a:p>
              </p:txBody>
            </p:sp>
          </p:grpSp>
        </p:grpSp>
        <p:grpSp>
          <p:nvGrpSpPr>
            <p:cNvPr id="181" name="íšḻíḑé">
              <a:extLst>
                <a:ext uri="{FF2B5EF4-FFF2-40B4-BE49-F238E27FC236}">
                  <a16:creationId xmlns:a16="http://schemas.microsoft.com/office/drawing/2014/main" id="{5D1FA96C-63EF-42FF-AEF5-572C7676E2A8}"/>
                </a:ext>
              </a:extLst>
            </p:cNvPr>
            <p:cNvGrpSpPr/>
            <p:nvPr/>
          </p:nvGrpSpPr>
          <p:grpSpPr>
            <a:xfrm>
              <a:off x="7823896" y="1370745"/>
              <a:ext cx="2556368" cy="1107071"/>
              <a:chOff x="4259265" y="1981584"/>
              <a:chExt cx="2214562" cy="1107071"/>
            </a:xfrm>
          </p:grpSpPr>
          <p:sp>
            <p:nvSpPr>
              <p:cNvPr id="198" name="iṡ1idé">
                <a:extLst>
                  <a:ext uri="{FF2B5EF4-FFF2-40B4-BE49-F238E27FC236}">
                    <a16:creationId xmlns:a16="http://schemas.microsoft.com/office/drawing/2014/main" id="{BE2A136C-FB75-415B-8DE3-449035FD5173}"/>
                  </a:ext>
                </a:extLst>
              </p:cNvPr>
              <p:cNvSpPr txBox="1"/>
              <p:nvPr/>
            </p:nvSpPr>
            <p:spPr>
              <a:xfrm>
                <a:off x="4259265" y="2489415"/>
                <a:ext cx="2214562" cy="599240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sp>
            <p:nvSpPr>
              <p:cNvPr id="199" name="iṣlíḑé">
                <a:extLst>
                  <a:ext uri="{FF2B5EF4-FFF2-40B4-BE49-F238E27FC236}">
                    <a16:creationId xmlns:a16="http://schemas.microsoft.com/office/drawing/2014/main" id="{790679CC-2AAD-40FC-B06C-AC2A606CDD70}"/>
                  </a:ext>
                </a:extLst>
              </p:cNvPr>
              <p:cNvSpPr/>
              <p:nvPr/>
            </p:nvSpPr>
            <p:spPr>
              <a:xfrm>
                <a:off x="4259265" y="1981584"/>
                <a:ext cx="2214562" cy="507831"/>
              </a:xfrm>
              <a:prstGeom prst="rect">
                <a:avLst/>
              </a:prstGeom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sz="2000" b="1" dirty="0"/>
                  <a:t>Text here</a:t>
                </a:r>
                <a:endParaRPr lang="zh-CN" altLang="en-US" sz="2000" b="1" dirty="0"/>
              </a:p>
            </p:txBody>
          </p:sp>
        </p:grpSp>
        <p:grpSp>
          <p:nvGrpSpPr>
            <p:cNvPr id="182" name="isḻïḓe">
              <a:extLst>
                <a:ext uri="{FF2B5EF4-FFF2-40B4-BE49-F238E27FC236}">
                  <a16:creationId xmlns:a16="http://schemas.microsoft.com/office/drawing/2014/main" id="{D2833A97-B582-4104-A787-90A48714B8FE}"/>
                </a:ext>
              </a:extLst>
            </p:cNvPr>
            <p:cNvGrpSpPr/>
            <p:nvPr/>
          </p:nvGrpSpPr>
          <p:grpSpPr>
            <a:xfrm>
              <a:off x="1685329" y="1560513"/>
              <a:ext cx="687388" cy="1611313"/>
              <a:chOff x="1685329" y="1560513"/>
              <a:chExt cx="687388" cy="1611313"/>
            </a:xfrm>
          </p:grpSpPr>
          <p:cxnSp>
            <p:nvCxnSpPr>
              <p:cNvPr id="194" name="íṩľîḓê">
                <a:extLst>
                  <a:ext uri="{FF2B5EF4-FFF2-40B4-BE49-F238E27FC236}">
                    <a16:creationId xmlns:a16="http://schemas.microsoft.com/office/drawing/2014/main" id="{008CF5A1-C940-4C69-AF63-29B739158DA4}"/>
                  </a:ext>
                </a:extLst>
              </p:cNvPr>
              <p:cNvCxnSpPr/>
              <p:nvPr/>
            </p:nvCxnSpPr>
            <p:spPr>
              <a:xfrm>
                <a:off x="2016323" y="2189163"/>
                <a:ext cx="0" cy="982663"/>
              </a:xfrm>
              <a:prstGeom prst="line">
                <a:avLst/>
              </a:prstGeom>
              <a:ln w="3175">
                <a:solidFill>
                  <a:schemeClr val="bg1">
                    <a:lumMod val="7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95" name="íş1iḓê">
                <a:extLst>
                  <a:ext uri="{FF2B5EF4-FFF2-40B4-BE49-F238E27FC236}">
                    <a16:creationId xmlns:a16="http://schemas.microsoft.com/office/drawing/2014/main" id="{F3C7E7E0-2621-4BA5-94B9-5C0B87112AED}"/>
                  </a:ext>
                </a:extLst>
              </p:cNvPr>
              <p:cNvGrpSpPr/>
              <p:nvPr/>
            </p:nvGrpSpPr>
            <p:grpSpPr>
              <a:xfrm>
                <a:off x="1685329" y="1560513"/>
                <a:ext cx="687388" cy="628650"/>
                <a:chOff x="1784351" y="1890713"/>
                <a:chExt cx="687388" cy="628650"/>
              </a:xfrm>
            </p:grpSpPr>
            <p:sp>
              <p:nvSpPr>
                <p:cNvPr id="196" name="ïṥḻiḑè">
                  <a:extLst>
                    <a:ext uri="{FF2B5EF4-FFF2-40B4-BE49-F238E27FC236}">
                      <a16:creationId xmlns:a16="http://schemas.microsoft.com/office/drawing/2014/main" id="{0995A802-FF17-4D77-8018-B847B03F5450}"/>
                    </a:ext>
                  </a:extLst>
                </p:cNvPr>
                <p:cNvSpPr/>
                <p:nvPr/>
              </p:nvSpPr>
              <p:spPr bwMode="auto">
                <a:xfrm>
                  <a:off x="1784351" y="1890713"/>
                  <a:ext cx="687388" cy="628650"/>
                </a:xfrm>
                <a:custGeom>
                  <a:avLst/>
                  <a:gdLst>
                    <a:gd name="T0" fmla="*/ 107 w 111"/>
                    <a:gd name="T1" fmla="*/ 38 h 101"/>
                    <a:gd name="T2" fmla="*/ 91 w 111"/>
                    <a:gd name="T3" fmla="*/ 12 h 101"/>
                    <a:gd name="T4" fmla="*/ 71 w 111"/>
                    <a:gd name="T5" fmla="*/ 0 h 101"/>
                    <a:gd name="T6" fmla="*/ 40 w 111"/>
                    <a:gd name="T7" fmla="*/ 0 h 101"/>
                    <a:gd name="T8" fmla="*/ 19 w 111"/>
                    <a:gd name="T9" fmla="*/ 12 h 101"/>
                    <a:gd name="T10" fmla="*/ 4 w 111"/>
                    <a:gd name="T11" fmla="*/ 38 h 101"/>
                    <a:gd name="T12" fmla="*/ 4 w 111"/>
                    <a:gd name="T13" fmla="*/ 62 h 101"/>
                    <a:gd name="T14" fmla="*/ 19 w 111"/>
                    <a:gd name="T15" fmla="*/ 89 h 101"/>
                    <a:gd name="T16" fmla="*/ 40 w 111"/>
                    <a:gd name="T17" fmla="*/ 101 h 101"/>
                    <a:gd name="T18" fmla="*/ 71 w 111"/>
                    <a:gd name="T19" fmla="*/ 101 h 101"/>
                    <a:gd name="T20" fmla="*/ 91 w 111"/>
                    <a:gd name="T21" fmla="*/ 89 h 101"/>
                    <a:gd name="T22" fmla="*/ 107 w 111"/>
                    <a:gd name="T23" fmla="*/ 62 h 101"/>
                    <a:gd name="T24" fmla="*/ 107 w 111"/>
                    <a:gd name="T25" fmla="*/ 38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11" h="101">
                      <a:moveTo>
                        <a:pt x="107" y="38"/>
                      </a:moveTo>
                      <a:cubicBezTo>
                        <a:pt x="91" y="12"/>
                        <a:pt x="91" y="12"/>
                        <a:pt x="91" y="12"/>
                      </a:cubicBezTo>
                      <a:cubicBezTo>
                        <a:pt x="87" y="4"/>
                        <a:pt x="79" y="0"/>
                        <a:pt x="71" y="0"/>
                      </a:cubicBez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1" y="0"/>
                        <a:pt x="24" y="4"/>
                        <a:pt x="19" y="12"/>
                      </a:cubicBezTo>
                      <a:cubicBezTo>
                        <a:pt x="4" y="38"/>
                        <a:pt x="4" y="38"/>
                        <a:pt x="4" y="38"/>
                      </a:cubicBezTo>
                      <a:cubicBezTo>
                        <a:pt x="0" y="46"/>
                        <a:pt x="0" y="55"/>
                        <a:pt x="4" y="62"/>
                      </a:cubicBezTo>
                      <a:cubicBezTo>
                        <a:pt x="19" y="89"/>
                        <a:pt x="19" y="89"/>
                        <a:pt x="19" y="89"/>
                      </a:cubicBezTo>
                      <a:cubicBezTo>
                        <a:pt x="24" y="96"/>
                        <a:pt x="31" y="101"/>
                        <a:pt x="40" y="101"/>
                      </a:cubicBezTo>
                      <a:cubicBezTo>
                        <a:pt x="71" y="101"/>
                        <a:pt x="71" y="101"/>
                        <a:pt x="71" y="101"/>
                      </a:cubicBezTo>
                      <a:cubicBezTo>
                        <a:pt x="79" y="101"/>
                        <a:pt x="87" y="96"/>
                        <a:pt x="91" y="89"/>
                      </a:cubicBezTo>
                      <a:cubicBezTo>
                        <a:pt x="107" y="62"/>
                        <a:pt x="107" y="62"/>
                        <a:pt x="107" y="62"/>
                      </a:cubicBezTo>
                      <a:cubicBezTo>
                        <a:pt x="111" y="55"/>
                        <a:pt x="111" y="46"/>
                        <a:pt x="107" y="38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197" name="íṧļîďê">
                  <a:extLst>
                    <a:ext uri="{FF2B5EF4-FFF2-40B4-BE49-F238E27FC236}">
                      <a16:creationId xmlns:a16="http://schemas.microsoft.com/office/drawing/2014/main" id="{E12FF55C-D368-44E9-B31B-FCED53E4BDA9}"/>
                    </a:ext>
                  </a:extLst>
                </p:cNvPr>
                <p:cNvSpPr/>
                <p:nvPr/>
              </p:nvSpPr>
              <p:spPr bwMode="auto">
                <a:xfrm>
                  <a:off x="1944411" y="2052158"/>
                  <a:ext cx="367268" cy="305756"/>
                </a:xfrm>
                <a:custGeom>
                  <a:avLst/>
                  <a:gdLst>
                    <a:gd name="connsiteX0" fmla="*/ 482197 w 526297"/>
                    <a:gd name="connsiteY0" fmla="*/ 133350 h 438150"/>
                    <a:gd name="connsiteX1" fmla="*/ 526298 w 526297"/>
                    <a:gd name="connsiteY1" fmla="*/ 177451 h 438150"/>
                    <a:gd name="connsiteX2" fmla="*/ 526203 w 526297"/>
                    <a:gd name="connsiteY2" fmla="*/ 180880 h 438150"/>
                    <a:gd name="connsiteX3" fmla="*/ 512867 w 526297"/>
                    <a:gd name="connsiteY3" fmla="*/ 354616 h 438150"/>
                    <a:gd name="connsiteX4" fmla="*/ 484388 w 526297"/>
                    <a:gd name="connsiteY4" fmla="*/ 381000 h 438150"/>
                    <a:gd name="connsiteX5" fmla="*/ 453622 w 526297"/>
                    <a:gd name="connsiteY5" fmla="*/ 381000 h 438150"/>
                    <a:gd name="connsiteX6" fmla="*/ 453622 w 526297"/>
                    <a:gd name="connsiteY6" fmla="*/ 438150 h 438150"/>
                    <a:gd name="connsiteX7" fmla="*/ 434572 w 526297"/>
                    <a:gd name="connsiteY7" fmla="*/ 438150 h 438150"/>
                    <a:gd name="connsiteX8" fmla="*/ 434572 w 526297"/>
                    <a:gd name="connsiteY8" fmla="*/ 381000 h 438150"/>
                    <a:gd name="connsiteX9" fmla="*/ 91672 w 526297"/>
                    <a:gd name="connsiteY9" fmla="*/ 381000 h 438150"/>
                    <a:gd name="connsiteX10" fmla="*/ 91672 w 526297"/>
                    <a:gd name="connsiteY10" fmla="*/ 438150 h 438150"/>
                    <a:gd name="connsiteX11" fmla="*/ 72622 w 526297"/>
                    <a:gd name="connsiteY11" fmla="*/ 438150 h 438150"/>
                    <a:gd name="connsiteX12" fmla="*/ 72622 w 526297"/>
                    <a:gd name="connsiteY12" fmla="*/ 381000 h 438150"/>
                    <a:gd name="connsiteX13" fmla="*/ 41952 w 526297"/>
                    <a:gd name="connsiteY13" fmla="*/ 381000 h 438150"/>
                    <a:gd name="connsiteX14" fmla="*/ 13472 w 526297"/>
                    <a:gd name="connsiteY14" fmla="*/ 354616 h 438150"/>
                    <a:gd name="connsiteX15" fmla="*/ 137 w 526297"/>
                    <a:gd name="connsiteY15" fmla="*/ 180880 h 438150"/>
                    <a:gd name="connsiteX16" fmla="*/ 40714 w 526297"/>
                    <a:gd name="connsiteY16" fmla="*/ 133541 h 438150"/>
                    <a:gd name="connsiteX17" fmla="*/ 44142 w 526297"/>
                    <a:gd name="connsiteY17" fmla="*/ 133445 h 438150"/>
                    <a:gd name="connsiteX18" fmla="*/ 100531 w 526297"/>
                    <a:gd name="connsiteY18" fmla="*/ 180213 h 438150"/>
                    <a:gd name="connsiteX19" fmla="*/ 120247 w 526297"/>
                    <a:gd name="connsiteY19" fmla="*/ 285750 h 438150"/>
                    <a:gd name="connsiteX20" fmla="*/ 405997 w 526297"/>
                    <a:gd name="connsiteY20" fmla="*/ 285750 h 438150"/>
                    <a:gd name="connsiteX21" fmla="*/ 425809 w 526297"/>
                    <a:gd name="connsiteY21" fmla="*/ 180118 h 438150"/>
                    <a:gd name="connsiteX22" fmla="*/ 482197 w 526297"/>
                    <a:gd name="connsiteY22" fmla="*/ 133350 h 438150"/>
                    <a:gd name="connsiteX23" fmla="*/ 415522 w 526297"/>
                    <a:gd name="connsiteY23" fmla="*/ 0 h 438150"/>
                    <a:gd name="connsiteX24" fmla="*/ 482197 w 526297"/>
                    <a:gd name="connsiteY24" fmla="*/ 66675 h 438150"/>
                    <a:gd name="connsiteX25" fmla="*/ 482197 w 526297"/>
                    <a:gd name="connsiteY25" fmla="*/ 114776 h 438150"/>
                    <a:gd name="connsiteX26" fmla="*/ 475053 w 526297"/>
                    <a:gd name="connsiteY26" fmla="*/ 114300 h 438150"/>
                    <a:gd name="connsiteX27" fmla="*/ 410664 w 526297"/>
                    <a:gd name="connsiteY27" fmla="*/ 165830 h 438150"/>
                    <a:gd name="connsiteX28" fmla="*/ 410188 w 526297"/>
                    <a:gd name="connsiteY28" fmla="*/ 168116 h 438150"/>
                    <a:gd name="connsiteX29" fmla="*/ 391710 w 526297"/>
                    <a:gd name="connsiteY29" fmla="*/ 266700 h 438150"/>
                    <a:gd name="connsiteX30" fmla="*/ 134535 w 526297"/>
                    <a:gd name="connsiteY30" fmla="*/ 266700 h 438150"/>
                    <a:gd name="connsiteX31" fmla="*/ 116057 w 526297"/>
                    <a:gd name="connsiteY31" fmla="*/ 168116 h 438150"/>
                    <a:gd name="connsiteX32" fmla="*/ 51191 w 526297"/>
                    <a:gd name="connsiteY32" fmla="*/ 114300 h 438150"/>
                    <a:gd name="connsiteX33" fmla="*/ 53572 w 526297"/>
                    <a:gd name="connsiteY33" fmla="*/ 66675 h 438150"/>
                    <a:gd name="connsiteX34" fmla="*/ 120247 w 526297"/>
                    <a:gd name="connsiteY34" fmla="*/ 0 h 438150"/>
                    <a:gd name="connsiteX35" fmla="*/ 415522 w 526297"/>
                    <a:gd name="connsiteY35" fmla="*/ 0 h 438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</a:cxnLst>
                  <a:rect l="l" t="t" r="r" b="b"/>
                  <a:pathLst>
                    <a:path w="526297" h="438150">
                      <a:moveTo>
                        <a:pt x="482197" y="133350"/>
                      </a:moveTo>
                      <a:cubicBezTo>
                        <a:pt x="506582" y="133350"/>
                        <a:pt x="526298" y="153067"/>
                        <a:pt x="526298" y="177451"/>
                      </a:cubicBezTo>
                      <a:cubicBezTo>
                        <a:pt x="526298" y="178594"/>
                        <a:pt x="526298" y="179737"/>
                        <a:pt x="526203" y="180880"/>
                      </a:cubicBezTo>
                      <a:lnTo>
                        <a:pt x="512867" y="354616"/>
                      </a:lnTo>
                      <a:cubicBezTo>
                        <a:pt x="511724" y="369475"/>
                        <a:pt x="499343" y="381000"/>
                        <a:pt x="484388" y="381000"/>
                      </a:cubicBezTo>
                      <a:lnTo>
                        <a:pt x="453622" y="381000"/>
                      </a:lnTo>
                      <a:lnTo>
                        <a:pt x="453622" y="438150"/>
                      </a:lnTo>
                      <a:lnTo>
                        <a:pt x="434572" y="438150"/>
                      </a:lnTo>
                      <a:lnTo>
                        <a:pt x="434572" y="381000"/>
                      </a:lnTo>
                      <a:lnTo>
                        <a:pt x="91672" y="381000"/>
                      </a:lnTo>
                      <a:lnTo>
                        <a:pt x="91672" y="438150"/>
                      </a:lnTo>
                      <a:lnTo>
                        <a:pt x="72622" y="438150"/>
                      </a:lnTo>
                      <a:lnTo>
                        <a:pt x="72622" y="381000"/>
                      </a:lnTo>
                      <a:lnTo>
                        <a:pt x="41952" y="381000"/>
                      </a:lnTo>
                      <a:cubicBezTo>
                        <a:pt x="26998" y="381000"/>
                        <a:pt x="14615" y="369475"/>
                        <a:pt x="13472" y="354616"/>
                      </a:cubicBezTo>
                      <a:lnTo>
                        <a:pt x="137" y="180880"/>
                      </a:lnTo>
                      <a:cubicBezTo>
                        <a:pt x="-1768" y="156591"/>
                        <a:pt x="16424" y="135350"/>
                        <a:pt x="40714" y="133541"/>
                      </a:cubicBezTo>
                      <a:cubicBezTo>
                        <a:pt x="41857" y="133445"/>
                        <a:pt x="42999" y="133445"/>
                        <a:pt x="44142" y="133445"/>
                      </a:cubicBezTo>
                      <a:cubicBezTo>
                        <a:pt x="71765" y="133445"/>
                        <a:pt x="95482" y="153067"/>
                        <a:pt x="100531" y="180213"/>
                      </a:cubicBezTo>
                      <a:lnTo>
                        <a:pt x="120247" y="285750"/>
                      </a:lnTo>
                      <a:lnTo>
                        <a:pt x="405997" y="285750"/>
                      </a:lnTo>
                      <a:lnTo>
                        <a:pt x="425809" y="180118"/>
                      </a:lnTo>
                      <a:cubicBezTo>
                        <a:pt x="430857" y="152972"/>
                        <a:pt x="454574" y="133350"/>
                        <a:pt x="482197" y="133350"/>
                      </a:cubicBezTo>
                      <a:close/>
                      <a:moveTo>
                        <a:pt x="415522" y="0"/>
                      </a:moveTo>
                      <a:cubicBezTo>
                        <a:pt x="452384" y="0"/>
                        <a:pt x="482197" y="29813"/>
                        <a:pt x="482197" y="66675"/>
                      </a:cubicBezTo>
                      <a:lnTo>
                        <a:pt x="482197" y="114776"/>
                      </a:lnTo>
                      <a:cubicBezTo>
                        <a:pt x="479816" y="114491"/>
                        <a:pt x="477435" y="114300"/>
                        <a:pt x="475053" y="114300"/>
                      </a:cubicBezTo>
                      <a:cubicBezTo>
                        <a:pt x="444097" y="114300"/>
                        <a:pt x="417427" y="135827"/>
                        <a:pt x="410664" y="165830"/>
                      </a:cubicBezTo>
                      <a:lnTo>
                        <a:pt x="410188" y="168116"/>
                      </a:lnTo>
                      <a:lnTo>
                        <a:pt x="391710" y="266700"/>
                      </a:lnTo>
                      <a:lnTo>
                        <a:pt x="134535" y="266700"/>
                      </a:lnTo>
                      <a:lnTo>
                        <a:pt x="116057" y="168116"/>
                      </a:lnTo>
                      <a:cubicBezTo>
                        <a:pt x="110245" y="136874"/>
                        <a:pt x="82909" y="114300"/>
                        <a:pt x="51191" y="114300"/>
                      </a:cubicBezTo>
                      <a:lnTo>
                        <a:pt x="53572" y="66675"/>
                      </a:lnTo>
                      <a:cubicBezTo>
                        <a:pt x="53572" y="29813"/>
                        <a:pt x="83385" y="0"/>
                        <a:pt x="120247" y="0"/>
                      </a:cubicBezTo>
                      <a:lnTo>
                        <a:pt x="415522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 fontScale="9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/>
                </a:p>
              </p:txBody>
            </p:sp>
          </p:grpSp>
        </p:grpSp>
        <p:grpSp>
          <p:nvGrpSpPr>
            <p:cNvPr id="183" name="iṥľíḍê">
              <a:extLst>
                <a:ext uri="{FF2B5EF4-FFF2-40B4-BE49-F238E27FC236}">
                  <a16:creationId xmlns:a16="http://schemas.microsoft.com/office/drawing/2014/main" id="{03C8E7B9-9E36-4630-8D00-7EDF400819B9}"/>
                </a:ext>
              </a:extLst>
            </p:cNvPr>
            <p:cNvGrpSpPr/>
            <p:nvPr/>
          </p:nvGrpSpPr>
          <p:grpSpPr>
            <a:xfrm>
              <a:off x="2400996" y="1370745"/>
              <a:ext cx="2556368" cy="1107071"/>
              <a:chOff x="4259265" y="1981584"/>
              <a:chExt cx="2214562" cy="1107071"/>
            </a:xfrm>
          </p:grpSpPr>
          <p:sp>
            <p:nvSpPr>
              <p:cNvPr id="192" name="îṩ1ïďe">
                <a:extLst>
                  <a:ext uri="{FF2B5EF4-FFF2-40B4-BE49-F238E27FC236}">
                    <a16:creationId xmlns:a16="http://schemas.microsoft.com/office/drawing/2014/main" id="{D1BE3D0A-F1AF-42D9-A8F3-01F5409B82F2}"/>
                  </a:ext>
                </a:extLst>
              </p:cNvPr>
              <p:cNvSpPr txBox="1"/>
              <p:nvPr/>
            </p:nvSpPr>
            <p:spPr>
              <a:xfrm>
                <a:off x="4259265" y="2489415"/>
                <a:ext cx="2214562" cy="599240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sp>
            <p:nvSpPr>
              <p:cNvPr id="193" name="iṥļiďe">
                <a:extLst>
                  <a:ext uri="{FF2B5EF4-FFF2-40B4-BE49-F238E27FC236}">
                    <a16:creationId xmlns:a16="http://schemas.microsoft.com/office/drawing/2014/main" id="{6D51E086-0432-4F08-903B-2E241BD095ED}"/>
                  </a:ext>
                </a:extLst>
              </p:cNvPr>
              <p:cNvSpPr/>
              <p:nvPr/>
            </p:nvSpPr>
            <p:spPr>
              <a:xfrm>
                <a:off x="4259265" y="1981584"/>
                <a:ext cx="2214562" cy="507831"/>
              </a:xfrm>
              <a:prstGeom prst="rect">
                <a:avLst/>
              </a:prstGeom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sz="2000" b="1" dirty="0"/>
                  <a:t>Text here</a:t>
                </a:r>
                <a:endParaRPr lang="zh-CN" altLang="en-US" sz="2000" b="1" dirty="0"/>
              </a:p>
            </p:txBody>
          </p:sp>
        </p:grpSp>
        <p:cxnSp>
          <p:nvCxnSpPr>
            <p:cNvPr id="184" name="îSḻíḍe">
              <a:extLst>
                <a:ext uri="{FF2B5EF4-FFF2-40B4-BE49-F238E27FC236}">
                  <a16:creationId xmlns:a16="http://schemas.microsoft.com/office/drawing/2014/main" id="{B355B734-DE8C-4BD0-91E8-C05CD4B65948}"/>
                </a:ext>
              </a:extLst>
            </p:cNvPr>
            <p:cNvCxnSpPr/>
            <p:nvPr/>
          </p:nvCxnSpPr>
          <p:spPr>
            <a:xfrm>
              <a:off x="673099" y="3598793"/>
              <a:ext cx="10845800" cy="0"/>
            </a:xfrm>
            <a:prstGeom prst="line">
              <a:avLst/>
            </a:prstGeom>
            <a:ln w="381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5" name="ïSļíḑe">
              <a:extLst>
                <a:ext uri="{FF2B5EF4-FFF2-40B4-BE49-F238E27FC236}">
                  <a16:creationId xmlns:a16="http://schemas.microsoft.com/office/drawing/2014/main" id="{F3E02D63-8A87-48C2-880D-99F81AFD5460}"/>
                </a:ext>
              </a:extLst>
            </p:cNvPr>
            <p:cNvSpPr/>
            <p:nvPr/>
          </p:nvSpPr>
          <p:spPr bwMode="auto">
            <a:xfrm>
              <a:off x="6096794" y="3065448"/>
              <a:ext cx="2705929" cy="532605"/>
            </a:xfrm>
            <a:custGeom>
              <a:avLst/>
              <a:gdLst>
                <a:gd name="T0" fmla="*/ 428 w 468"/>
                <a:gd name="T1" fmla="*/ 30 h 92"/>
                <a:gd name="T2" fmla="*/ 277 w 468"/>
                <a:gd name="T3" fmla="*/ 30 h 92"/>
                <a:gd name="T4" fmla="*/ 263 w 468"/>
                <a:gd name="T5" fmla="*/ 24 h 92"/>
                <a:gd name="T6" fmla="*/ 248 w 468"/>
                <a:gd name="T7" fmla="*/ 8 h 92"/>
                <a:gd name="T8" fmla="*/ 220 w 468"/>
                <a:gd name="T9" fmla="*/ 8 h 92"/>
                <a:gd name="T10" fmla="*/ 205 w 468"/>
                <a:gd name="T11" fmla="*/ 24 h 92"/>
                <a:gd name="T12" fmla="*/ 191 w 468"/>
                <a:gd name="T13" fmla="*/ 30 h 92"/>
                <a:gd name="T14" fmla="*/ 40 w 468"/>
                <a:gd name="T15" fmla="*/ 30 h 92"/>
                <a:gd name="T16" fmla="*/ 0 w 468"/>
                <a:gd name="T17" fmla="*/ 70 h 92"/>
                <a:gd name="T18" fmla="*/ 0 w 468"/>
                <a:gd name="T19" fmla="*/ 92 h 92"/>
                <a:gd name="T20" fmla="*/ 468 w 468"/>
                <a:gd name="T21" fmla="*/ 92 h 92"/>
                <a:gd name="T22" fmla="*/ 468 w 468"/>
                <a:gd name="T23" fmla="*/ 70 h 92"/>
                <a:gd name="T24" fmla="*/ 428 w 468"/>
                <a:gd name="T25" fmla="*/ 3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8" h="92">
                  <a:moveTo>
                    <a:pt x="428" y="30"/>
                  </a:moveTo>
                  <a:cubicBezTo>
                    <a:pt x="277" y="30"/>
                    <a:pt x="277" y="30"/>
                    <a:pt x="277" y="30"/>
                  </a:cubicBezTo>
                  <a:cubicBezTo>
                    <a:pt x="271" y="30"/>
                    <a:pt x="266" y="27"/>
                    <a:pt x="263" y="24"/>
                  </a:cubicBezTo>
                  <a:cubicBezTo>
                    <a:pt x="248" y="8"/>
                    <a:pt x="248" y="8"/>
                    <a:pt x="248" y="8"/>
                  </a:cubicBezTo>
                  <a:cubicBezTo>
                    <a:pt x="240" y="0"/>
                    <a:pt x="228" y="0"/>
                    <a:pt x="220" y="8"/>
                  </a:cubicBezTo>
                  <a:cubicBezTo>
                    <a:pt x="205" y="24"/>
                    <a:pt x="205" y="24"/>
                    <a:pt x="205" y="24"/>
                  </a:cubicBezTo>
                  <a:cubicBezTo>
                    <a:pt x="202" y="27"/>
                    <a:pt x="197" y="30"/>
                    <a:pt x="191" y="30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18" y="30"/>
                    <a:pt x="0" y="48"/>
                    <a:pt x="0" y="70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468" y="92"/>
                    <a:pt x="468" y="92"/>
                    <a:pt x="468" y="92"/>
                  </a:cubicBezTo>
                  <a:cubicBezTo>
                    <a:pt x="468" y="70"/>
                    <a:pt x="468" y="70"/>
                    <a:pt x="468" y="70"/>
                  </a:cubicBezTo>
                  <a:cubicBezTo>
                    <a:pt x="468" y="48"/>
                    <a:pt x="450" y="30"/>
                    <a:pt x="428" y="3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86" name="îšļîḑè">
              <a:extLst>
                <a:ext uri="{FF2B5EF4-FFF2-40B4-BE49-F238E27FC236}">
                  <a16:creationId xmlns:a16="http://schemas.microsoft.com/office/drawing/2014/main" id="{9C10198C-3C59-453A-8806-338C5DA1D2CB}"/>
                </a:ext>
              </a:extLst>
            </p:cNvPr>
            <p:cNvSpPr/>
            <p:nvPr/>
          </p:nvSpPr>
          <p:spPr bwMode="auto">
            <a:xfrm>
              <a:off x="3386427" y="3598053"/>
              <a:ext cx="2710367" cy="534085"/>
            </a:xfrm>
            <a:custGeom>
              <a:avLst/>
              <a:gdLst>
                <a:gd name="T0" fmla="*/ 0 w 469"/>
                <a:gd name="T1" fmla="*/ 0 h 92"/>
                <a:gd name="T2" fmla="*/ 0 w 469"/>
                <a:gd name="T3" fmla="*/ 22 h 92"/>
                <a:gd name="T4" fmla="*/ 41 w 469"/>
                <a:gd name="T5" fmla="*/ 62 h 92"/>
                <a:gd name="T6" fmla="*/ 192 w 469"/>
                <a:gd name="T7" fmla="*/ 62 h 92"/>
                <a:gd name="T8" fmla="*/ 206 w 469"/>
                <a:gd name="T9" fmla="*/ 68 h 92"/>
                <a:gd name="T10" fmla="*/ 221 w 469"/>
                <a:gd name="T11" fmla="*/ 84 h 92"/>
                <a:gd name="T12" fmla="*/ 249 w 469"/>
                <a:gd name="T13" fmla="*/ 84 h 92"/>
                <a:gd name="T14" fmla="*/ 263 w 469"/>
                <a:gd name="T15" fmla="*/ 68 h 92"/>
                <a:gd name="T16" fmla="*/ 277 w 469"/>
                <a:gd name="T17" fmla="*/ 62 h 92"/>
                <a:gd name="T18" fmla="*/ 429 w 469"/>
                <a:gd name="T19" fmla="*/ 62 h 92"/>
                <a:gd name="T20" fmla="*/ 469 w 469"/>
                <a:gd name="T21" fmla="*/ 22 h 92"/>
                <a:gd name="T22" fmla="*/ 469 w 469"/>
                <a:gd name="T23" fmla="*/ 0 h 92"/>
                <a:gd name="T24" fmla="*/ 0 w 469"/>
                <a:gd name="T25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9" h="92">
                  <a:moveTo>
                    <a:pt x="0" y="0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44"/>
                    <a:pt x="19" y="62"/>
                    <a:pt x="41" y="62"/>
                  </a:cubicBezTo>
                  <a:cubicBezTo>
                    <a:pt x="192" y="62"/>
                    <a:pt x="192" y="62"/>
                    <a:pt x="192" y="62"/>
                  </a:cubicBezTo>
                  <a:cubicBezTo>
                    <a:pt x="197" y="62"/>
                    <a:pt x="202" y="64"/>
                    <a:pt x="206" y="68"/>
                  </a:cubicBezTo>
                  <a:cubicBezTo>
                    <a:pt x="221" y="84"/>
                    <a:pt x="221" y="84"/>
                    <a:pt x="221" y="84"/>
                  </a:cubicBezTo>
                  <a:cubicBezTo>
                    <a:pt x="228" y="92"/>
                    <a:pt x="241" y="92"/>
                    <a:pt x="249" y="84"/>
                  </a:cubicBezTo>
                  <a:cubicBezTo>
                    <a:pt x="263" y="68"/>
                    <a:pt x="263" y="68"/>
                    <a:pt x="263" y="68"/>
                  </a:cubicBezTo>
                  <a:cubicBezTo>
                    <a:pt x="267" y="64"/>
                    <a:pt x="272" y="62"/>
                    <a:pt x="277" y="62"/>
                  </a:cubicBezTo>
                  <a:cubicBezTo>
                    <a:pt x="429" y="62"/>
                    <a:pt x="429" y="62"/>
                    <a:pt x="429" y="62"/>
                  </a:cubicBezTo>
                  <a:cubicBezTo>
                    <a:pt x="451" y="62"/>
                    <a:pt x="469" y="44"/>
                    <a:pt x="469" y="22"/>
                  </a:cubicBezTo>
                  <a:cubicBezTo>
                    <a:pt x="469" y="0"/>
                    <a:pt x="469" y="0"/>
                    <a:pt x="469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87" name="îṧļíḓè">
              <a:extLst>
                <a:ext uri="{FF2B5EF4-FFF2-40B4-BE49-F238E27FC236}">
                  <a16:creationId xmlns:a16="http://schemas.microsoft.com/office/drawing/2014/main" id="{053D035A-A029-4B26-B583-E843256DBAE2}"/>
                </a:ext>
              </a:extLst>
            </p:cNvPr>
            <p:cNvSpPr/>
            <p:nvPr/>
          </p:nvSpPr>
          <p:spPr bwMode="auto">
            <a:xfrm>
              <a:off x="8808641" y="3598053"/>
              <a:ext cx="2711847" cy="534085"/>
            </a:xfrm>
            <a:custGeom>
              <a:avLst/>
              <a:gdLst>
                <a:gd name="T0" fmla="*/ 0 w 469"/>
                <a:gd name="T1" fmla="*/ 0 h 92"/>
                <a:gd name="T2" fmla="*/ 0 w 469"/>
                <a:gd name="T3" fmla="*/ 22 h 92"/>
                <a:gd name="T4" fmla="*/ 41 w 469"/>
                <a:gd name="T5" fmla="*/ 62 h 92"/>
                <a:gd name="T6" fmla="*/ 192 w 469"/>
                <a:gd name="T7" fmla="*/ 62 h 92"/>
                <a:gd name="T8" fmla="*/ 206 w 469"/>
                <a:gd name="T9" fmla="*/ 68 h 92"/>
                <a:gd name="T10" fmla="*/ 221 w 469"/>
                <a:gd name="T11" fmla="*/ 84 h 92"/>
                <a:gd name="T12" fmla="*/ 248 w 469"/>
                <a:gd name="T13" fmla="*/ 84 h 92"/>
                <a:gd name="T14" fmla="*/ 263 w 469"/>
                <a:gd name="T15" fmla="*/ 68 h 92"/>
                <a:gd name="T16" fmla="*/ 277 w 469"/>
                <a:gd name="T17" fmla="*/ 62 h 92"/>
                <a:gd name="T18" fmla="*/ 428 w 469"/>
                <a:gd name="T19" fmla="*/ 62 h 92"/>
                <a:gd name="T20" fmla="*/ 469 w 469"/>
                <a:gd name="T21" fmla="*/ 22 h 92"/>
                <a:gd name="T22" fmla="*/ 469 w 469"/>
                <a:gd name="T23" fmla="*/ 0 h 92"/>
                <a:gd name="T24" fmla="*/ 0 w 469"/>
                <a:gd name="T25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9" h="92">
                  <a:moveTo>
                    <a:pt x="0" y="0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44"/>
                    <a:pt x="18" y="62"/>
                    <a:pt x="41" y="62"/>
                  </a:cubicBezTo>
                  <a:cubicBezTo>
                    <a:pt x="192" y="62"/>
                    <a:pt x="192" y="62"/>
                    <a:pt x="192" y="62"/>
                  </a:cubicBezTo>
                  <a:cubicBezTo>
                    <a:pt x="197" y="62"/>
                    <a:pt x="202" y="64"/>
                    <a:pt x="206" y="68"/>
                  </a:cubicBezTo>
                  <a:cubicBezTo>
                    <a:pt x="221" y="84"/>
                    <a:pt x="221" y="84"/>
                    <a:pt x="221" y="84"/>
                  </a:cubicBezTo>
                  <a:cubicBezTo>
                    <a:pt x="228" y="92"/>
                    <a:pt x="241" y="92"/>
                    <a:pt x="248" y="84"/>
                  </a:cubicBezTo>
                  <a:cubicBezTo>
                    <a:pt x="263" y="68"/>
                    <a:pt x="263" y="68"/>
                    <a:pt x="263" y="68"/>
                  </a:cubicBezTo>
                  <a:cubicBezTo>
                    <a:pt x="267" y="64"/>
                    <a:pt x="272" y="62"/>
                    <a:pt x="277" y="62"/>
                  </a:cubicBezTo>
                  <a:cubicBezTo>
                    <a:pt x="428" y="62"/>
                    <a:pt x="428" y="62"/>
                    <a:pt x="428" y="62"/>
                  </a:cubicBezTo>
                  <a:cubicBezTo>
                    <a:pt x="451" y="62"/>
                    <a:pt x="469" y="44"/>
                    <a:pt x="469" y="22"/>
                  </a:cubicBezTo>
                  <a:cubicBezTo>
                    <a:pt x="469" y="0"/>
                    <a:pt x="469" y="0"/>
                    <a:pt x="469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88" name="ïSļîďê">
              <a:extLst>
                <a:ext uri="{FF2B5EF4-FFF2-40B4-BE49-F238E27FC236}">
                  <a16:creationId xmlns:a16="http://schemas.microsoft.com/office/drawing/2014/main" id="{4A2BF356-B702-421C-91E5-A4312A210DD0}"/>
                </a:ext>
              </a:extLst>
            </p:cNvPr>
            <p:cNvSpPr/>
            <p:nvPr/>
          </p:nvSpPr>
          <p:spPr bwMode="auto">
            <a:xfrm>
              <a:off x="6020595" y="3530600"/>
              <a:ext cx="153988" cy="15398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38100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89" name="ïśḻíďê">
              <a:extLst>
                <a:ext uri="{FF2B5EF4-FFF2-40B4-BE49-F238E27FC236}">
                  <a16:creationId xmlns:a16="http://schemas.microsoft.com/office/drawing/2014/main" id="{7B4F3C14-3776-46D3-A7B3-AEA621AACC6D}"/>
                </a:ext>
              </a:extLst>
            </p:cNvPr>
            <p:cNvSpPr/>
            <p:nvPr/>
          </p:nvSpPr>
          <p:spPr bwMode="auto">
            <a:xfrm>
              <a:off x="8727319" y="3530600"/>
              <a:ext cx="153988" cy="153988"/>
            </a:xfrm>
            <a:prstGeom prst="ellipse">
              <a:avLst/>
            </a:prstGeom>
            <a:solidFill>
              <a:schemeClr val="accent1"/>
            </a:solidFill>
            <a:ln w="38100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90" name="ïṣ1íḓè">
              <a:extLst>
                <a:ext uri="{FF2B5EF4-FFF2-40B4-BE49-F238E27FC236}">
                  <a16:creationId xmlns:a16="http://schemas.microsoft.com/office/drawing/2014/main" id="{77BE3DCA-B5C1-4609-B100-844C0EE7ED3D}"/>
                </a:ext>
              </a:extLst>
            </p:cNvPr>
            <p:cNvSpPr/>
            <p:nvPr/>
          </p:nvSpPr>
          <p:spPr bwMode="auto">
            <a:xfrm>
              <a:off x="673100" y="3065448"/>
              <a:ext cx="2711847" cy="532605"/>
            </a:xfrm>
            <a:custGeom>
              <a:avLst/>
              <a:gdLst>
                <a:gd name="T0" fmla="*/ 428 w 469"/>
                <a:gd name="T1" fmla="*/ 30 h 92"/>
                <a:gd name="T2" fmla="*/ 277 w 469"/>
                <a:gd name="T3" fmla="*/ 30 h 92"/>
                <a:gd name="T4" fmla="*/ 263 w 469"/>
                <a:gd name="T5" fmla="*/ 24 h 92"/>
                <a:gd name="T6" fmla="*/ 248 w 469"/>
                <a:gd name="T7" fmla="*/ 8 h 92"/>
                <a:gd name="T8" fmla="*/ 220 w 469"/>
                <a:gd name="T9" fmla="*/ 8 h 92"/>
                <a:gd name="T10" fmla="*/ 206 w 469"/>
                <a:gd name="T11" fmla="*/ 24 h 92"/>
                <a:gd name="T12" fmla="*/ 192 w 469"/>
                <a:gd name="T13" fmla="*/ 30 h 92"/>
                <a:gd name="T14" fmla="*/ 41 w 469"/>
                <a:gd name="T15" fmla="*/ 30 h 92"/>
                <a:gd name="T16" fmla="*/ 0 w 469"/>
                <a:gd name="T17" fmla="*/ 70 h 92"/>
                <a:gd name="T18" fmla="*/ 0 w 469"/>
                <a:gd name="T19" fmla="*/ 92 h 92"/>
                <a:gd name="T20" fmla="*/ 469 w 469"/>
                <a:gd name="T21" fmla="*/ 92 h 92"/>
                <a:gd name="T22" fmla="*/ 469 w 469"/>
                <a:gd name="T23" fmla="*/ 70 h 92"/>
                <a:gd name="T24" fmla="*/ 428 w 469"/>
                <a:gd name="T25" fmla="*/ 3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9" h="92">
                  <a:moveTo>
                    <a:pt x="428" y="30"/>
                  </a:moveTo>
                  <a:cubicBezTo>
                    <a:pt x="277" y="30"/>
                    <a:pt x="277" y="30"/>
                    <a:pt x="277" y="30"/>
                  </a:cubicBezTo>
                  <a:cubicBezTo>
                    <a:pt x="272" y="30"/>
                    <a:pt x="267" y="27"/>
                    <a:pt x="263" y="24"/>
                  </a:cubicBezTo>
                  <a:cubicBezTo>
                    <a:pt x="248" y="8"/>
                    <a:pt x="248" y="8"/>
                    <a:pt x="248" y="8"/>
                  </a:cubicBezTo>
                  <a:cubicBezTo>
                    <a:pt x="241" y="0"/>
                    <a:pt x="228" y="0"/>
                    <a:pt x="220" y="8"/>
                  </a:cubicBezTo>
                  <a:cubicBezTo>
                    <a:pt x="206" y="24"/>
                    <a:pt x="206" y="24"/>
                    <a:pt x="206" y="24"/>
                  </a:cubicBezTo>
                  <a:cubicBezTo>
                    <a:pt x="202" y="27"/>
                    <a:pt x="197" y="30"/>
                    <a:pt x="192" y="30"/>
                  </a:cubicBezTo>
                  <a:cubicBezTo>
                    <a:pt x="41" y="30"/>
                    <a:pt x="41" y="30"/>
                    <a:pt x="41" y="30"/>
                  </a:cubicBezTo>
                  <a:cubicBezTo>
                    <a:pt x="18" y="30"/>
                    <a:pt x="0" y="48"/>
                    <a:pt x="0" y="70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469" y="92"/>
                    <a:pt x="469" y="92"/>
                    <a:pt x="469" y="92"/>
                  </a:cubicBezTo>
                  <a:cubicBezTo>
                    <a:pt x="469" y="70"/>
                    <a:pt x="469" y="70"/>
                    <a:pt x="469" y="70"/>
                  </a:cubicBezTo>
                  <a:cubicBezTo>
                    <a:pt x="469" y="48"/>
                    <a:pt x="451" y="30"/>
                    <a:pt x="428" y="3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91" name="isḷiḋe">
              <a:extLst>
                <a:ext uri="{FF2B5EF4-FFF2-40B4-BE49-F238E27FC236}">
                  <a16:creationId xmlns:a16="http://schemas.microsoft.com/office/drawing/2014/main" id="{B11A415B-456C-4880-B92C-A31B104426D7}"/>
                </a:ext>
              </a:extLst>
            </p:cNvPr>
            <p:cNvSpPr/>
            <p:nvPr/>
          </p:nvSpPr>
          <p:spPr bwMode="auto">
            <a:xfrm>
              <a:off x="3313871" y="3530600"/>
              <a:ext cx="153988" cy="153988"/>
            </a:xfrm>
            <a:prstGeom prst="ellipse">
              <a:avLst/>
            </a:prstGeom>
            <a:solidFill>
              <a:schemeClr val="accent1"/>
            </a:solidFill>
            <a:ln w="38100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6764238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ṣḻíḑ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ṩľîḑè">
            <a:extLst>
              <a:ext uri="{FF2B5EF4-FFF2-40B4-BE49-F238E27FC236}">
                <a16:creationId xmlns:a16="http://schemas.microsoft.com/office/drawing/2014/main" id="{602EBD86-C758-473B-8B7B-B2C73A1D99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íS1îḍè">
            <a:extLst>
              <a:ext uri="{FF2B5EF4-FFF2-40B4-BE49-F238E27FC236}">
                <a16:creationId xmlns:a16="http://schemas.microsoft.com/office/drawing/2014/main" id="{292344A1-78EA-472C-9A8F-263C258A30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isḻîḑê">
            <a:extLst>
              <a:ext uri="{FF2B5EF4-FFF2-40B4-BE49-F238E27FC236}">
                <a16:creationId xmlns:a16="http://schemas.microsoft.com/office/drawing/2014/main" id="{EE4A23F8-644B-49AE-96D5-4690F9F4B1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6</a:t>
            </a:fld>
            <a:endParaRPr lang="zh-CN" altLang="en-US"/>
          </a:p>
        </p:txBody>
      </p:sp>
      <p:grpSp>
        <p:nvGrpSpPr>
          <p:cNvPr id="133" name="i$1idé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6DFF8498-8108-4626-BEEF-9CC0A10FD9C3}"/>
              </a:ext>
            </a:extLst>
          </p:cNvPr>
          <p:cNvGrpSpPr>
            <a:grpSpLocks noChangeAspect="1"/>
          </p:cNvGrpSpPr>
          <p:nvPr/>
        </p:nvGrpSpPr>
        <p:grpSpPr>
          <a:xfrm>
            <a:off x="669925" y="1489208"/>
            <a:ext cx="10773560" cy="4298684"/>
            <a:chOff x="669925" y="1489208"/>
            <a:chExt cx="10773560" cy="4298684"/>
          </a:xfrm>
        </p:grpSpPr>
        <p:sp>
          <p:nvSpPr>
            <p:cNvPr id="134" name="îŝḷîdè">
              <a:extLst>
                <a:ext uri="{FF2B5EF4-FFF2-40B4-BE49-F238E27FC236}">
                  <a16:creationId xmlns:a16="http://schemas.microsoft.com/office/drawing/2014/main" id="{7A5DACAE-C0BE-440B-A1C8-CF0F0F7E9211}"/>
                </a:ext>
              </a:extLst>
            </p:cNvPr>
            <p:cNvSpPr/>
            <p:nvPr/>
          </p:nvSpPr>
          <p:spPr>
            <a:xfrm flipH="1">
              <a:off x="5240263" y="1865939"/>
              <a:ext cx="4706395" cy="876771"/>
            </a:xfrm>
            <a:prstGeom prst="homePlate">
              <a:avLst>
                <a:gd name="adj" fmla="val 29123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7200"/>
            </a:p>
          </p:txBody>
        </p:sp>
        <p:sp>
          <p:nvSpPr>
            <p:cNvPr id="135" name="ïṣḷîďè">
              <a:extLst>
                <a:ext uri="{FF2B5EF4-FFF2-40B4-BE49-F238E27FC236}">
                  <a16:creationId xmlns:a16="http://schemas.microsoft.com/office/drawing/2014/main" id="{785D30D2-46C6-4ED7-8A23-83F1D49C7682}"/>
                </a:ext>
              </a:extLst>
            </p:cNvPr>
            <p:cNvSpPr/>
            <p:nvPr/>
          </p:nvSpPr>
          <p:spPr>
            <a:xfrm rot="16200000" flipH="1">
              <a:off x="9720773" y="1747451"/>
              <a:ext cx="1226213" cy="779348"/>
            </a:xfrm>
            <a:custGeom>
              <a:avLst/>
              <a:gdLst>
                <a:gd name="connsiteX0" fmla="*/ 0 w 1016000"/>
                <a:gd name="connsiteY0" fmla="*/ 0 h 768404"/>
                <a:gd name="connsiteX1" fmla="*/ 1016000 w 1016000"/>
                <a:gd name="connsiteY1" fmla="*/ 0 h 768404"/>
                <a:gd name="connsiteX2" fmla="*/ 1016000 w 1016000"/>
                <a:gd name="connsiteY2" fmla="*/ 768404 h 768404"/>
                <a:gd name="connsiteX3" fmla="*/ 0 w 1016000"/>
                <a:gd name="connsiteY3" fmla="*/ 768404 h 768404"/>
                <a:gd name="connsiteX4" fmla="*/ 0 w 1016000"/>
                <a:gd name="connsiteY4" fmla="*/ 0 h 768404"/>
                <a:gd name="connsiteX0" fmla="*/ 729673 w 1745673"/>
                <a:gd name="connsiteY0" fmla="*/ 0 h 777641"/>
                <a:gd name="connsiteX1" fmla="*/ 1745673 w 1745673"/>
                <a:gd name="connsiteY1" fmla="*/ 0 h 777641"/>
                <a:gd name="connsiteX2" fmla="*/ 1745673 w 1745673"/>
                <a:gd name="connsiteY2" fmla="*/ 768404 h 777641"/>
                <a:gd name="connsiteX3" fmla="*/ 0 w 1745673"/>
                <a:gd name="connsiteY3" fmla="*/ 777641 h 777641"/>
                <a:gd name="connsiteX4" fmla="*/ 729673 w 1745673"/>
                <a:gd name="connsiteY4" fmla="*/ 0 h 777641"/>
                <a:gd name="connsiteX0" fmla="*/ 729673 w 1745673"/>
                <a:gd name="connsiteY0" fmla="*/ 0 h 777641"/>
                <a:gd name="connsiteX1" fmla="*/ 1745673 w 1745673"/>
                <a:gd name="connsiteY1" fmla="*/ 0 h 777641"/>
                <a:gd name="connsiteX2" fmla="*/ 1317048 w 1745673"/>
                <a:gd name="connsiteY2" fmla="*/ 770785 h 777641"/>
                <a:gd name="connsiteX3" fmla="*/ 0 w 1745673"/>
                <a:gd name="connsiteY3" fmla="*/ 777641 h 777641"/>
                <a:gd name="connsiteX4" fmla="*/ 729673 w 1745673"/>
                <a:gd name="connsiteY4" fmla="*/ 0 h 777641"/>
                <a:gd name="connsiteX0" fmla="*/ 720148 w 1736148"/>
                <a:gd name="connsiteY0" fmla="*/ 0 h 770785"/>
                <a:gd name="connsiteX1" fmla="*/ 1736148 w 1736148"/>
                <a:gd name="connsiteY1" fmla="*/ 0 h 770785"/>
                <a:gd name="connsiteX2" fmla="*/ 1307523 w 1736148"/>
                <a:gd name="connsiteY2" fmla="*/ 770785 h 770785"/>
                <a:gd name="connsiteX3" fmla="*/ 0 w 1736148"/>
                <a:gd name="connsiteY3" fmla="*/ 770497 h 770785"/>
                <a:gd name="connsiteX4" fmla="*/ 720148 w 1736148"/>
                <a:gd name="connsiteY4" fmla="*/ 0 h 770785"/>
                <a:gd name="connsiteX0" fmla="*/ 720148 w 1736148"/>
                <a:gd name="connsiteY0" fmla="*/ 0 h 770785"/>
                <a:gd name="connsiteX1" fmla="*/ 1736148 w 1736148"/>
                <a:gd name="connsiteY1" fmla="*/ 0 h 770785"/>
                <a:gd name="connsiteX2" fmla="*/ 1369545 w 1736148"/>
                <a:gd name="connsiteY2" fmla="*/ 770785 h 770785"/>
                <a:gd name="connsiteX3" fmla="*/ 0 w 1736148"/>
                <a:gd name="connsiteY3" fmla="*/ 770497 h 770785"/>
                <a:gd name="connsiteX4" fmla="*/ 720148 w 1736148"/>
                <a:gd name="connsiteY4" fmla="*/ 0 h 770785"/>
                <a:gd name="connsiteX0" fmla="*/ 446799 w 1736148"/>
                <a:gd name="connsiteY0" fmla="*/ 0 h 773231"/>
                <a:gd name="connsiteX1" fmla="*/ 1736148 w 1736148"/>
                <a:gd name="connsiteY1" fmla="*/ 2446 h 773231"/>
                <a:gd name="connsiteX2" fmla="*/ 1369545 w 1736148"/>
                <a:gd name="connsiteY2" fmla="*/ 773231 h 773231"/>
                <a:gd name="connsiteX3" fmla="*/ 0 w 1736148"/>
                <a:gd name="connsiteY3" fmla="*/ 772943 h 773231"/>
                <a:gd name="connsiteX4" fmla="*/ 446799 w 1736148"/>
                <a:gd name="connsiteY4" fmla="*/ 0 h 773231"/>
                <a:gd name="connsiteX0" fmla="*/ 446799 w 1605827"/>
                <a:gd name="connsiteY0" fmla="*/ 0 h 773231"/>
                <a:gd name="connsiteX1" fmla="*/ 1605827 w 1605827"/>
                <a:gd name="connsiteY1" fmla="*/ 2446 h 773231"/>
                <a:gd name="connsiteX2" fmla="*/ 1369545 w 1605827"/>
                <a:gd name="connsiteY2" fmla="*/ 773231 h 773231"/>
                <a:gd name="connsiteX3" fmla="*/ 0 w 1605827"/>
                <a:gd name="connsiteY3" fmla="*/ 772943 h 773231"/>
                <a:gd name="connsiteX4" fmla="*/ 446799 w 1605827"/>
                <a:gd name="connsiteY4" fmla="*/ 0 h 773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5827" h="773231">
                  <a:moveTo>
                    <a:pt x="446799" y="0"/>
                  </a:moveTo>
                  <a:lnTo>
                    <a:pt x="1605827" y="2446"/>
                  </a:lnTo>
                  <a:lnTo>
                    <a:pt x="1369545" y="773231"/>
                  </a:lnTo>
                  <a:lnTo>
                    <a:pt x="0" y="772943"/>
                  </a:lnTo>
                  <a:lnTo>
                    <a:pt x="446799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7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7200"/>
            </a:p>
          </p:txBody>
        </p:sp>
        <p:sp>
          <p:nvSpPr>
            <p:cNvPr id="136" name="íṡḻîďé">
              <a:extLst>
                <a:ext uri="{FF2B5EF4-FFF2-40B4-BE49-F238E27FC236}">
                  <a16:creationId xmlns:a16="http://schemas.microsoft.com/office/drawing/2014/main" id="{6F2E7EA4-01A0-445F-A272-007978432AE4}"/>
                </a:ext>
              </a:extLst>
            </p:cNvPr>
            <p:cNvSpPr/>
            <p:nvPr/>
          </p:nvSpPr>
          <p:spPr>
            <a:xfrm flipH="1">
              <a:off x="4507549" y="2742712"/>
              <a:ext cx="5439109" cy="897997"/>
            </a:xfrm>
            <a:prstGeom prst="homePlate">
              <a:avLst>
                <a:gd name="adj" fmla="val 29123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7200"/>
            </a:p>
          </p:txBody>
        </p:sp>
        <p:sp>
          <p:nvSpPr>
            <p:cNvPr id="137" name="íṩḷíďe">
              <a:extLst>
                <a:ext uri="{FF2B5EF4-FFF2-40B4-BE49-F238E27FC236}">
                  <a16:creationId xmlns:a16="http://schemas.microsoft.com/office/drawing/2014/main" id="{133A2C3F-D551-4CA9-B823-CA02CEA8B4B5}"/>
                </a:ext>
              </a:extLst>
            </p:cNvPr>
            <p:cNvSpPr/>
            <p:nvPr/>
          </p:nvSpPr>
          <p:spPr>
            <a:xfrm rot="16200000" flipH="1">
              <a:off x="9802245" y="2714157"/>
              <a:ext cx="1065726" cy="776895"/>
            </a:xfrm>
            <a:custGeom>
              <a:avLst/>
              <a:gdLst>
                <a:gd name="connsiteX0" fmla="*/ 0 w 1016000"/>
                <a:gd name="connsiteY0" fmla="*/ 0 h 768404"/>
                <a:gd name="connsiteX1" fmla="*/ 1016000 w 1016000"/>
                <a:gd name="connsiteY1" fmla="*/ 0 h 768404"/>
                <a:gd name="connsiteX2" fmla="*/ 1016000 w 1016000"/>
                <a:gd name="connsiteY2" fmla="*/ 768404 h 768404"/>
                <a:gd name="connsiteX3" fmla="*/ 0 w 1016000"/>
                <a:gd name="connsiteY3" fmla="*/ 768404 h 768404"/>
                <a:gd name="connsiteX4" fmla="*/ 0 w 1016000"/>
                <a:gd name="connsiteY4" fmla="*/ 0 h 768404"/>
                <a:gd name="connsiteX0" fmla="*/ 729673 w 1745673"/>
                <a:gd name="connsiteY0" fmla="*/ 0 h 777641"/>
                <a:gd name="connsiteX1" fmla="*/ 1745673 w 1745673"/>
                <a:gd name="connsiteY1" fmla="*/ 0 h 777641"/>
                <a:gd name="connsiteX2" fmla="*/ 1745673 w 1745673"/>
                <a:gd name="connsiteY2" fmla="*/ 768404 h 777641"/>
                <a:gd name="connsiteX3" fmla="*/ 0 w 1745673"/>
                <a:gd name="connsiteY3" fmla="*/ 777641 h 777641"/>
                <a:gd name="connsiteX4" fmla="*/ 729673 w 1745673"/>
                <a:gd name="connsiteY4" fmla="*/ 0 h 777641"/>
                <a:gd name="connsiteX0" fmla="*/ 729673 w 1745673"/>
                <a:gd name="connsiteY0" fmla="*/ 0 h 777641"/>
                <a:gd name="connsiteX1" fmla="*/ 1745673 w 1745673"/>
                <a:gd name="connsiteY1" fmla="*/ 0 h 777641"/>
                <a:gd name="connsiteX2" fmla="*/ 1317048 w 1745673"/>
                <a:gd name="connsiteY2" fmla="*/ 770785 h 777641"/>
                <a:gd name="connsiteX3" fmla="*/ 0 w 1745673"/>
                <a:gd name="connsiteY3" fmla="*/ 777641 h 777641"/>
                <a:gd name="connsiteX4" fmla="*/ 729673 w 1745673"/>
                <a:gd name="connsiteY4" fmla="*/ 0 h 777641"/>
                <a:gd name="connsiteX0" fmla="*/ 720148 w 1736148"/>
                <a:gd name="connsiteY0" fmla="*/ 0 h 770785"/>
                <a:gd name="connsiteX1" fmla="*/ 1736148 w 1736148"/>
                <a:gd name="connsiteY1" fmla="*/ 0 h 770785"/>
                <a:gd name="connsiteX2" fmla="*/ 1307523 w 1736148"/>
                <a:gd name="connsiteY2" fmla="*/ 770785 h 770785"/>
                <a:gd name="connsiteX3" fmla="*/ 0 w 1736148"/>
                <a:gd name="connsiteY3" fmla="*/ 770497 h 770785"/>
                <a:gd name="connsiteX4" fmla="*/ 720148 w 1736148"/>
                <a:gd name="connsiteY4" fmla="*/ 0 h 770785"/>
                <a:gd name="connsiteX0" fmla="*/ 720148 w 1736148"/>
                <a:gd name="connsiteY0" fmla="*/ 0 h 770497"/>
                <a:gd name="connsiteX1" fmla="*/ 1736148 w 1736148"/>
                <a:gd name="connsiteY1" fmla="*/ 0 h 770497"/>
                <a:gd name="connsiteX2" fmla="*/ 1590892 w 1736148"/>
                <a:gd name="connsiteY2" fmla="*/ 768404 h 770497"/>
                <a:gd name="connsiteX3" fmla="*/ 0 w 1736148"/>
                <a:gd name="connsiteY3" fmla="*/ 770497 h 770497"/>
                <a:gd name="connsiteX4" fmla="*/ 720148 w 1736148"/>
                <a:gd name="connsiteY4" fmla="*/ 0 h 770497"/>
                <a:gd name="connsiteX0" fmla="*/ 429636 w 1445636"/>
                <a:gd name="connsiteY0" fmla="*/ 0 h 768404"/>
                <a:gd name="connsiteX1" fmla="*/ 1445636 w 1445636"/>
                <a:gd name="connsiteY1" fmla="*/ 0 h 768404"/>
                <a:gd name="connsiteX2" fmla="*/ 1300380 w 1445636"/>
                <a:gd name="connsiteY2" fmla="*/ 768404 h 768404"/>
                <a:gd name="connsiteX3" fmla="*/ 0 w 1445636"/>
                <a:gd name="connsiteY3" fmla="*/ 768116 h 768404"/>
                <a:gd name="connsiteX4" fmla="*/ 429636 w 1445636"/>
                <a:gd name="connsiteY4" fmla="*/ 0 h 768404"/>
                <a:gd name="connsiteX0" fmla="*/ 433913 w 1449913"/>
                <a:gd name="connsiteY0" fmla="*/ 0 h 771964"/>
                <a:gd name="connsiteX1" fmla="*/ 1449913 w 1449913"/>
                <a:gd name="connsiteY1" fmla="*/ 0 h 771964"/>
                <a:gd name="connsiteX2" fmla="*/ 1304657 w 1449913"/>
                <a:gd name="connsiteY2" fmla="*/ 768404 h 771964"/>
                <a:gd name="connsiteX3" fmla="*/ 0 w 1449913"/>
                <a:gd name="connsiteY3" fmla="*/ 771964 h 771964"/>
                <a:gd name="connsiteX4" fmla="*/ 433913 w 1449913"/>
                <a:gd name="connsiteY4" fmla="*/ 0 h 771964"/>
                <a:gd name="connsiteX0" fmla="*/ 433913 w 1449913"/>
                <a:gd name="connsiteY0" fmla="*/ 0 h 774176"/>
                <a:gd name="connsiteX1" fmla="*/ 1449913 w 1449913"/>
                <a:gd name="connsiteY1" fmla="*/ 0 h 774176"/>
                <a:gd name="connsiteX2" fmla="*/ 1306795 w 1449913"/>
                <a:gd name="connsiteY2" fmla="*/ 774176 h 774176"/>
                <a:gd name="connsiteX3" fmla="*/ 0 w 1449913"/>
                <a:gd name="connsiteY3" fmla="*/ 771964 h 774176"/>
                <a:gd name="connsiteX4" fmla="*/ 433913 w 1449913"/>
                <a:gd name="connsiteY4" fmla="*/ 0 h 774176"/>
                <a:gd name="connsiteX0" fmla="*/ 429635 w 1445635"/>
                <a:gd name="connsiteY0" fmla="*/ 0 h 777737"/>
                <a:gd name="connsiteX1" fmla="*/ 1445635 w 1445635"/>
                <a:gd name="connsiteY1" fmla="*/ 0 h 777737"/>
                <a:gd name="connsiteX2" fmla="*/ 1302517 w 1445635"/>
                <a:gd name="connsiteY2" fmla="*/ 774176 h 777737"/>
                <a:gd name="connsiteX3" fmla="*/ 0 w 1445635"/>
                <a:gd name="connsiteY3" fmla="*/ 777737 h 777737"/>
                <a:gd name="connsiteX4" fmla="*/ 429635 w 1445635"/>
                <a:gd name="connsiteY4" fmla="*/ 0 h 777737"/>
                <a:gd name="connsiteX0" fmla="*/ 431773 w 1447773"/>
                <a:gd name="connsiteY0" fmla="*/ 0 h 774176"/>
                <a:gd name="connsiteX1" fmla="*/ 1447773 w 1447773"/>
                <a:gd name="connsiteY1" fmla="*/ 0 h 774176"/>
                <a:gd name="connsiteX2" fmla="*/ 1304655 w 1447773"/>
                <a:gd name="connsiteY2" fmla="*/ 774176 h 774176"/>
                <a:gd name="connsiteX3" fmla="*/ 0 w 1447773"/>
                <a:gd name="connsiteY3" fmla="*/ 773889 h 774176"/>
                <a:gd name="connsiteX4" fmla="*/ 431773 w 1447773"/>
                <a:gd name="connsiteY4" fmla="*/ 0 h 774176"/>
                <a:gd name="connsiteX0" fmla="*/ 429634 w 1447773"/>
                <a:gd name="connsiteY0" fmla="*/ 0 h 774176"/>
                <a:gd name="connsiteX1" fmla="*/ 1447773 w 1447773"/>
                <a:gd name="connsiteY1" fmla="*/ 0 h 774176"/>
                <a:gd name="connsiteX2" fmla="*/ 1304655 w 1447773"/>
                <a:gd name="connsiteY2" fmla="*/ 774176 h 774176"/>
                <a:gd name="connsiteX3" fmla="*/ 0 w 1447773"/>
                <a:gd name="connsiteY3" fmla="*/ 773889 h 774176"/>
                <a:gd name="connsiteX4" fmla="*/ 429634 w 1447773"/>
                <a:gd name="connsiteY4" fmla="*/ 0 h 774176"/>
                <a:gd name="connsiteX0" fmla="*/ 436049 w 1454188"/>
                <a:gd name="connsiteY0" fmla="*/ 0 h 774176"/>
                <a:gd name="connsiteX1" fmla="*/ 1454188 w 1454188"/>
                <a:gd name="connsiteY1" fmla="*/ 0 h 774176"/>
                <a:gd name="connsiteX2" fmla="*/ 1311070 w 1454188"/>
                <a:gd name="connsiteY2" fmla="*/ 774176 h 774176"/>
                <a:gd name="connsiteX3" fmla="*/ 0 w 1454188"/>
                <a:gd name="connsiteY3" fmla="*/ 773889 h 774176"/>
                <a:gd name="connsiteX4" fmla="*/ 436049 w 1454188"/>
                <a:gd name="connsiteY4" fmla="*/ 0 h 774176"/>
                <a:gd name="connsiteX0" fmla="*/ 436049 w 1458640"/>
                <a:gd name="connsiteY0" fmla="*/ 0 h 774176"/>
                <a:gd name="connsiteX1" fmla="*/ 1454188 w 1458640"/>
                <a:gd name="connsiteY1" fmla="*/ 0 h 774176"/>
                <a:gd name="connsiteX2" fmla="*/ 1458640 w 1458640"/>
                <a:gd name="connsiteY2" fmla="*/ 774176 h 774176"/>
                <a:gd name="connsiteX3" fmla="*/ 0 w 1458640"/>
                <a:gd name="connsiteY3" fmla="*/ 773889 h 774176"/>
                <a:gd name="connsiteX4" fmla="*/ 436049 w 1458640"/>
                <a:gd name="connsiteY4" fmla="*/ 0 h 774176"/>
                <a:gd name="connsiteX0" fmla="*/ 436049 w 1454363"/>
                <a:gd name="connsiteY0" fmla="*/ 0 h 774176"/>
                <a:gd name="connsiteX1" fmla="*/ 1454188 w 1454363"/>
                <a:gd name="connsiteY1" fmla="*/ 0 h 774176"/>
                <a:gd name="connsiteX2" fmla="*/ 1454363 w 1454363"/>
                <a:gd name="connsiteY2" fmla="*/ 774176 h 774176"/>
                <a:gd name="connsiteX3" fmla="*/ 0 w 1454363"/>
                <a:gd name="connsiteY3" fmla="*/ 773889 h 774176"/>
                <a:gd name="connsiteX4" fmla="*/ 436049 w 1454363"/>
                <a:gd name="connsiteY4" fmla="*/ 0 h 774176"/>
                <a:gd name="connsiteX0" fmla="*/ 369749 w 1388063"/>
                <a:gd name="connsiteY0" fmla="*/ 0 h 774176"/>
                <a:gd name="connsiteX1" fmla="*/ 1387888 w 1388063"/>
                <a:gd name="connsiteY1" fmla="*/ 0 h 774176"/>
                <a:gd name="connsiteX2" fmla="*/ 1388063 w 1388063"/>
                <a:gd name="connsiteY2" fmla="*/ 774176 h 774176"/>
                <a:gd name="connsiteX3" fmla="*/ 0 w 1388063"/>
                <a:gd name="connsiteY3" fmla="*/ 771964 h 774176"/>
                <a:gd name="connsiteX4" fmla="*/ 369749 w 1388063"/>
                <a:gd name="connsiteY4" fmla="*/ 0 h 774176"/>
                <a:gd name="connsiteX0" fmla="*/ 236254 w 1388063"/>
                <a:gd name="connsiteY0" fmla="*/ 0 h 774176"/>
                <a:gd name="connsiteX1" fmla="*/ 1387888 w 1388063"/>
                <a:gd name="connsiteY1" fmla="*/ 0 h 774176"/>
                <a:gd name="connsiteX2" fmla="*/ 1388063 w 1388063"/>
                <a:gd name="connsiteY2" fmla="*/ 774176 h 774176"/>
                <a:gd name="connsiteX3" fmla="*/ 0 w 1388063"/>
                <a:gd name="connsiteY3" fmla="*/ 771964 h 774176"/>
                <a:gd name="connsiteX4" fmla="*/ 236254 w 1388063"/>
                <a:gd name="connsiteY4" fmla="*/ 0 h 774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88063" h="774176">
                  <a:moveTo>
                    <a:pt x="236254" y="0"/>
                  </a:moveTo>
                  <a:lnTo>
                    <a:pt x="1387888" y="0"/>
                  </a:lnTo>
                  <a:cubicBezTo>
                    <a:pt x="1387946" y="258059"/>
                    <a:pt x="1388005" y="516117"/>
                    <a:pt x="1388063" y="774176"/>
                  </a:cubicBezTo>
                  <a:lnTo>
                    <a:pt x="0" y="771964"/>
                  </a:lnTo>
                  <a:lnTo>
                    <a:pt x="236254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7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7200"/>
            </a:p>
          </p:txBody>
        </p:sp>
        <p:sp>
          <p:nvSpPr>
            <p:cNvPr id="138" name="iš1idè">
              <a:extLst>
                <a:ext uri="{FF2B5EF4-FFF2-40B4-BE49-F238E27FC236}">
                  <a16:creationId xmlns:a16="http://schemas.microsoft.com/office/drawing/2014/main" id="{4236DE03-0D2C-41C5-8410-8B0B463C0FBC}"/>
                </a:ext>
              </a:extLst>
            </p:cNvPr>
            <p:cNvSpPr/>
            <p:nvPr/>
          </p:nvSpPr>
          <p:spPr>
            <a:xfrm flipH="1">
              <a:off x="5004678" y="3631282"/>
              <a:ext cx="4941980" cy="892641"/>
            </a:xfrm>
            <a:prstGeom prst="homePlate">
              <a:avLst>
                <a:gd name="adj" fmla="val 29123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7200"/>
            </a:p>
          </p:txBody>
        </p:sp>
        <p:sp>
          <p:nvSpPr>
            <p:cNvPr id="139" name="iṥlïďê">
              <a:extLst>
                <a:ext uri="{FF2B5EF4-FFF2-40B4-BE49-F238E27FC236}">
                  <a16:creationId xmlns:a16="http://schemas.microsoft.com/office/drawing/2014/main" id="{785F26C7-4910-43C6-B3DA-A13245776821}"/>
                </a:ext>
              </a:extLst>
            </p:cNvPr>
            <p:cNvSpPr/>
            <p:nvPr/>
          </p:nvSpPr>
          <p:spPr>
            <a:xfrm rot="5400000" flipH="1" flipV="1">
              <a:off x="9799228" y="3780880"/>
              <a:ext cx="1071754" cy="776893"/>
            </a:xfrm>
            <a:custGeom>
              <a:avLst/>
              <a:gdLst>
                <a:gd name="connsiteX0" fmla="*/ 0 w 1016000"/>
                <a:gd name="connsiteY0" fmla="*/ 0 h 768404"/>
                <a:gd name="connsiteX1" fmla="*/ 1016000 w 1016000"/>
                <a:gd name="connsiteY1" fmla="*/ 0 h 768404"/>
                <a:gd name="connsiteX2" fmla="*/ 1016000 w 1016000"/>
                <a:gd name="connsiteY2" fmla="*/ 768404 h 768404"/>
                <a:gd name="connsiteX3" fmla="*/ 0 w 1016000"/>
                <a:gd name="connsiteY3" fmla="*/ 768404 h 768404"/>
                <a:gd name="connsiteX4" fmla="*/ 0 w 1016000"/>
                <a:gd name="connsiteY4" fmla="*/ 0 h 768404"/>
                <a:gd name="connsiteX0" fmla="*/ 729673 w 1745673"/>
                <a:gd name="connsiteY0" fmla="*/ 0 h 777641"/>
                <a:gd name="connsiteX1" fmla="*/ 1745673 w 1745673"/>
                <a:gd name="connsiteY1" fmla="*/ 0 h 777641"/>
                <a:gd name="connsiteX2" fmla="*/ 1745673 w 1745673"/>
                <a:gd name="connsiteY2" fmla="*/ 768404 h 777641"/>
                <a:gd name="connsiteX3" fmla="*/ 0 w 1745673"/>
                <a:gd name="connsiteY3" fmla="*/ 777641 h 777641"/>
                <a:gd name="connsiteX4" fmla="*/ 729673 w 1745673"/>
                <a:gd name="connsiteY4" fmla="*/ 0 h 777641"/>
                <a:gd name="connsiteX0" fmla="*/ 729673 w 1745673"/>
                <a:gd name="connsiteY0" fmla="*/ 0 h 777641"/>
                <a:gd name="connsiteX1" fmla="*/ 1745673 w 1745673"/>
                <a:gd name="connsiteY1" fmla="*/ 0 h 777641"/>
                <a:gd name="connsiteX2" fmla="*/ 1317048 w 1745673"/>
                <a:gd name="connsiteY2" fmla="*/ 770785 h 777641"/>
                <a:gd name="connsiteX3" fmla="*/ 0 w 1745673"/>
                <a:gd name="connsiteY3" fmla="*/ 777641 h 777641"/>
                <a:gd name="connsiteX4" fmla="*/ 729673 w 1745673"/>
                <a:gd name="connsiteY4" fmla="*/ 0 h 777641"/>
                <a:gd name="connsiteX0" fmla="*/ 720148 w 1736148"/>
                <a:gd name="connsiteY0" fmla="*/ 0 h 770785"/>
                <a:gd name="connsiteX1" fmla="*/ 1736148 w 1736148"/>
                <a:gd name="connsiteY1" fmla="*/ 0 h 770785"/>
                <a:gd name="connsiteX2" fmla="*/ 1307523 w 1736148"/>
                <a:gd name="connsiteY2" fmla="*/ 770785 h 770785"/>
                <a:gd name="connsiteX3" fmla="*/ 0 w 1736148"/>
                <a:gd name="connsiteY3" fmla="*/ 770497 h 770785"/>
                <a:gd name="connsiteX4" fmla="*/ 720148 w 1736148"/>
                <a:gd name="connsiteY4" fmla="*/ 0 h 770785"/>
                <a:gd name="connsiteX0" fmla="*/ 720148 w 1736148"/>
                <a:gd name="connsiteY0" fmla="*/ 0 h 770497"/>
                <a:gd name="connsiteX1" fmla="*/ 1736148 w 1736148"/>
                <a:gd name="connsiteY1" fmla="*/ 0 h 770497"/>
                <a:gd name="connsiteX2" fmla="*/ 1590892 w 1736148"/>
                <a:gd name="connsiteY2" fmla="*/ 768404 h 770497"/>
                <a:gd name="connsiteX3" fmla="*/ 0 w 1736148"/>
                <a:gd name="connsiteY3" fmla="*/ 770497 h 770497"/>
                <a:gd name="connsiteX4" fmla="*/ 720148 w 1736148"/>
                <a:gd name="connsiteY4" fmla="*/ 0 h 770497"/>
                <a:gd name="connsiteX0" fmla="*/ 429636 w 1445636"/>
                <a:gd name="connsiteY0" fmla="*/ 0 h 768404"/>
                <a:gd name="connsiteX1" fmla="*/ 1445636 w 1445636"/>
                <a:gd name="connsiteY1" fmla="*/ 0 h 768404"/>
                <a:gd name="connsiteX2" fmla="*/ 1300380 w 1445636"/>
                <a:gd name="connsiteY2" fmla="*/ 768404 h 768404"/>
                <a:gd name="connsiteX3" fmla="*/ 0 w 1445636"/>
                <a:gd name="connsiteY3" fmla="*/ 768116 h 768404"/>
                <a:gd name="connsiteX4" fmla="*/ 429636 w 1445636"/>
                <a:gd name="connsiteY4" fmla="*/ 0 h 768404"/>
                <a:gd name="connsiteX0" fmla="*/ 433913 w 1449913"/>
                <a:gd name="connsiteY0" fmla="*/ 0 h 771964"/>
                <a:gd name="connsiteX1" fmla="*/ 1449913 w 1449913"/>
                <a:gd name="connsiteY1" fmla="*/ 0 h 771964"/>
                <a:gd name="connsiteX2" fmla="*/ 1304657 w 1449913"/>
                <a:gd name="connsiteY2" fmla="*/ 768404 h 771964"/>
                <a:gd name="connsiteX3" fmla="*/ 0 w 1449913"/>
                <a:gd name="connsiteY3" fmla="*/ 771964 h 771964"/>
                <a:gd name="connsiteX4" fmla="*/ 433913 w 1449913"/>
                <a:gd name="connsiteY4" fmla="*/ 0 h 771964"/>
                <a:gd name="connsiteX0" fmla="*/ 433913 w 1449913"/>
                <a:gd name="connsiteY0" fmla="*/ 0 h 774176"/>
                <a:gd name="connsiteX1" fmla="*/ 1449913 w 1449913"/>
                <a:gd name="connsiteY1" fmla="*/ 0 h 774176"/>
                <a:gd name="connsiteX2" fmla="*/ 1306795 w 1449913"/>
                <a:gd name="connsiteY2" fmla="*/ 774176 h 774176"/>
                <a:gd name="connsiteX3" fmla="*/ 0 w 1449913"/>
                <a:gd name="connsiteY3" fmla="*/ 771964 h 774176"/>
                <a:gd name="connsiteX4" fmla="*/ 433913 w 1449913"/>
                <a:gd name="connsiteY4" fmla="*/ 0 h 774176"/>
                <a:gd name="connsiteX0" fmla="*/ 429635 w 1445635"/>
                <a:gd name="connsiteY0" fmla="*/ 0 h 777737"/>
                <a:gd name="connsiteX1" fmla="*/ 1445635 w 1445635"/>
                <a:gd name="connsiteY1" fmla="*/ 0 h 777737"/>
                <a:gd name="connsiteX2" fmla="*/ 1302517 w 1445635"/>
                <a:gd name="connsiteY2" fmla="*/ 774176 h 777737"/>
                <a:gd name="connsiteX3" fmla="*/ 0 w 1445635"/>
                <a:gd name="connsiteY3" fmla="*/ 777737 h 777737"/>
                <a:gd name="connsiteX4" fmla="*/ 429635 w 1445635"/>
                <a:gd name="connsiteY4" fmla="*/ 0 h 777737"/>
                <a:gd name="connsiteX0" fmla="*/ 431773 w 1447773"/>
                <a:gd name="connsiteY0" fmla="*/ 0 h 774176"/>
                <a:gd name="connsiteX1" fmla="*/ 1447773 w 1447773"/>
                <a:gd name="connsiteY1" fmla="*/ 0 h 774176"/>
                <a:gd name="connsiteX2" fmla="*/ 1304655 w 1447773"/>
                <a:gd name="connsiteY2" fmla="*/ 774176 h 774176"/>
                <a:gd name="connsiteX3" fmla="*/ 0 w 1447773"/>
                <a:gd name="connsiteY3" fmla="*/ 773889 h 774176"/>
                <a:gd name="connsiteX4" fmla="*/ 431773 w 1447773"/>
                <a:gd name="connsiteY4" fmla="*/ 0 h 774176"/>
                <a:gd name="connsiteX0" fmla="*/ 429634 w 1447773"/>
                <a:gd name="connsiteY0" fmla="*/ 0 h 774176"/>
                <a:gd name="connsiteX1" fmla="*/ 1447773 w 1447773"/>
                <a:gd name="connsiteY1" fmla="*/ 0 h 774176"/>
                <a:gd name="connsiteX2" fmla="*/ 1304655 w 1447773"/>
                <a:gd name="connsiteY2" fmla="*/ 774176 h 774176"/>
                <a:gd name="connsiteX3" fmla="*/ 0 w 1447773"/>
                <a:gd name="connsiteY3" fmla="*/ 773889 h 774176"/>
                <a:gd name="connsiteX4" fmla="*/ 429634 w 1447773"/>
                <a:gd name="connsiteY4" fmla="*/ 0 h 774176"/>
                <a:gd name="connsiteX0" fmla="*/ 436049 w 1454188"/>
                <a:gd name="connsiteY0" fmla="*/ 0 h 774176"/>
                <a:gd name="connsiteX1" fmla="*/ 1454188 w 1454188"/>
                <a:gd name="connsiteY1" fmla="*/ 0 h 774176"/>
                <a:gd name="connsiteX2" fmla="*/ 1311070 w 1454188"/>
                <a:gd name="connsiteY2" fmla="*/ 774176 h 774176"/>
                <a:gd name="connsiteX3" fmla="*/ 0 w 1454188"/>
                <a:gd name="connsiteY3" fmla="*/ 773889 h 774176"/>
                <a:gd name="connsiteX4" fmla="*/ 436049 w 1454188"/>
                <a:gd name="connsiteY4" fmla="*/ 0 h 774176"/>
                <a:gd name="connsiteX0" fmla="*/ 436049 w 1458640"/>
                <a:gd name="connsiteY0" fmla="*/ 0 h 774176"/>
                <a:gd name="connsiteX1" fmla="*/ 1454188 w 1458640"/>
                <a:gd name="connsiteY1" fmla="*/ 0 h 774176"/>
                <a:gd name="connsiteX2" fmla="*/ 1458640 w 1458640"/>
                <a:gd name="connsiteY2" fmla="*/ 774176 h 774176"/>
                <a:gd name="connsiteX3" fmla="*/ 0 w 1458640"/>
                <a:gd name="connsiteY3" fmla="*/ 773889 h 774176"/>
                <a:gd name="connsiteX4" fmla="*/ 436049 w 1458640"/>
                <a:gd name="connsiteY4" fmla="*/ 0 h 774176"/>
                <a:gd name="connsiteX0" fmla="*/ 436049 w 1454363"/>
                <a:gd name="connsiteY0" fmla="*/ 0 h 774176"/>
                <a:gd name="connsiteX1" fmla="*/ 1454188 w 1454363"/>
                <a:gd name="connsiteY1" fmla="*/ 0 h 774176"/>
                <a:gd name="connsiteX2" fmla="*/ 1454363 w 1454363"/>
                <a:gd name="connsiteY2" fmla="*/ 774176 h 774176"/>
                <a:gd name="connsiteX3" fmla="*/ 0 w 1454363"/>
                <a:gd name="connsiteY3" fmla="*/ 773889 h 774176"/>
                <a:gd name="connsiteX4" fmla="*/ 436049 w 1454363"/>
                <a:gd name="connsiteY4" fmla="*/ 0 h 774176"/>
                <a:gd name="connsiteX0" fmla="*/ 369749 w 1388063"/>
                <a:gd name="connsiteY0" fmla="*/ 0 h 774176"/>
                <a:gd name="connsiteX1" fmla="*/ 1387888 w 1388063"/>
                <a:gd name="connsiteY1" fmla="*/ 0 h 774176"/>
                <a:gd name="connsiteX2" fmla="*/ 1388063 w 1388063"/>
                <a:gd name="connsiteY2" fmla="*/ 774176 h 774176"/>
                <a:gd name="connsiteX3" fmla="*/ 0 w 1388063"/>
                <a:gd name="connsiteY3" fmla="*/ 771964 h 774176"/>
                <a:gd name="connsiteX4" fmla="*/ 369749 w 1388063"/>
                <a:gd name="connsiteY4" fmla="*/ 0 h 774176"/>
                <a:gd name="connsiteX0" fmla="*/ 236254 w 1388063"/>
                <a:gd name="connsiteY0" fmla="*/ 0 h 774176"/>
                <a:gd name="connsiteX1" fmla="*/ 1387888 w 1388063"/>
                <a:gd name="connsiteY1" fmla="*/ 0 h 774176"/>
                <a:gd name="connsiteX2" fmla="*/ 1388063 w 1388063"/>
                <a:gd name="connsiteY2" fmla="*/ 774176 h 774176"/>
                <a:gd name="connsiteX3" fmla="*/ 0 w 1388063"/>
                <a:gd name="connsiteY3" fmla="*/ 771964 h 774176"/>
                <a:gd name="connsiteX4" fmla="*/ 236254 w 1388063"/>
                <a:gd name="connsiteY4" fmla="*/ 0 h 774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88063" h="774176">
                  <a:moveTo>
                    <a:pt x="236254" y="0"/>
                  </a:moveTo>
                  <a:lnTo>
                    <a:pt x="1387888" y="0"/>
                  </a:lnTo>
                  <a:cubicBezTo>
                    <a:pt x="1387946" y="258059"/>
                    <a:pt x="1388005" y="516117"/>
                    <a:pt x="1388063" y="774176"/>
                  </a:cubicBezTo>
                  <a:lnTo>
                    <a:pt x="0" y="771964"/>
                  </a:lnTo>
                  <a:lnTo>
                    <a:pt x="236254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7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7200"/>
            </a:p>
          </p:txBody>
        </p:sp>
        <p:sp>
          <p:nvSpPr>
            <p:cNvPr id="140" name="îšḻïḑê">
              <a:extLst>
                <a:ext uri="{FF2B5EF4-FFF2-40B4-BE49-F238E27FC236}">
                  <a16:creationId xmlns:a16="http://schemas.microsoft.com/office/drawing/2014/main" id="{919CD6AC-4C46-46B2-9755-64F9AAB4D734}"/>
                </a:ext>
              </a:extLst>
            </p:cNvPr>
            <p:cNvSpPr/>
            <p:nvPr/>
          </p:nvSpPr>
          <p:spPr>
            <a:xfrm flipH="1">
              <a:off x="5869853" y="4521727"/>
              <a:ext cx="4076804" cy="891576"/>
            </a:xfrm>
            <a:prstGeom prst="homePlate">
              <a:avLst>
                <a:gd name="adj" fmla="val 29123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7200"/>
            </a:p>
          </p:txBody>
        </p:sp>
        <p:sp>
          <p:nvSpPr>
            <p:cNvPr id="141" name="îṩlîḋe">
              <a:extLst>
                <a:ext uri="{FF2B5EF4-FFF2-40B4-BE49-F238E27FC236}">
                  <a16:creationId xmlns:a16="http://schemas.microsoft.com/office/drawing/2014/main" id="{913E0761-6DDA-4E87-8890-386D85C9C3FE}"/>
                </a:ext>
              </a:extLst>
            </p:cNvPr>
            <p:cNvSpPr/>
            <p:nvPr/>
          </p:nvSpPr>
          <p:spPr>
            <a:xfrm rot="5400000" flipH="1" flipV="1">
              <a:off x="9715071" y="4747819"/>
              <a:ext cx="1237619" cy="779348"/>
            </a:xfrm>
            <a:custGeom>
              <a:avLst/>
              <a:gdLst>
                <a:gd name="connsiteX0" fmla="*/ 0 w 1016000"/>
                <a:gd name="connsiteY0" fmla="*/ 0 h 768404"/>
                <a:gd name="connsiteX1" fmla="*/ 1016000 w 1016000"/>
                <a:gd name="connsiteY1" fmla="*/ 0 h 768404"/>
                <a:gd name="connsiteX2" fmla="*/ 1016000 w 1016000"/>
                <a:gd name="connsiteY2" fmla="*/ 768404 h 768404"/>
                <a:gd name="connsiteX3" fmla="*/ 0 w 1016000"/>
                <a:gd name="connsiteY3" fmla="*/ 768404 h 768404"/>
                <a:gd name="connsiteX4" fmla="*/ 0 w 1016000"/>
                <a:gd name="connsiteY4" fmla="*/ 0 h 768404"/>
                <a:gd name="connsiteX0" fmla="*/ 729673 w 1745673"/>
                <a:gd name="connsiteY0" fmla="*/ 0 h 777641"/>
                <a:gd name="connsiteX1" fmla="*/ 1745673 w 1745673"/>
                <a:gd name="connsiteY1" fmla="*/ 0 h 777641"/>
                <a:gd name="connsiteX2" fmla="*/ 1745673 w 1745673"/>
                <a:gd name="connsiteY2" fmla="*/ 768404 h 777641"/>
                <a:gd name="connsiteX3" fmla="*/ 0 w 1745673"/>
                <a:gd name="connsiteY3" fmla="*/ 777641 h 777641"/>
                <a:gd name="connsiteX4" fmla="*/ 729673 w 1745673"/>
                <a:gd name="connsiteY4" fmla="*/ 0 h 777641"/>
                <a:gd name="connsiteX0" fmla="*/ 729673 w 1745673"/>
                <a:gd name="connsiteY0" fmla="*/ 0 h 777641"/>
                <a:gd name="connsiteX1" fmla="*/ 1745673 w 1745673"/>
                <a:gd name="connsiteY1" fmla="*/ 0 h 777641"/>
                <a:gd name="connsiteX2" fmla="*/ 1317048 w 1745673"/>
                <a:gd name="connsiteY2" fmla="*/ 770785 h 777641"/>
                <a:gd name="connsiteX3" fmla="*/ 0 w 1745673"/>
                <a:gd name="connsiteY3" fmla="*/ 777641 h 777641"/>
                <a:gd name="connsiteX4" fmla="*/ 729673 w 1745673"/>
                <a:gd name="connsiteY4" fmla="*/ 0 h 777641"/>
                <a:gd name="connsiteX0" fmla="*/ 720148 w 1736148"/>
                <a:gd name="connsiteY0" fmla="*/ 0 h 770785"/>
                <a:gd name="connsiteX1" fmla="*/ 1736148 w 1736148"/>
                <a:gd name="connsiteY1" fmla="*/ 0 h 770785"/>
                <a:gd name="connsiteX2" fmla="*/ 1307523 w 1736148"/>
                <a:gd name="connsiteY2" fmla="*/ 770785 h 770785"/>
                <a:gd name="connsiteX3" fmla="*/ 0 w 1736148"/>
                <a:gd name="connsiteY3" fmla="*/ 770497 h 770785"/>
                <a:gd name="connsiteX4" fmla="*/ 720148 w 1736148"/>
                <a:gd name="connsiteY4" fmla="*/ 0 h 770785"/>
                <a:gd name="connsiteX0" fmla="*/ 720148 w 1736148"/>
                <a:gd name="connsiteY0" fmla="*/ 0 h 770785"/>
                <a:gd name="connsiteX1" fmla="*/ 1736148 w 1736148"/>
                <a:gd name="connsiteY1" fmla="*/ 0 h 770785"/>
                <a:gd name="connsiteX2" fmla="*/ 1369545 w 1736148"/>
                <a:gd name="connsiteY2" fmla="*/ 770785 h 770785"/>
                <a:gd name="connsiteX3" fmla="*/ 0 w 1736148"/>
                <a:gd name="connsiteY3" fmla="*/ 770497 h 770785"/>
                <a:gd name="connsiteX4" fmla="*/ 720148 w 1736148"/>
                <a:gd name="connsiteY4" fmla="*/ 0 h 770785"/>
                <a:gd name="connsiteX0" fmla="*/ 446799 w 1736148"/>
                <a:gd name="connsiteY0" fmla="*/ 0 h 773231"/>
                <a:gd name="connsiteX1" fmla="*/ 1736148 w 1736148"/>
                <a:gd name="connsiteY1" fmla="*/ 2446 h 773231"/>
                <a:gd name="connsiteX2" fmla="*/ 1369545 w 1736148"/>
                <a:gd name="connsiteY2" fmla="*/ 773231 h 773231"/>
                <a:gd name="connsiteX3" fmla="*/ 0 w 1736148"/>
                <a:gd name="connsiteY3" fmla="*/ 772943 h 773231"/>
                <a:gd name="connsiteX4" fmla="*/ 446799 w 1736148"/>
                <a:gd name="connsiteY4" fmla="*/ 0 h 773231"/>
                <a:gd name="connsiteX0" fmla="*/ 446799 w 1605827"/>
                <a:gd name="connsiteY0" fmla="*/ 0 h 773231"/>
                <a:gd name="connsiteX1" fmla="*/ 1605827 w 1605827"/>
                <a:gd name="connsiteY1" fmla="*/ 2446 h 773231"/>
                <a:gd name="connsiteX2" fmla="*/ 1369545 w 1605827"/>
                <a:gd name="connsiteY2" fmla="*/ 773231 h 773231"/>
                <a:gd name="connsiteX3" fmla="*/ 0 w 1605827"/>
                <a:gd name="connsiteY3" fmla="*/ 772943 h 773231"/>
                <a:gd name="connsiteX4" fmla="*/ 446799 w 1605827"/>
                <a:gd name="connsiteY4" fmla="*/ 0 h 773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5827" h="773231">
                  <a:moveTo>
                    <a:pt x="446799" y="0"/>
                  </a:moveTo>
                  <a:lnTo>
                    <a:pt x="1605827" y="2446"/>
                  </a:lnTo>
                  <a:lnTo>
                    <a:pt x="1369545" y="773231"/>
                  </a:lnTo>
                  <a:lnTo>
                    <a:pt x="0" y="772943"/>
                  </a:lnTo>
                  <a:lnTo>
                    <a:pt x="446799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7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7200" dirty="0"/>
            </a:p>
          </p:txBody>
        </p:sp>
        <p:sp>
          <p:nvSpPr>
            <p:cNvPr id="142" name="ïṣlíḓé">
              <a:extLst>
                <a:ext uri="{FF2B5EF4-FFF2-40B4-BE49-F238E27FC236}">
                  <a16:creationId xmlns:a16="http://schemas.microsoft.com/office/drawing/2014/main" id="{C031E79E-C612-4D96-B01B-579F39F162B2}"/>
                </a:ext>
              </a:extLst>
            </p:cNvPr>
            <p:cNvSpPr/>
            <p:nvPr/>
          </p:nvSpPr>
          <p:spPr>
            <a:xfrm flipH="1">
              <a:off x="10324577" y="1489208"/>
              <a:ext cx="1111790" cy="1111790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7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7200"/>
            </a:p>
          </p:txBody>
        </p:sp>
        <p:sp>
          <p:nvSpPr>
            <p:cNvPr id="143" name="ïsḻïḑè">
              <a:extLst>
                <a:ext uri="{FF2B5EF4-FFF2-40B4-BE49-F238E27FC236}">
                  <a16:creationId xmlns:a16="http://schemas.microsoft.com/office/drawing/2014/main" id="{7902BA2B-CAB1-4194-835F-EAFD64A55DF0}"/>
                </a:ext>
              </a:extLst>
            </p:cNvPr>
            <p:cNvSpPr/>
            <p:nvPr/>
          </p:nvSpPr>
          <p:spPr>
            <a:xfrm flipH="1">
              <a:off x="10309737" y="2538075"/>
              <a:ext cx="1127058" cy="1127058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bg1">
                  <a:lumMod val="9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44" name="íšļíḑè">
              <a:extLst>
                <a:ext uri="{FF2B5EF4-FFF2-40B4-BE49-F238E27FC236}">
                  <a16:creationId xmlns:a16="http://schemas.microsoft.com/office/drawing/2014/main" id="{FB443A56-FA79-42D3-A85A-1A45493D5C96}"/>
                </a:ext>
              </a:extLst>
            </p:cNvPr>
            <p:cNvSpPr/>
            <p:nvPr/>
          </p:nvSpPr>
          <p:spPr>
            <a:xfrm flipH="1">
              <a:off x="10303047" y="3596807"/>
              <a:ext cx="1140438" cy="1140438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7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7200"/>
            </a:p>
          </p:txBody>
        </p:sp>
        <p:sp>
          <p:nvSpPr>
            <p:cNvPr id="145" name="iṣľide">
              <a:extLst>
                <a:ext uri="{FF2B5EF4-FFF2-40B4-BE49-F238E27FC236}">
                  <a16:creationId xmlns:a16="http://schemas.microsoft.com/office/drawing/2014/main" id="{5FD61E05-1C1D-432E-BD62-EC8A260346C3}"/>
                </a:ext>
              </a:extLst>
            </p:cNvPr>
            <p:cNvSpPr/>
            <p:nvPr/>
          </p:nvSpPr>
          <p:spPr>
            <a:xfrm flipH="1">
              <a:off x="10311479" y="4664300"/>
              <a:ext cx="1125268" cy="1123592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bg1">
                  <a:lumMod val="9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46" name="îṥḻïḓè">
              <a:extLst>
                <a:ext uri="{FF2B5EF4-FFF2-40B4-BE49-F238E27FC236}">
                  <a16:creationId xmlns:a16="http://schemas.microsoft.com/office/drawing/2014/main" id="{376980DC-E165-44B2-A6DB-4B0C471626EB}"/>
                </a:ext>
              </a:extLst>
            </p:cNvPr>
            <p:cNvSpPr/>
            <p:nvPr/>
          </p:nvSpPr>
          <p:spPr bwMode="auto">
            <a:xfrm flipH="1">
              <a:off x="10623251" y="3967939"/>
              <a:ext cx="500030" cy="398172"/>
            </a:xfrm>
            <a:custGeom>
              <a:avLst/>
              <a:gdLst>
                <a:gd name="connsiteX0" fmla="*/ 485775 w 514350"/>
                <a:gd name="connsiteY0" fmla="*/ 0 h 409575"/>
                <a:gd name="connsiteX1" fmla="*/ 514350 w 514350"/>
                <a:gd name="connsiteY1" fmla="*/ 28575 h 409575"/>
                <a:gd name="connsiteX2" fmla="*/ 514350 w 514350"/>
                <a:gd name="connsiteY2" fmla="*/ 323850 h 409575"/>
                <a:gd name="connsiteX3" fmla="*/ 485775 w 514350"/>
                <a:gd name="connsiteY3" fmla="*/ 352425 h 409575"/>
                <a:gd name="connsiteX4" fmla="*/ 191167 w 514350"/>
                <a:gd name="connsiteY4" fmla="*/ 352425 h 409575"/>
                <a:gd name="connsiteX5" fmla="*/ 114395 w 514350"/>
                <a:gd name="connsiteY5" fmla="*/ 409575 h 409575"/>
                <a:gd name="connsiteX6" fmla="*/ 114395 w 514350"/>
                <a:gd name="connsiteY6" fmla="*/ 352425 h 409575"/>
                <a:gd name="connsiteX7" fmla="*/ 28575 w 514350"/>
                <a:gd name="connsiteY7" fmla="*/ 352425 h 409575"/>
                <a:gd name="connsiteX8" fmla="*/ 0 w 514350"/>
                <a:gd name="connsiteY8" fmla="*/ 323850 h 409575"/>
                <a:gd name="connsiteX9" fmla="*/ 0 w 514350"/>
                <a:gd name="connsiteY9" fmla="*/ 28575 h 409575"/>
                <a:gd name="connsiteX10" fmla="*/ 28575 w 514350"/>
                <a:gd name="connsiteY10" fmla="*/ 0 h 409575"/>
                <a:gd name="connsiteX11" fmla="*/ 485775 w 514350"/>
                <a:gd name="connsiteY11" fmla="*/ 0 h 409575"/>
                <a:gd name="connsiteX12" fmla="*/ 123825 w 514350"/>
                <a:gd name="connsiteY12" fmla="*/ 142875 h 409575"/>
                <a:gd name="connsiteX13" fmla="*/ 90488 w 514350"/>
                <a:gd name="connsiteY13" fmla="*/ 176213 h 409575"/>
                <a:gd name="connsiteX14" fmla="*/ 123825 w 514350"/>
                <a:gd name="connsiteY14" fmla="*/ 209550 h 409575"/>
                <a:gd name="connsiteX15" fmla="*/ 157163 w 514350"/>
                <a:gd name="connsiteY15" fmla="*/ 176213 h 409575"/>
                <a:gd name="connsiteX16" fmla="*/ 123825 w 514350"/>
                <a:gd name="connsiteY16" fmla="*/ 142875 h 409575"/>
                <a:gd name="connsiteX17" fmla="*/ 257175 w 514350"/>
                <a:gd name="connsiteY17" fmla="*/ 142875 h 409575"/>
                <a:gd name="connsiteX18" fmla="*/ 223838 w 514350"/>
                <a:gd name="connsiteY18" fmla="*/ 176213 h 409575"/>
                <a:gd name="connsiteX19" fmla="*/ 257175 w 514350"/>
                <a:gd name="connsiteY19" fmla="*/ 209550 h 409575"/>
                <a:gd name="connsiteX20" fmla="*/ 290513 w 514350"/>
                <a:gd name="connsiteY20" fmla="*/ 176213 h 409575"/>
                <a:gd name="connsiteX21" fmla="*/ 257175 w 514350"/>
                <a:gd name="connsiteY21" fmla="*/ 142875 h 409575"/>
                <a:gd name="connsiteX22" fmla="*/ 390525 w 514350"/>
                <a:gd name="connsiteY22" fmla="*/ 142875 h 409575"/>
                <a:gd name="connsiteX23" fmla="*/ 357188 w 514350"/>
                <a:gd name="connsiteY23" fmla="*/ 176213 h 409575"/>
                <a:gd name="connsiteX24" fmla="*/ 390525 w 514350"/>
                <a:gd name="connsiteY24" fmla="*/ 209550 h 409575"/>
                <a:gd name="connsiteX25" fmla="*/ 423863 w 514350"/>
                <a:gd name="connsiteY25" fmla="*/ 176213 h 409575"/>
                <a:gd name="connsiteX26" fmla="*/ 390525 w 514350"/>
                <a:gd name="connsiteY26" fmla="*/ 142875 h 40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4350" h="409575">
                  <a:moveTo>
                    <a:pt x="485775" y="0"/>
                  </a:moveTo>
                  <a:cubicBezTo>
                    <a:pt x="501586" y="0"/>
                    <a:pt x="514350" y="12764"/>
                    <a:pt x="514350" y="28575"/>
                  </a:cubicBezTo>
                  <a:lnTo>
                    <a:pt x="514350" y="323850"/>
                  </a:lnTo>
                  <a:cubicBezTo>
                    <a:pt x="514350" y="339662"/>
                    <a:pt x="501586" y="352425"/>
                    <a:pt x="485775" y="352425"/>
                  </a:cubicBezTo>
                  <a:lnTo>
                    <a:pt x="191167" y="352425"/>
                  </a:lnTo>
                  <a:lnTo>
                    <a:pt x="114395" y="409575"/>
                  </a:lnTo>
                  <a:lnTo>
                    <a:pt x="114395" y="352425"/>
                  </a:lnTo>
                  <a:lnTo>
                    <a:pt x="28575" y="352425"/>
                  </a:lnTo>
                  <a:cubicBezTo>
                    <a:pt x="12764" y="352425"/>
                    <a:pt x="0" y="339662"/>
                    <a:pt x="0" y="323850"/>
                  </a:cubicBezTo>
                  <a:lnTo>
                    <a:pt x="0" y="28575"/>
                  </a:lnTo>
                  <a:cubicBezTo>
                    <a:pt x="0" y="12764"/>
                    <a:pt x="12764" y="0"/>
                    <a:pt x="28575" y="0"/>
                  </a:cubicBezTo>
                  <a:lnTo>
                    <a:pt x="485775" y="0"/>
                  </a:lnTo>
                  <a:close/>
                  <a:moveTo>
                    <a:pt x="123825" y="142875"/>
                  </a:moveTo>
                  <a:cubicBezTo>
                    <a:pt x="105442" y="142875"/>
                    <a:pt x="90488" y="157829"/>
                    <a:pt x="90488" y="176213"/>
                  </a:cubicBezTo>
                  <a:cubicBezTo>
                    <a:pt x="90488" y="194596"/>
                    <a:pt x="105442" y="209550"/>
                    <a:pt x="123825" y="209550"/>
                  </a:cubicBezTo>
                  <a:cubicBezTo>
                    <a:pt x="142208" y="209550"/>
                    <a:pt x="157163" y="194596"/>
                    <a:pt x="157163" y="176213"/>
                  </a:cubicBezTo>
                  <a:cubicBezTo>
                    <a:pt x="157163" y="157829"/>
                    <a:pt x="142208" y="142875"/>
                    <a:pt x="123825" y="142875"/>
                  </a:cubicBezTo>
                  <a:close/>
                  <a:moveTo>
                    <a:pt x="257175" y="142875"/>
                  </a:moveTo>
                  <a:cubicBezTo>
                    <a:pt x="238792" y="142875"/>
                    <a:pt x="223838" y="157829"/>
                    <a:pt x="223838" y="176213"/>
                  </a:cubicBezTo>
                  <a:cubicBezTo>
                    <a:pt x="223838" y="194596"/>
                    <a:pt x="238792" y="209550"/>
                    <a:pt x="257175" y="209550"/>
                  </a:cubicBezTo>
                  <a:cubicBezTo>
                    <a:pt x="275558" y="209550"/>
                    <a:pt x="290513" y="194596"/>
                    <a:pt x="290513" y="176213"/>
                  </a:cubicBezTo>
                  <a:cubicBezTo>
                    <a:pt x="290513" y="157829"/>
                    <a:pt x="275558" y="142875"/>
                    <a:pt x="257175" y="142875"/>
                  </a:cubicBezTo>
                  <a:close/>
                  <a:moveTo>
                    <a:pt x="390525" y="142875"/>
                  </a:moveTo>
                  <a:cubicBezTo>
                    <a:pt x="372142" y="142875"/>
                    <a:pt x="357188" y="157829"/>
                    <a:pt x="357188" y="176213"/>
                  </a:cubicBezTo>
                  <a:cubicBezTo>
                    <a:pt x="357188" y="194596"/>
                    <a:pt x="372142" y="209550"/>
                    <a:pt x="390525" y="209550"/>
                  </a:cubicBezTo>
                  <a:cubicBezTo>
                    <a:pt x="408908" y="209550"/>
                    <a:pt x="423863" y="194596"/>
                    <a:pt x="423863" y="176213"/>
                  </a:cubicBezTo>
                  <a:cubicBezTo>
                    <a:pt x="423863" y="157829"/>
                    <a:pt x="408908" y="142875"/>
                    <a:pt x="390525" y="14287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47" name="ïṩļïḋè">
              <a:extLst>
                <a:ext uri="{FF2B5EF4-FFF2-40B4-BE49-F238E27FC236}">
                  <a16:creationId xmlns:a16="http://schemas.microsoft.com/office/drawing/2014/main" id="{F01AB09D-E1AA-436C-B67A-C1188663F2A7}"/>
                </a:ext>
              </a:extLst>
            </p:cNvPr>
            <p:cNvSpPr/>
            <p:nvPr/>
          </p:nvSpPr>
          <p:spPr bwMode="auto">
            <a:xfrm flipH="1">
              <a:off x="10640477" y="2907803"/>
              <a:ext cx="465578" cy="387600"/>
            </a:xfrm>
            <a:custGeom>
              <a:avLst/>
              <a:gdLst>
                <a:gd name="connsiteX0" fmla="*/ 482197 w 526297"/>
                <a:gd name="connsiteY0" fmla="*/ 133350 h 438150"/>
                <a:gd name="connsiteX1" fmla="*/ 526298 w 526297"/>
                <a:gd name="connsiteY1" fmla="*/ 177451 h 438150"/>
                <a:gd name="connsiteX2" fmla="*/ 526203 w 526297"/>
                <a:gd name="connsiteY2" fmla="*/ 180880 h 438150"/>
                <a:gd name="connsiteX3" fmla="*/ 512867 w 526297"/>
                <a:gd name="connsiteY3" fmla="*/ 354616 h 438150"/>
                <a:gd name="connsiteX4" fmla="*/ 484388 w 526297"/>
                <a:gd name="connsiteY4" fmla="*/ 381000 h 438150"/>
                <a:gd name="connsiteX5" fmla="*/ 453622 w 526297"/>
                <a:gd name="connsiteY5" fmla="*/ 381000 h 438150"/>
                <a:gd name="connsiteX6" fmla="*/ 453622 w 526297"/>
                <a:gd name="connsiteY6" fmla="*/ 438150 h 438150"/>
                <a:gd name="connsiteX7" fmla="*/ 434572 w 526297"/>
                <a:gd name="connsiteY7" fmla="*/ 438150 h 438150"/>
                <a:gd name="connsiteX8" fmla="*/ 434572 w 526297"/>
                <a:gd name="connsiteY8" fmla="*/ 381000 h 438150"/>
                <a:gd name="connsiteX9" fmla="*/ 91672 w 526297"/>
                <a:gd name="connsiteY9" fmla="*/ 381000 h 438150"/>
                <a:gd name="connsiteX10" fmla="*/ 91672 w 526297"/>
                <a:gd name="connsiteY10" fmla="*/ 438150 h 438150"/>
                <a:gd name="connsiteX11" fmla="*/ 72622 w 526297"/>
                <a:gd name="connsiteY11" fmla="*/ 438150 h 438150"/>
                <a:gd name="connsiteX12" fmla="*/ 72622 w 526297"/>
                <a:gd name="connsiteY12" fmla="*/ 381000 h 438150"/>
                <a:gd name="connsiteX13" fmla="*/ 41952 w 526297"/>
                <a:gd name="connsiteY13" fmla="*/ 381000 h 438150"/>
                <a:gd name="connsiteX14" fmla="*/ 13472 w 526297"/>
                <a:gd name="connsiteY14" fmla="*/ 354616 h 438150"/>
                <a:gd name="connsiteX15" fmla="*/ 137 w 526297"/>
                <a:gd name="connsiteY15" fmla="*/ 180880 h 438150"/>
                <a:gd name="connsiteX16" fmla="*/ 40714 w 526297"/>
                <a:gd name="connsiteY16" fmla="*/ 133541 h 438150"/>
                <a:gd name="connsiteX17" fmla="*/ 44142 w 526297"/>
                <a:gd name="connsiteY17" fmla="*/ 133445 h 438150"/>
                <a:gd name="connsiteX18" fmla="*/ 100531 w 526297"/>
                <a:gd name="connsiteY18" fmla="*/ 180213 h 438150"/>
                <a:gd name="connsiteX19" fmla="*/ 120247 w 526297"/>
                <a:gd name="connsiteY19" fmla="*/ 285750 h 438150"/>
                <a:gd name="connsiteX20" fmla="*/ 405997 w 526297"/>
                <a:gd name="connsiteY20" fmla="*/ 285750 h 438150"/>
                <a:gd name="connsiteX21" fmla="*/ 425809 w 526297"/>
                <a:gd name="connsiteY21" fmla="*/ 180118 h 438150"/>
                <a:gd name="connsiteX22" fmla="*/ 482197 w 526297"/>
                <a:gd name="connsiteY22" fmla="*/ 133350 h 438150"/>
                <a:gd name="connsiteX23" fmla="*/ 415522 w 526297"/>
                <a:gd name="connsiteY23" fmla="*/ 0 h 438150"/>
                <a:gd name="connsiteX24" fmla="*/ 482197 w 526297"/>
                <a:gd name="connsiteY24" fmla="*/ 66675 h 438150"/>
                <a:gd name="connsiteX25" fmla="*/ 482197 w 526297"/>
                <a:gd name="connsiteY25" fmla="*/ 114776 h 438150"/>
                <a:gd name="connsiteX26" fmla="*/ 475053 w 526297"/>
                <a:gd name="connsiteY26" fmla="*/ 114300 h 438150"/>
                <a:gd name="connsiteX27" fmla="*/ 410664 w 526297"/>
                <a:gd name="connsiteY27" fmla="*/ 165830 h 438150"/>
                <a:gd name="connsiteX28" fmla="*/ 410188 w 526297"/>
                <a:gd name="connsiteY28" fmla="*/ 168116 h 438150"/>
                <a:gd name="connsiteX29" fmla="*/ 391710 w 526297"/>
                <a:gd name="connsiteY29" fmla="*/ 266700 h 438150"/>
                <a:gd name="connsiteX30" fmla="*/ 134535 w 526297"/>
                <a:gd name="connsiteY30" fmla="*/ 266700 h 438150"/>
                <a:gd name="connsiteX31" fmla="*/ 116057 w 526297"/>
                <a:gd name="connsiteY31" fmla="*/ 168116 h 438150"/>
                <a:gd name="connsiteX32" fmla="*/ 51191 w 526297"/>
                <a:gd name="connsiteY32" fmla="*/ 114300 h 438150"/>
                <a:gd name="connsiteX33" fmla="*/ 53572 w 526297"/>
                <a:gd name="connsiteY33" fmla="*/ 66675 h 438150"/>
                <a:gd name="connsiteX34" fmla="*/ 120247 w 526297"/>
                <a:gd name="connsiteY34" fmla="*/ 0 h 438150"/>
                <a:gd name="connsiteX35" fmla="*/ 415522 w 526297"/>
                <a:gd name="connsiteY35" fmla="*/ 0 h 438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26297" h="438150">
                  <a:moveTo>
                    <a:pt x="482197" y="133350"/>
                  </a:moveTo>
                  <a:cubicBezTo>
                    <a:pt x="506582" y="133350"/>
                    <a:pt x="526298" y="153067"/>
                    <a:pt x="526298" y="177451"/>
                  </a:cubicBezTo>
                  <a:cubicBezTo>
                    <a:pt x="526298" y="178594"/>
                    <a:pt x="526298" y="179737"/>
                    <a:pt x="526203" y="180880"/>
                  </a:cubicBezTo>
                  <a:lnTo>
                    <a:pt x="512867" y="354616"/>
                  </a:lnTo>
                  <a:cubicBezTo>
                    <a:pt x="511724" y="369475"/>
                    <a:pt x="499343" y="381000"/>
                    <a:pt x="484388" y="381000"/>
                  </a:cubicBezTo>
                  <a:lnTo>
                    <a:pt x="453622" y="381000"/>
                  </a:lnTo>
                  <a:lnTo>
                    <a:pt x="453622" y="438150"/>
                  </a:lnTo>
                  <a:lnTo>
                    <a:pt x="434572" y="438150"/>
                  </a:lnTo>
                  <a:lnTo>
                    <a:pt x="434572" y="381000"/>
                  </a:lnTo>
                  <a:lnTo>
                    <a:pt x="91672" y="381000"/>
                  </a:lnTo>
                  <a:lnTo>
                    <a:pt x="91672" y="438150"/>
                  </a:lnTo>
                  <a:lnTo>
                    <a:pt x="72622" y="438150"/>
                  </a:lnTo>
                  <a:lnTo>
                    <a:pt x="72622" y="381000"/>
                  </a:lnTo>
                  <a:lnTo>
                    <a:pt x="41952" y="381000"/>
                  </a:lnTo>
                  <a:cubicBezTo>
                    <a:pt x="26998" y="381000"/>
                    <a:pt x="14615" y="369475"/>
                    <a:pt x="13472" y="354616"/>
                  </a:cubicBezTo>
                  <a:lnTo>
                    <a:pt x="137" y="180880"/>
                  </a:lnTo>
                  <a:cubicBezTo>
                    <a:pt x="-1768" y="156591"/>
                    <a:pt x="16424" y="135350"/>
                    <a:pt x="40714" y="133541"/>
                  </a:cubicBezTo>
                  <a:cubicBezTo>
                    <a:pt x="41857" y="133445"/>
                    <a:pt x="42999" y="133445"/>
                    <a:pt x="44142" y="133445"/>
                  </a:cubicBezTo>
                  <a:cubicBezTo>
                    <a:pt x="71765" y="133445"/>
                    <a:pt x="95482" y="153067"/>
                    <a:pt x="100531" y="180213"/>
                  </a:cubicBezTo>
                  <a:lnTo>
                    <a:pt x="120247" y="285750"/>
                  </a:lnTo>
                  <a:lnTo>
                    <a:pt x="405997" y="285750"/>
                  </a:lnTo>
                  <a:lnTo>
                    <a:pt x="425809" y="180118"/>
                  </a:lnTo>
                  <a:cubicBezTo>
                    <a:pt x="430857" y="152972"/>
                    <a:pt x="454574" y="133350"/>
                    <a:pt x="482197" y="133350"/>
                  </a:cubicBezTo>
                  <a:close/>
                  <a:moveTo>
                    <a:pt x="415522" y="0"/>
                  </a:moveTo>
                  <a:cubicBezTo>
                    <a:pt x="452384" y="0"/>
                    <a:pt x="482197" y="29813"/>
                    <a:pt x="482197" y="66675"/>
                  </a:cubicBezTo>
                  <a:lnTo>
                    <a:pt x="482197" y="114776"/>
                  </a:lnTo>
                  <a:cubicBezTo>
                    <a:pt x="479816" y="114491"/>
                    <a:pt x="477435" y="114300"/>
                    <a:pt x="475053" y="114300"/>
                  </a:cubicBezTo>
                  <a:cubicBezTo>
                    <a:pt x="444097" y="114300"/>
                    <a:pt x="417427" y="135827"/>
                    <a:pt x="410664" y="165830"/>
                  </a:cubicBezTo>
                  <a:lnTo>
                    <a:pt x="410188" y="168116"/>
                  </a:lnTo>
                  <a:lnTo>
                    <a:pt x="391710" y="266700"/>
                  </a:lnTo>
                  <a:lnTo>
                    <a:pt x="134535" y="266700"/>
                  </a:lnTo>
                  <a:lnTo>
                    <a:pt x="116057" y="168116"/>
                  </a:lnTo>
                  <a:cubicBezTo>
                    <a:pt x="110245" y="136874"/>
                    <a:pt x="82909" y="114300"/>
                    <a:pt x="51191" y="114300"/>
                  </a:cubicBezTo>
                  <a:lnTo>
                    <a:pt x="53572" y="66675"/>
                  </a:lnTo>
                  <a:cubicBezTo>
                    <a:pt x="53572" y="29813"/>
                    <a:pt x="83385" y="0"/>
                    <a:pt x="120247" y="0"/>
                  </a:cubicBezTo>
                  <a:lnTo>
                    <a:pt x="415522" y="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48" name="iṣḷîďê">
              <a:extLst>
                <a:ext uri="{FF2B5EF4-FFF2-40B4-BE49-F238E27FC236}">
                  <a16:creationId xmlns:a16="http://schemas.microsoft.com/office/drawing/2014/main" id="{416730D7-ADB0-4AE6-AEF0-15A3D0E15618}"/>
                </a:ext>
              </a:extLst>
            </p:cNvPr>
            <p:cNvSpPr/>
            <p:nvPr/>
          </p:nvSpPr>
          <p:spPr bwMode="auto">
            <a:xfrm flipH="1">
              <a:off x="10667452" y="4947104"/>
              <a:ext cx="413321" cy="557984"/>
            </a:xfrm>
            <a:custGeom>
              <a:avLst/>
              <a:gdLst>
                <a:gd name="connsiteX0" fmla="*/ 85725 w 381000"/>
                <a:gd name="connsiteY0" fmla="*/ 38100 h 514350"/>
                <a:gd name="connsiteX1" fmla="*/ 85725 w 381000"/>
                <a:gd name="connsiteY1" fmla="*/ 57150 h 514350"/>
                <a:gd name="connsiteX2" fmla="*/ 121920 w 381000"/>
                <a:gd name="connsiteY2" fmla="*/ 95250 h 514350"/>
                <a:gd name="connsiteX3" fmla="*/ 123825 w 381000"/>
                <a:gd name="connsiteY3" fmla="*/ 95250 h 514350"/>
                <a:gd name="connsiteX4" fmla="*/ 257175 w 381000"/>
                <a:gd name="connsiteY4" fmla="*/ 95250 h 514350"/>
                <a:gd name="connsiteX5" fmla="*/ 295275 w 381000"/>
                <a:gd name="connsiteY5" fmla="*/ 59055 h 514350"/>
                <a:gd name="connsiteX6" fmla="*/ 295275 w 381000"/>
                <a:gd name="connsiteY6" fmla="*/ 57150 h 514350"/>
                <a:gd name="connsiteX7" fmla="*/ 295275 w 381000"/>
                <a:gd name="connsiteY7" fmla="*/ 38100 h 514350"/>
                <a:gd name="connsiteX8" fmla="*/ 352425 w 381000"/>
                <a:gd name="connsiteY8" fmla="*/ 38100 h 514350"/>
                <a:gd name="connsiteX9" fmla="*/ 381000 w 381000"/>
                <a:gd name="connsiteY9" fmla="*/ 66675 h 514350"/>
                <a:gd name="connsiteX10" fmla="*/ 381000 w 381000"/>
                <a:gd name="connsiteY10" fmla="*/ 485775 h 514350"/>
                <a:gd name="connsiteX11" fmla="*/ 352425 w 381000"/>
                <a:gd name="connsiteY11" fmla="*/ 514350 h 514350"/>
                <a:gd name="connsiteX12" fmla="*/ 28575 w 381000"/>
                <a:gd name="connsiteY12" fmla="*/ 514350 h 514350"/>
                <a:gd name="connsiteX13" fmla="*/ 0 w 381000"/>
                <a:gd name="connsiteY13" fmla="*/ 485775 h 514350"/>
                <a:gd name="connsiteX14" fmla="*/ 0 w 381000"/>
                <a:gd name="connsiteY14" fmla="*/ 66675 h 514350"/>
                <a:gd name="connsiteX15" fmla="*/ 28575 w 381000"/>
                <a:gd name="connsiteY15" fmla="*/ 38100 h 514350"/>
                <a:gd name="connsiteX16" fmla="*/ 85725 w 381000"/>
                <a:gd name="connsiteY16" fmla="*/ 38100 h 514350"/>
                <a:gd name="connsiteX17" fmla="*/ 190500 w 381000"/>
                <a:gd name="connsiteY17" fmla="*/ 333375 h 514350"/>
                <a:gd name="connsiteX18" fmla="*/ 76200 w 381000"/>
                <a:gd name="connsiteY18" fmla="*/ 333375 h 514350"/>
                <a:gd name="connsiteX19" fmla="*/ 76200 w 381000"/>
                <a:gd name="connsiteY19" fmla="*/ 352425 h 514350"/>
                <a:gd name="connsiteX20" fmla="*/ 190500 w 381000"/>
                <a:gd name="connsiteY20" fmla="*/ 352425 h 514350"/>
                <a:gd name="connsiteX21" fmla="*/ 190500 w 381000"/>
                <a:gd name="connsiteY21" fmla="*/ 333375 h 514350"/>
                <a:gd name="connsiteX22" fmla="*/ 304800 w 381000"/>
                <a:gd name="connsiteY22" fmla="*/ 257175 h 514350"/>
                <a:gd name="connsiteX23" fmla="*/ 76200 w 381000"/>
                <a:gd name="connsiteY23" fmla="*/ 257175 h 514350"/>
                <a:gd name="connsiteX24" fmla="*/ 76200 w 381000"/>
                <a:gd name="connsiteY24" fmla="*/ 276225 h 514350"/>
                <a:gd name="connsiteX25" fmla="*/ 304800 w 381000"/>
                <a:gd name="connsiteY25" fmla="*/ 276225 h 514350"/>
                <a:gd name="connsiteX26" fmla="*/ 304800 w 381000"/>
                <a:gd name="connsiteY26" fmla="*/ 257175 h 514350"/>
                <a:gd name="connsiteX27" fmla="*/ 304800 w 381000"/>
                <a:gd name="connsiteY27" fmla="*/ 180975 h 514350"/>
                <a:gd name="connsiteX28" fmla="*/ 76200 w 381000"/>
                <a:gd name="connsiteY28" fmla="*/ 180975 h 514350"/>
                <a:gd name="connsiteX29" fmla="*/ 76200 w 381000"/>
                <a:gd name="connsiteY29" fmla="*/ 200025 h 514350"/>
                <a:gd name="connsiteX30" fmla="*/ 304800 w 381000"/>
                <a:gd name="connsiteY30" fmla="*/ 200025 h 514350"/>
                <a:gd name="connsiteX31" fmla="*/ 304800 w 381000"/>
                <a:gd name="connsiteY31" fmla="*/ 180975 h 514350"/>
                <a:gd name="connsiteX32" fmla="*/ 247650 w 381000"/>
                <a:gd name="connsiteY32" fmla="*/ 0 h 514350"/>
                <a:gd name="connsiteX33" fmla="*/ 276225 w 381000"/>
                <a:gd name="connsiteY33" fmla="*/ 28575 h 514350"/>
                <a:gd name="connsiteX34" fmla="*/ 276225 w 381000"/>
                <a:gd name="connsiteY34" fmla="*/ 47625 h 514350"/>
                <a:gd name="connsiteX35" fmla="*/ 247650 w 381000"/>
                <a:gd name="connsiteY35" fmla="*/ 76200 h 514350"/>
                <a:gd name="connsiteX36" fmla="*/ 133350 w 381000"/>
                <a:gd name="connsiteY36" fmla="*/ 76200 h 514350"/>
                <a:gd name="connsiteX37" fmla="*/ 104775 w 381000"/>
                <a:gd name="connsiteY37" fmla="*/ 47625 h 514350"/>
                <a:gd name="connsiteX38" fmla="*/ 104775 w 381000"/>
                <a:gd name="connsiteY38" fmla="*/ 28575 h 514350"/>
                <a:gd name="connsiteX39" fmla="*/ 133350 w 381000"/>
                <a:gd name="connsiteY39" fmla="*/ 0 h 514350"/>
                <a:gd name="connsiteX40" fmla="*/ 247650 w 381000"/>
                <a:gd name="connsiteY40" fmla="*/ 0 h 514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81000" h="514350">
                  <a:moveTo>
                    <a:pt x="85725" y="38100"/>
                  </a:moveTo>
                  <a:lnTo>
                    <a:pt x="85725" y="57150"/>
                  </a:lnTo>
                  <a:cubicBezTo>
                    <a:pt x="85725" y="77534"/>
                    <a:pt x="101727" y="94202"/>
                    <a:pt x="121920" y="95250"/>
                  </a:cubicBezTo>
                  <a:lnTo>
                    <a:pt x="123825" y="95250"/>
                  </a:lnTo>
                  <a:lnTo>
                    <a:pt x="257175" y="95250"/>
                  </a:lnTo>
                  <a:cubicBezTo>
                    <a:pt x="277559" y="95250"/>
                    <a:pt x="294227" y="79248"/>
                    <a:pt x="295275" y="59055"/>
                  </a:cubicBezTo>
                  <a:lnTo>
                    <a:pt x="295275" y="57150"/>
                  </a:lnTo>
                  <a:lnTo>
                    <a:pt x="295275" y="38100"/>
                  </a:lnTo>
                  <a:lnTo>
                    <a:pt x="352425" y="38100"/>
                  </a:lnTo>
                  <a:cubicBezTo>
                    <a:pt x="368236" y="38100"/>
                    <a:pt x="381000" y="50864"/>
                    <a:pt x="381000" y="66675"/>
                  </a:cubicBezTo>
                  <a:lnTo>
                    <a:pt x="381000" y="485775"/>
                  </a:lnTo>
                  <a:cubicBezTo>
                    <a:pt x="381000" y="501587"/>
                    <a:pt x="368236" y="514350"/>
                    <a:pt x="352425" y="514350"/>
                  </a:cubicBezTo>
                  <a:lnTo>
                    <a:pt x="28575" y="514350"/>
                  </a:lnTo>
                  <a:cubicBezTo>
                    <a:pt x="12764" y="514350"/>
                    <a:pt x="0" y="501587"/>
                    <a:pt x="0" y="485775"/>
                  </a:cubicBezTo>
                  <a:lnTo>
                    <a:pt x="0" y="66675"/>
                  </a:lnTo>
                  <a:cubicBezTo>
                    <a:pt x="0" y="50864"/>
                    <a:pt x="12764" y="38100"/>
                    <a:pt x="28575" y="38100"/>
                  </a:cubicBezTo>
                  <a:lnTo>
                    <a:pt x="85725" y="38100"/>
                  </a:lnTo>
                  <a:close/>
                  <a:moveTo>
                    <a:pt x="190500" y="333375"/>
                  </a:moveTo>
                  <a:lnTo>
                    <a:pt x="76200" y="333375"/>
                  </a:lnTo>
                  <a:lnTo>
                    <a:pt x="76200" y="352425"/>
                  </a:lnTo>
                  <a:lnTo>
                    <a:pt x="190500" y="352425"/>
                  </a:lnTo>
                  <a:lnTo>
                    <a:pt x="190500" y="333375"/>
                  </a:lnTo>
                  <a:close/>
                  <a:moveTo>
                    <a:pt x="304800" y="257175"/>
                  </a:moveTo>
                  <a:lnTo>
                    <a:pt x="76200" y="257175"/>
                  </a:lnTo>
                  <a:lnTo>
                    <a:pt x="76200" y="276225"/>
                  </a:lnTo>
                  <a:lnTo>
                    <a:pt x="304800" y="276225"/>
                  </a:lnTo>
                  <a:lnTo>
                    <a:pt x="304800" y="257175"/>
                  </a:lnTo>
                  <a:close/>
                  <a:moveTo>
                    <a:pt x="304800" y="180975"/>
                  </a:moveTo>
                  <a:lnTo>
                    <a:pt x="76200" y="180975"/>
                  </a:lnTo>
                  <a:lnTo>
                    <a:pt x="76200" y="200025"/>
                  </a:lnTo>
                  <a:lnTo>
                    <a:pt x="304800" y="200025"/>
                  </a:lnTo>
                  <a:lnTo>
                    <a:pt x="304800" y="180975"/>
                  </a:lnTo>
                  <a:close/>
                  <a:moveTo>
                    <a:pt x="247650" y="0"/>
                  </a:moveTo>
                  <a:cubicBezTo>
                    <a:pt x="263461" y="0"/>
                    <a:pt x="276225" y="12763"/>
                    <a:pt x="276225" y="28575"/>
                  </a:cubicBezTo>
                  <a:lnTo>
                    <a:pt x="276225" y="47625"/>
                  </a:lnTo>
                  <a:cubicBezTo>
                    <a:pt x="276225" y="63437"/>
                    <a:pt x="263461" y="76200"/>
                    <a:pt x="247650" y="76200"/>
                  </a:cubicBezTo>
                  <a:lnTo>
                    <a:pt x="133350" y="76200"/>
                  </a:lnTo>
                  <a:cubicBezTo>
                    <a:pt x="117539" y="76200"/>
                    <a:pt x="104775" y="63437"/>
                    <a:pt x="104775" y="47625"/>
                  </a:cubicBezTo>
                  <a:lnTo>
                    <a:pt x="104775" y="28575"/>
                  </a:lnTo>
                  <a:cubicBezTo>
                    <a:pt x="104775" y="12763"/>
                    <a:pt x="117539" y="0"/>
                    <a:pt x="133350" y="0"/>
                  </a:cubicBezTo>
                  <a:lnTo>
                    <a:pt x="247650" y="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49" name="išlîḑê">
              <a:extLst>
                <a:ext uri="{FF2B5EF4-FFF2-40B4-BE49-F238E27FC236}">
                  <a16:creationId xmlns:a16="http://schemas.microsoft.com/office/drawing/2014/main" id="{72D25439-D56C-4F81-9BB5-73C83474641F}"/>
                </a:ext>
              </a:extLst>
            </p:cNvPr>
            <p:cNvSpPr/>
            <p:nvPr/>
          </p:nvSpPr>
          <p:spPr bwMode="auto">
            <a:xfrm flipH="1">
              <a:off x="10652363" y="1837360"/>
              <a:ext cx="456218" cy="415484"/>
            </a:xfrm>
            <a:custGeom>
              <a:avLst/>
              <a:gdLst>
                <a:gd name="connsiteX0" fmla="*/ 123825 w 533400"/>
                <a:gd name="connsiteY0" fmla="*/ 228600 h 485775"/>
                <a:gd name="connsiteX1" fmla="*/ 123825 w 533400"/>
                <a:gd name="connsiteY1" fmla="*/ 276225 h 485775"/>
                <a:gd name="connsiteX2" fmla="*/ 142875 w 533400"/>
                <a:gd name="connsiteY2" fmla="*/ 276225 h 485775"/>
                <a:gd name="connsiteX3" fmla="*/ 142875 w 533400"/>
                <a:gd name="connsiteY3" fmla="*/ 228600 h 485775"/>
                <a:gd name="connsiteX4" fmla="*/ 390525 w 533400"/>
                <a:gd name="connsiteY4" fmla="*/ 228600 h 485775"/>
                <a:gd name="connsiteX5" fmla="*/ 390525 w 533400"/>
                <a:gd name="connsiteY5" fmla="*/ 276225 h 485775"/>
                <a:gd name="connsiteX6" fmla="*/ 409575 w 533400"/>
                <a:gd name="connsiteY6" fmla="*/ 276225 h 485775"/>
                <a:gd name="connsiteX7" fmla="*/ 409575 w 533400"/>
                <a:gd name="connsiteY7" fmla="*/ 228600 h 485775"/>
                <a:gd name="connsiteX8" fmla="*/ 533400 w 533400"/>
                <a:gd name="connsiteY8" fmla="*/ 228600 h 485775"/>
                <a:gd name="connsiteX9" fmla="*/ 533400 w 533400"/>
                <a:gd name="connsiteY9" fmla="*/ 457200 h 485775"/>
                <a:gd name="connsiteX10" fmla="*/ 504825 w 533400"/>
                <a:gd name="connsiteY10" fmla="*/ 485775 h 485775"/>
                <a:gd name="connsiteX11" fmla="*/ 28575 w 533400"/>
                <a:gd name="connsiteY11" fmla="*/ 485775 h 485775"/>
                <a:gd name="connsiteX12" fmla="*/ 0 w 533400"/>
                <a:gd name="connsiteY12" fmla="*/ 457200 h 485775"/>
                <a:gd name="connsiteX13" fmla="*/ 0 w 533400"/>
                <a:gd name="connsiteY13" fmla="*/ 228600 h 485775"/>
                <a:gd name="connsiteX14" fmla="*/ 123825 w 533400"/>
                <a:gd name="connsiteY14" fmla="*/ 228600 h 485775"/>
                <a:gd name="connsiteX15" fmla="*/ 371475 w 533400"/>
                <a:gd name="connsiteY15" fmla="*/ 0 h 485775"/>
                <a:gd name="connsiteX16" fmla="*/ 409575 w 533400"/>
                <a:gd name="connsiteY16" fmla="*/ 36195 h 485775"/>
                <a:gd name="connsiteX17" fmla="*/ 409575 w 533400"/>
                <a:gd name="connsiteY17" fmla="*/ 38100 h 485775"/>
                <a:gd name="connsiteX18" fmla="*/ 409575 w 533400"/>
                <a:gd name="connsiteY18" fmla="*/ 114300 h 485775"/>
                <a:gd name="connsiteX19" fmla="*/ 504825 w 533400"/>
                <a:gd name="connsiteY19" fmla="*/ 114300 h 485775"/>
                <a:gd name="connsiteX20" fmla="*/ 533400 w 533400"/>
                <a:gd name="connsiteY20" fmla="*/ 142875 h 485775"/>
                <a:gd name="connsiteX21" fmla="*/ 533400 w 533400"/>
                <a:gd name="connsiteY21" fmla="*/ 209550 h 485775"/>
                <a:gd name="connsiteX22" fmla="*/ 0 w 533400"/>
                <a:gd name="connsiteY22" fmla="*/ 209550 h 485775"/>
                <a:gd name="connsiteX23" fmla="*/ 0 w 533400"/>
                <a:gd name="connsiteY23" fmla="*/ 142875 h 485775"/>
                <a:gd name="connsiteX24" fmla="*/ 28575 w 533400"/>
                <a:gd name="connsiteY24" fmla="*/ 114300 h 485775"/>
                <a:gd name="connsiteX25" fmla="*/ 123825 w 533400"/>
                <a:gd name="connsiteY25" fmla="*/ 114300 h 485775"/>
                <a:gd name="connsiteX26" fmla="*/ 123825 w 533400"/>
                <a:gd name="connsiteY26" fmla="*/ 38100 h 485775"/>
                <a:gd name="connsiteX27" fmla="*/ 160020 w 533400"/>
                <a:gd name="connsiteY27" fmla="*/ 0 h 485775"/>
                <a:gd name="connsiteX28" fmla="*/ 161925 w 533400"/>
                <a:gd name="connsiteY28" fmla="*/ 0 h 485775"/>
                <a:gd name="connsiteX29" fmla="*/ 371475 w 533400"/>
                <a:gd name="connsiteY29" fmla="*/ 0 h 485775"/>
                <a:gd name="connsiteX30" fmla="*/ 371475 w 533400"/>
                <a:gd name="connsiteY30" fmla="*/ 19050 h 485775"/>
                <a:gd name="connsiteX31" fmla="*/ 161925 w 533400"/>
                <a:gd name="connsiteY31" fmla="*/ 19050 h 485775"/>
                <a:gd name="connsiteX32" fmla="*/ 142970 w 533400"/>
                <a:gd name="connsiteY32" fmla="*/ 36671 h 485775"/>
                <a:gd name="connsiteX33" fmla="*/ 142875 w 533400"/>
                <a:gd name="connsiteY33" fmla="*/ 38100 h 485775"/>
                <a:gd name="connsiteX34" fmla="*/ 142875 w 533400"/>
                <a:gd name="connsiteY34" fmla="*/ 114300 h 485775"/>
                <a:gd name="connsiteX35" fmla="*/ 390525 w 533400"/>
                <a:gd name="connsiteY35" fmla="*/ 114300 h 485775"/>
                <a:gd name="connsiteX36" fmla="*/ 390525 w 533400"/>
                <a:gd name="connsiteY36" fmla="*/ 38100 h 485775"/>
                <a:gd name="connsiteX37" fmla="*/ 374333 w 533400"/>
                <a:gd name="connsiteY37" fmla="*/ 19241 h 485775"/>
                <a:gd name="connsiteX38" fmla="*/ 372904 w 533400"/>
                <a:gd name="connsiteY38" fmla="*/ 19050 h 485775"/>
                <a:gd name="connsiteX39" fmla="*/ 371475 w 533400"/>
                <a:gd name="connsiteY39" fmla="*/ 19050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533400" h="485775">
                  <a:moveTo>
                    <a:pt x="123825" y="228600"/>
                  </a:moveTo>
                  <a:lnTo>
                    <a:pt x="123825" y="276225"/>
                  </a:lnTo>
                  <a:lnTo>
                    <a:pt x="142875" y="276225"/>
                  </a:lnTo>
                  <a:lnTo>
                    <a:pt x="142875" y="228600"/>
                  </a:lnTo>
                  <a:lnTo>
                    <a:pt x="390525" y="228600"/>
                  </a:lnTo>
                  <a:lnTo>
                    <a:pt x="390525" y="276225"/>
                  </a:lnTo>
                  <a:lnTo>
                    <a:pt x="409575" y="276225"/>
                  </a:lnTo>
                  <a:lnTo>
                    <a:pt x="409575" y="228600"/>
                  </a:lnTo>
                  <a:lnTo>
                    <a:pt x="533400" y="228600"/>
                  </a:lnTo>
                  <a:lnTo>
                    <a:pt x="533400" y="457200"/>
                  </a:lnTo>
                  <a:cubicBezTo>
                    <a:pt x="533400" y="473012"/>
                    <a:pt x="520637" y="485775"/>
                    <a:pt x="504825" y="485775"/>
                  </a:cubicBezTo>
                  <a:lnTo>
                    <a:pt x="28575" y="485775"/>
                  </a:lnTo>
                  <a:cubicBezTo>
                    <a:pt x="12763" y="485775"/>
                    <a:pt x="0" y="473012"/>
                    <a:pt x="0" y="457200"/>
                  </a:cubicBezTo>
                  <a:lnTo>
                    <a:pt x="0" y="228600"/>
                  </a:lnTo>
                  <a:lnTo>
                    <a:pt x="123825" y="228600"/>
                  </a:lnTo>
                  <a:close/>
                  <a:moveTo>
                    <a:pt x="371475" y="0"/>
                  </a:moveTo>
                  <a:cubicBezTo>
                    <a:pt x="391859" y="0"/>
                    <a:pt x="408527" y="16002"/>
                    <a:pt x="409575" y="36195"/>
                  </a:cubicBezTo>
                  <a:lnTo>
                    <a:pt x="409575" y="38100"/>
                  </a:lnTo>
                  <a:lnTo>
                    <a:pt x="409575" y="114300"/>
                  </a:lnTo>
                  <a:lnTo>
                    <a:pt x="504825" y="114300"/>
                  </a:lnTo>
                  <a:cubicBezTo>
                    <a:pt x="520637" y="114300"/>
                    <a:pt x="533400" y="127064"/>
                    <a:pt x="533400" y="142875"/>
                  </a:cubicBezTo>
                  <a:lnTo>
                    <a:pt x="533400" y="209550"/>
                  </a:lnTo>
                  <a:lnTo>
                    <a:pt x="0" y="209550"/>
                  </a:lnTo>
                  <a:lnTo>
                    <a:pt x="0" y="142875"/>
                  </a:lnTo>
                  <a:cubicBezTo>
                    <a:pt x="0" y="127064"/>
                    <a:pt x="12763" y="114300"/>
                    <a:pt x="28575" y="114300"/>
                  </a:cubicBezTo>
                  <a:lnTo>
                    <a:pt x="123825" y="114300"/>
                  </a:lnTo>
                  <a:lnTo>
                    <a:pt x="123825" y="38100"/>
                  </a:lnTo>
                  <a:cubicBezTo>
                    <a:pt x="123825" y="17716"/>
                    <a:pt x="139828" y="1048"/>
                    <a:pt x="160020" y="0"/>
                  </a:cubicBezTo>
                  <a:lnTo>
                    <a:pt x="161925" y="0"/>
                  </a:lnTo>
                  <a:lnTo>
                    <a:pt x="371475" y="0"/>
                  </a:lnTo>
                  <a:close/>
                  <a:moveTo>
                    <a:pt x="371475" y="19050"/>
                  </a:moveTo>
                  <a:lnTo>
                    <a:pt x="161925" y="19050"/>
                  </a:lnTo>
                  <a:cubicBezTo>
                    <a:pt x="151923" y="19050"/>
                    <a:pt x="143637" y="26861"/>
                    <a:pt x="142970" y="36671"/>
                  </a:cubicBezTo>
                  <a:lnTo>
                    <a:pt x="142875" y="38100"/>
                  </a:lnTo>
                  <a:lnTo>
                    <a:pt x="142875" y="114300"/>
                  </a:lnTo>
                  <a:lnTo>
                    <a:pt x="390525" y="114300"/>
                  </a:lnTo>
                  <a:lnTo>
                    <a:pt x="390525" y="38100"/>
                  </a:lnTo>
                  <a:cubicBezTo>
                    <a:pt x="390525" y="28575"/>
                    <a:pt x="383477" y="20669"/>
                    <a:pt x="374333" y="19241"/>
                  </a:cubicBezTo>
                  <a:lnTo>
                    <a:pt x="372904" y="19050"/>
                  </a:lnTo>
                  <a:lnTo>
                    <a:pt x="371475" y="1905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grpSp>
          <p:nvGrpSpPr>
            <p:cNvPr id="150" name="iśḻïḍé">
              <a:extLst>
                <a:ext uri="{FF2B5EF4-FFF2-40B4-BE49-F238E27FC236}">
                  <a16:creationId xmlns:a16="http://schemas.microsoft.com/office/drawing/2014/main" id="{49683A13-5A39-4B86-AD57-A1875B94B44F}"/>
                </a:ext>
              </a:extLst>
            </p:cNvPr>
            <p:cNvGrpSpPr/>
            <p:nvPr/>
          </p:nvGrpSpPr>
          <p:grpSpPr>
            <a:xfrm flipH="1">
              <a:off x="6078791" y="1916726"/>
              <a:ext cx="3632195" cy="775197"/>
              <a:chOff x="5130801" y="2820874"/>
              <a:chExt cx="3632195" cy="775197"/>
            </a:xfrm>
          </p:grpSpPr>
          <p:sp>
            <p:nvSpPr>
              <p:cNvPr id="163" name="ïšļiḓe">
                <a:extLst>
                  <a:ext uri="{FF2B5EF4-FFF2-40B4-BE49-F238E27FC236}">
                    <a16:creationId xmlns:a16="http://schemas.microsoft.com/office/drawing/2014/main" id="{88C73A7C-2AC0-4916-9B9E-14713435F298}"/>
                  </a:ext>
                </a:extLst>
              </p:cNvPr>
              <p:cNvSpPr/>
              <p:nvPr/>
            </p:nvSpPr>
            <p:spPr bwMode="auto">
              <a:xfrm>
                <a:off x="5130801" y="3208473"/>
                <a:ext cx="3632195" cy="3875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>
                    <a:solidFill>
                      <a:schemeClr val="bg1"/>
                    </a:solidFill>
                  </a:rPr>
                  <a:t>Copy paste fonts. Choose the only option to retain text.</a:t>
                </a:r>
              </a:p>
            </p:txBody>
          </p:sp>
          <p:sp>
            <p:nvSpPr>
              <p:cNvPr id="164" name="ïşľíďe">
                <a:extLst>
                  <a:ext uri="{FF2B5EF4-FFF2-40B4-BE49-F238E27FC236}">
                    <a16:creationId xmlns:a16="http://schemas.microsoft.com/office/drawing/2014/main" id="{E33556AC-9B01-4C4E-953D-C1DB6B623386}"/>
                  </a:ext>
                </a:extLst>
              </p:cNvPr>
              <p:cNvSpPr txBox="1"/>
              <p:nvPr/>
            </p:nvSpPr>
            <p:spPr bwMode="auto">
              <a:xfrm>
                <a:off x="5130801" y="2820874"/>
                <a:ext cx="3632195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>
                    <a:solidFill>
                      <a:schemeClr val="bg1"/>
                    </a:solidFill>
                  </a:rPr>
                  <a:t>Text here</a:t>
                </a:r>
              </a:p>
            </p:txBody>
          </p:sp>
        </p:grpSp>
        <p:grpSp>
          <p:nvGrpSpPr>
            <p:cNvPr id="151" name="îṩḷiḍe">
              <a:extLst>
                <a:ext uri="{FF2B5EF4-FFF2-40B4-BE49-F238E27FC236}">
                  <a16:creationId xmlns:a16="http://schemas.microsoft.com/office/drawing/2014/main" id="{64452C52-6D90-458C-B809-A1268751C2E3}"/>
                </a:ext>
              </a:extLst>
            </p:cNvPr>
            <p:cNvGrpSpPr/>
            <p:nvPr/>
          </p:nvGrpSpPr>
          <p:grpSpPr>
            <a:xfrm flipH="1">
              <a:off x="6078791" y="2804112"/>
              <a:ext cx="3632195" cy="775197"/>
              <a:chOff x="5130801" y="2820874"/>
              <a:chExt cx="3632195" cy="775197"/>
            </a:xfrm>
          </p:grpSpPr>
          <p:sp>
            <p:nvSpPr>
              <p:cNvPr id="161" name="îṩḷîďe">
                <a:extLst>
                  <a:ext uri="{FF2B5EF4-FFF2-40B4-BE49-F238E27FC236}">
                    <a16:creationId xmlns:a16="http://schemas.microsoft.com/office/drawing/2014/main" id="{9ABAA980-019F-4FB6-9BB8-17CD267837DD}"/>
                  </a:ext>
                </a:extLst>
              </p:cNvPr>
              <p:cNvSpPr/>
              <p:nvPr/>
            </p:nvSpPr>
            <p:spPr bwMode="auto">
              <a:xfrm>
                <a:off x="5130801" y="3208473"/>
                <a:ext cx="3632195" cy="3875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</p:txBody>
          </p:sp>
          <p:sp>
            <p:nvSpPr>
              <p:cNvPr id="162" name="ïsḻiḓè">
                <a:extLst>
                  <a:ext uri="{FF2B5EF4-FFF2-40B4-BE49-F238E27FC236}">
                    <a16:creationId xmlns:a16="http://schemas.microsoft.com/office/drawing/2014/main" id="{D54280D7-0BB0-409F-B2E6-7A8E94F515DB}"/>
                  </a:ext>
                </a:extLst>
              </p:cNvPr>
              <p:cNvSpPr txBox="1"/>
              <p:nvPr/>
            </p:nvSpPr>
            <p:spPr bwMode="auto">
              <a:xfrm>
                <a:off x="5130801" y="2820874"/>
                <a:ext cx="3632195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152" name="îş1idè">
              <a:extLst>
                <a:ext uri="{FF2B5EF4-FFF2-40B4-BE49-F238E27FC236}">
                  <a16:creationId xmlns:a16="http://schemas.microsoft.com/office/drawing/2014/main" id="{5C2DD7C0-DDDB-4243-915A-C037CD602357}"/>
                </a:ext>
              </a:extLst>
            </p:cNvPr>
            <p:cNvGrpSpPr/>
            <p:nvPr/>
          </p:nvGrpSpPr>
          <p:grpSpPr>
            <a:xfrm flipH="1">
              <a:off x="6078791" y="3690004"/>
              <a:ext cx="3632195" cy="775197"/>
              <a:chOff x="5130801" y="2820874"/>
              <a:chExt cx="3632195" cy="775197"/>
            </a:xfrm>
          </p:grpSpPr>
          <p:sp>
            <p:nvSpPr>
              <p:cNvPr id="159" name="ïṧḻîďe">
                <a:extLst>
                  <a:ext uri="{FF2B5EF4-FFF2-40B4-BE49-F238E27FC236}">
                    <a16:creationId xmlns:a16="http://schemas.microsoft.com/office/drawing/2014/main" id="{4999D274-6FE4-4C0B-B98E-FB28879A5FDD}"/>
                  </a:ext>
                </a:extLst>
              </p:cNvPr>
              <p:cNvSpPr/>
              <p:nvPr/>
            </p:nvSpPr>
            <p:spPr bwMode="auto">
              <a:xfrm>
                <a:off x="5130801" y="3208473"/>
                <a:ext cx="3632195" cy="3875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>
                    <a:solidFill>
                      <a:schemeClr val="bg1"/>
                    </a:solidFill>
                  </a:rPr>
                  <a:t>Copy paste fonts. Choose the only option to retain text.</a:t>
                </a:r>
              </a:p>
            </p:txBody>
          </p:sp>
          <p:sp>
            <p:nvSpPr>
              <p:cNvPr id="160" name="íṣḻiďe">
                <a:extLst>
                  <a:ext uri="{FF2B5EF4-FFF2-40B4-BE49-F238E27FC236}">
                    <a16:creationId xmlns:a16="http://schemas.microsoft.com/office/drawing/2014/main" id="{F8ED7A3A-B41B-4F77-8BFF-04E7356C585A}"/>
                  </a:ext>
                </a:extLst>
              </p:cNvPr>
              <p:cNvSpPr txBox="1"/>
              <p:nvPr/>
            </p:nvSpPr>
            <p:spPr bwMode="auto">
              <a:xfrm>
                <a:off x="5130801" y="2820874"/>
                <a:ext cx="3632195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>
                    <a:solidFill>
                      <a:schemeClr val="bg1"/>
                    </a:solidFill>
                  </a:rPr>
                  <a:t>Text here</a:t>
                </a:r>
              </a:p>
            </p:txBody>
          </p:sp>
        </p:grpSp>
        <p:grpSp>
          <p:nvGrpSpPr>
            <p:cNvPr id="153" name="isḻïḋê">
              <a:extLst>
                <a:ext uri="{FF2B5EF4-FFF2-40B4-BE49-F238E27FC236}">
                  <a16:creationId xmlns:a16="http://schemas.microsoft.com/office/drawing/2014/main" id="{68C7E68F-C582-405B-AC27-4C3E64EA8979}"/>
                </a:ext>
              </a:extLst>
            </p:cNvPr>
            <p:cNvGrpSpPr/>
            <p:nvPr/>
          </p:nvGrpSpPr>
          <p:grpSpPr>
            <a:xfrm flipH="1">
              <a:off x="6078791" y="4579917"/>
              <a:ext cx="3632195" cy="775197"/>
              <a:chOff x="5130801" y="2820874"/>
              <a:chExt cx="3632195" cy="775197"/>
            </a:xfrm>
          </p:grpSpPr>
          <p:sp>
            <p:nvSpPr>
              <p:cNvPr id="157" name="ïsḻíḍé">
                <a:extLst>
                  <a:ext uri="{FF2B5EF4-FFF2-40B4-BE49-F238E27FC236}">
                    <a16:creationId xmlns:a16="http://schemas.microsoft.com/office/drawing/2014/main" id="{9A79ADF6-C652-4364-B022-80F6A41AF579}"/>
                  </a:ext>
                </a:extLst>
              </p:cNvPr>
              <p:cNvSpPr/>
              <p:nvPr/>
            </p:nvSpPr>
            <p:spPr bwMode="auto">
              <a:xfrm>
                <a:off x="5130801" y="3208473"/>
                <a:ext cx="3632195" cy="3875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</p:txBody>
          </p:sp>
          <p:sp>
            <p:nvSpPr>
              <p:cNvPr id="158" name="iŝlïďê">
                <a:extLst>
                  <a:ext uri="{FF2B5EF4-FFF2-40B4-BE49-F238E27FC236}">
                    <a16:creationId xmlns:a16="http://schemas.microsoft.com/office/drawing/2014/main" id="{5484F7FE-F743-4A15-987A-D5671B56C5C1}"/>
                  </a:ext>
                </a:extLst>
              </p:cNvPr>
              <p:cNvSpPr txBox="1"/>
              <p:nvPr/>
            </p:nvSpPr>
            <p:spPr bwMode="auto">
              <a:xfrm>
                <a:off x="5130801" y="2820874"/>
                <a:ext cx="3632195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154" name="ïṣľíḋé">
              <a:extLst>
                <a:ext uri="{FF2B5EF4-FFF2-40B4-BE49-F238E27FC236}">
                  <a16:creationId xmlns:a16="http://schemas.microsoft.com/office/drawing/2014/main" id="{6CFE5BE8-376B-4EA4-930B-D9A644B26A08}"/>
                </a:ext>
              </a:extLst>
            </p:cNvPr>
            <p:cNvGrpSpPr/>
            <p:nvPr/>
          </p:nvGrpSpPr>
          <p:grpSpPr>
            <a:xfrm>
              <a:off x="669925" y="2692550"/>
              <a:ext cx="3477025" cy="1773518"/>
              <a:chOff x="669925" y="2096444"/>
              <a:chExt cx="3864753" cy="1773518"/>
            </a:xfrm>
          </p:grpSpPr>
          <p:sp>
            <p:nvSpPr>
              <p:cNvPr id="155" name="işļîḋè">
                <a:extLst>
                  <a:ext uri="{FF2B5EF4-FFF2-40B4-BE49-F238E27FC236}">
                    <a16:creationId xmlns:a16="http://schemas.microsoft.com/office/drawing/2014/main" id="{9BE404E0-B65D-4642-B9F5-D8267C36001C}"/>
                  </a:ext>
                </a:extLst>
              </p:cNvPr>
              <p:cNvSpPr/>
              <p:nvPr/>
            </p:nvSpPr>
            <p:spPr>
              <a:xfrm>
                <a:off x="669925" y="2538249"/>
                <a:ext cx="3864753" cy="133171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Unified fonts make reading more fluent.</a:t>
                </a:r>
              </a:p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Theme color makes PPT more convenient to change.</a:t>
                </a:r>
              </a:p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Adjust the spacing to adapt to Chinese typesetting, use the reference line in PPT.</a:t>
                </a:r>
              </a:p>
            </p:txBody>
          </p:sp>
          <p:sp>
            <p:nvSpPr>
              <p:cNvPr id="156" name="íṥ1ïďé">
                <a:extLst>
                  <a:ext uri="{FF2B5EF4-FFF2-40B4-BE49-F238E27FC236}">
                    <a16:creationId xmlns:a16="http://schemas.microsoft.com/office/drawing/2014/main" id="{3A292CCD-7C25-47A4-BCA9-D74E5937676D}"/>
                  </a:ext>
                </a:extLst>
              </p:cNvPr>
              <p:cNvSpPr txBox="1"/>
              <p:nvPr/>
            </p:nvSpPr>
            <p:spPr bwMode="auto">
              <a:xfrm>
                <a:off x="669925" y="2096444"/>
                <a:ext cx="3864753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373980326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ṧḷid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îṩľiḍe">
            <a:extLst>
              <a:ext uri="{FF2B5EF4-FFF2-40B4-BE49-F238E27FC236}">
                <a16:creationId xmlns:a16="http://schemas.microsoft.com/office/drawing/2014/main" id="{FDB29BC1-4301-427B-BEA9-919805ACD717}"/>
              </a:ext>
            </a:extLst>
          </p:cNvPr>
          <p:cNvSpPr/>
          <p:nvPr/>
        </p:nvSpPr>
        <p:spPr>
          <a:xfrm>
            <a:off x="1699110" y="1"/>
            <a:ext cx="9459879" cy="5718631"/>
          </a:xfrm>
          <a:custGeom>
            <a:avLst/>
            <a:gdLst>
              <a:gd name="connsiteX0" fmla="*/ 2684151 w 9459879"/>
              <a:gd name="connsiteY0" fmla="*/ 400825 h 5718631"/>
              <a:gd name="connsiteX1" fmla="*/ 4203399 w 9459879"/>
              <a:gd name="connsiteY1" fmla="*/ 1144281 h 5718631"/>
              <a:gd name="connsiteX2" fmla="*/ 5017970 w 9459879"/>
              <a:gd name="connsiteY2" fmla="*/ 1551572 h 5718631"/>
              <a:gd name="connsiteX3" fmla="*/ 3796107 w 9459879"/>
              <a:gd name="connsiteY3" fmla="*/ 3348798 h 5718631"/>
              <a:gd name="connsiteX4" fmla="*/ 9420539 w 9459879"/>
              <a:gd name="connsiteY4" fmla="*/ 1008524 h 5718631"/>
              <a:gd name="connsiteX5" fmla="*/ 7241882 w 9459879"/>
              <a:gd name="connsiteY5" fmla="*/ 2437250 h 5718631"/>
              <a:gd name="connsiteX6" fmla="*/ 8851631 w 9459879"/>
              <a:gd name="connsiteY6" fmla="*/ 2075214 h 5718631"/>
              <a:gd name="connsiteX7" fmla="*/ 7241882 w 9459879"/>
              <a:gd name="connsiteY7" fmla="*/ 2708774 h 5718631"/>
              <a:gd name="connsiteX8" fmla="*/ 7332394 w 9459879"/>
              <a:gd name="connsiteY8" fmla="*/ 2792820 h 5718631"/>
              <a:gd name="connsiteX9" fmla="*/ 8638293 w 9459879"/>
              <a:gd name="connsiteY9" fmla="*/ 2560087 h 5718631"/>
              <a:gd name="connsiteX10" fmla="*/ 983892 w 9459879"/>
              <a:gd name="connsiteY10" fmla="*/ 5708458 h 5718631"/>
              <a:gd name="connsiteX11" fmla="*/ 1237 w 9459879"/>
              <a:gd name="connsiteY11" fmla="*/ 5197735 h 5718631"/>
              <a:gd name="connsiteX12" fmla="*/ 1016217 w 9459879"/>
              <a:gd name="connsiteY12" fmla="*/ 3775475 h 5718631"/>
              <a:gd name="connsiteX13" fmla="*/ 3737932 w 9459879"/>
              <a:gd name="connsiteY13" fmla="*/ 1732585 h 5718631"/>
              <a:gd name="connsiteX14" fmla="*/ 2684151 w 9459879"/>
              <a:gd name="connsiteY14" fmla="*/ 400825 h 5718631"/>
              <a:gd name="connsiteX15" fmla="*/ 2943525 w 9459879"/>
              <a:gd name="connsiteY15" fmla="*/ 0 h 5718631"/>
              <a:gd name="connsiteX16" fmla="*/ 4133581 w 9459879"/>
              <a:gd name="connsiteY16" fmla="*/ 0 h 5718631"/>
              <a:gd name="connsiteX17" fmla="*/ 4061599 w 9459879"/>
              <a:gd name="connsiteY17" fmla="*/ 33526 h 5718631"/>
              <a:gd name="connsiteX18" fmla="*/ 3285385 w 9459879"/>
              <a:gd name="connsiteY18" fmla="*/ 892152 h 5718631"/>
              <a:gd name="connsiteX19" fmla="*/ 2941208 w 9459879"/>
              <a:gd name="connsiteY19" fmla="*/ 4046 h 5718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9459879" h="5718631">
                <a:moveTo>
                  <a:pt x="2684151" y="400825"/>
                </a:moveTo>
                <a:cubicBezTo>
                  <a:pt x="2878104" y="982664"/>
                  <a:pt x="2994466" y="1215397"/>
                  <a:pt x="4203399" y="1144281"/>
                </a:cubicBezTo>
                <a:cubicBezTo>
                  <a:pt x="5153738" y="1040839"/>
                  <a:pt x="5017970" y="1551572"/>
                  <a:pt x="5017970" y="1551572"/>
                </a:cubicBezTo>
                <a:cubicBezTo>
                  <a:pt x="3382362" y="2068760"/>
                  <a:pt x="1468764" y="4525395"/>
                  <a:pt x="3796107" y="3348798"/>
                </a:cubicBezTo>
                <a:cubicBezTo>
                  <a:pt x="4074097" y="3135450"/>
                  <a:pt x="9995913" y="743465"/>
                  <a:pt x="9420539" y="1008524"/>
                </a:cubicBezTo>
                <a:cubicBezTo>
                  <a:pt x="7422895" y="2243307"/>
                  <a:pt x="7241882" y="2437250"/>
                  <a:pt x="7241882" y="2437250"/>
                </a:cubicBezTo>
                <a:cubicBezTo>
                  <a:pt x="7241882" y="2437250"/>
                  <a:pt x="9291248" y="1907132"/>
                  <a:pt x="8851631" y="2075214"/>
                </a:cubicBezTo>
                <a:cubicBezTo>
                  <a:pt x="7946558" y="2450180"/>
                  <a:pt x="7429360" y="2624728"/>
                  <a:pt x="7241882" y="2708774"/>
                </a:cubicBezTo>
                <a:cubicBezTo>
                  <a:pt x="7119056" y="2760495"/>
                  <a:pt x="7144906" y="2818680"/>
                  <a:pt x="7332394" y="2792820"/>
                </a:cubicBezTo>
                <a:cubicBezTo>
                  <a:pt x="7539267" y="2766960"/>
                  <a:pt x="7881907" y="2715239"/>
                  <a:pt x="8638293" y="2560087"/>
                </a:cubicBezTo>
                <a:cubicBezTo>
                  <a:pt x="8638293" y="2560087"/>
                  <a:pt x="2179894" y="5721388"/>
                  <a:pt x="983892" y="5708458"/>
                </a:cubicBezTo>
                <a:cubicBezTo>
                  <a:pt x="350342" y="5773109"/>
                  <a:pt x="59423" y="5520980"/>
                  <a:pt x="1237" y="5197735"/>
                </a:cubicBezTo>
                <a:cubicBezTo>
                  <a:pt x="-31088" y="4790454"/>
                  <a:pt x="576611" y="4182755"/>
                  <a:pt x="1016217" y="3775475"/>
                </a:cubicBezTo>
                <a:cubicBezTo>
                  <a:pt x="1455834" y="3368183"/>
                  <a:pt x="3737932" y="1732585"/>
                  <a:pt x="3737932" y="1732585"/>
                </a:cubicBezTo>
                <a:cubicBezTo>
                  <a:pt x="2018277" y="1764910"/>
                  <a:pt x="2684151" y="400825"/>
                  <a:pt x="2684151" y="400825"/>
                </a:cubicBezTo>
                <a:close/>
                <a:moveTo>
                  <a:pt x="2943525" y="0"/>
                </a:moveTo>
                <a:lnTo>
                  <a:pt x="4133581" y="0"/>
                </a:lnTo>
                <a:lnTo>
                  <a:pt x="4061599" y="33526"/>
                </a:lnTo>
                <a:cubicBezTo>
                  <a:pt x="3703633" y="234911"/>
                  <a:pt x="3285385" y="892152"/>
                  <a:pt x="3285385" y="892152"/>
                </a:cubicBezTo>
                <a:cubicBezTo>
                  <a:pt x="2872445" y="688511"/>
                  <a:pt x="2801028" y="311632"/>
                  <a:pt x="2941208" y="4046"/>
                </a:cubicBezTo>
                <a:close/>
              </a:path>
            </a:pathLst>
          </a:custGeom>
          <a:solidFill>
            <a:schemeClr val="accent2">
              <a:alpha val="10000"/>
            </a:schemeClr>
          </a:solidFill>
          <a:ln w="1613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zh-CN" altLang="en-US"/>
          </a:p>
        </p:txBody>
      </p:sp>
      <p:graphicFrame>
        <p:nvGraphicFramePr>
          <p:cNvPr id="3" name="ïṡḷïḋè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îṧḻíḑe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śḻídê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îṡḷîḍe"/>
          <p:cNvSpPr>
            <a:spLocks noGrp="1"/>
          </p:cNvSpPr>
          <p:nvPr>
            <p:ph type="ctrTitle"/>
          </p:nvPr>
        </p:nvSpPr>
        <p:spPr>
          <a:xfrm>
            <a:off x="673100" y="2618245"/>
            <a:ext cx="10845798" cy="1621509"/>
          </a:xfrm>
        </p:spPr>
        <p:txBody>
          <a:bodyPr>
            <a:normAutofit fontScale="90000"/>
          </a:bodyPr>
          <a:lstStyle/>
          <a:p>
            <a:r>
              <a:rPr lang="en-US" altLang="zh-CN" sz="8000" dirty="0"/>
              <a:t>THANKS</a:t>
            </a:r>
            <a:br>
              <a:rPr lang="en-US" altLang="zh-CN" dirty="0"/>
            </a:br>
            <a:r>
              <a:rPr lang="en-US" altLang="zh-CN" dirty="0"/>
              <a:t>And Your Slogan Here</a:t>
            </a:r>
            <a:endParaRPr lang="zh-CN" altLang="en-US" dirty="0"/>
          </a:p>
        </p:txBody>
      </p:sp>
      <p:sp>
        <p:nvSpPr>
          <p:cNvPr id="4" name="iṧľíḓê">
            <a:extLst>
              <a:ext uri="{FF2B5EF4-FFF2-40B4-BE49-F238E27FC236}">
                <a16:creationId xmlns:a16="http://schemas.microsoft.com/office/drawing/2014/main" id="{C0800A32-98A4-40EC-BE86-29398DB41ED3}"/>
              </a:ext>
            </a:extLst>
          </p:cNvPr>
          <p:cNvSpPr txBox="1"/>
          <p:nvPr/>
        </p:nvSpPr>
        <p:spPr>
          <a:xfrm>
            <a:off x="4006850" y="4286317"/>
            <a:ext cx="41783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400" b="0" i="0" spc="600" dirty="0">
                <a:solidFill>
                  <a:schemeClr val="bg1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格</a:t>
            </a:r>
            <a:r>
              <a:rPr lang="en-US" altLang="zh-CN" sz="1400" b="0" i="0" spc="600" dirty="0">
                <a:solidFill>
                  <a:schemeClr val="bg1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lang="zh-CN" altLang="en-US" sz="1400" b="0" i="0" spc="600" dirty="0">
                <a:solidFill>
                  <a:schemeClr val="bg1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物</a:t>
            </a:r>
            <a:r>
              <a:rPr lang="en-US" altLang="zh-CN" sz="1400" b="0" i="0" spc="600" dirty="0">
                <a:solidFill>
                  <a:schemeClr val="bg1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lang="zh-CN" altLang="en-US" sz="1400" b="0" i="0" spc="600" dirty="0">
                <a:solidFill>
                  <a:schemeClr val="bg1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明</a:t>
            </a:r>
            <a:r>
              <a:rPr lang="en-US" altLang="zh-CN" sz="1400" b="0" i="0" spc="600" dirty="0">
                <a:solidFill>
                  <a:schemeClr val="bg1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lang="zh-CN" altLang="en-US" sz="1400" b="0" i="0" spc="600" dirty="0">
                <a:solidFill>
                  <a:schemeClr val="bg1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理  致</a:t>
            </a:r>
            <a:r>
              <a:rPr lang="en-US" altLang="zh-CN" sz="1400" b="0" i="0" spc="600" dirty="0">
                <a:solidFill>
                  <a:schemeClr val="bg1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lang="zh-CN" altLang="en-US" sz="1400" b="0" i="0" spc="600" dirty="0">
                <a:solidFill>
                  <a:schemeClr val="bg1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知</a:t>
            </a:r>
            <a:r>
              <a:rPr lang="en-US" altLang="zh-CN" sz="1400" b="0" i="0" spc="600" dirty="0">
                <a:solidFill>
                  <a:schemeClr val="bg1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lang="zh-CN" altLang="en-US" sz="1400" b="0" i="0" spc="600" dirty="0">
                <a:solidFill>
                  <a:schemeClr val="bg1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笃</a:t>
            </a:r>
            <a:r>
              <a:rPr lang="en-US" altLang="zh-CN" sz="1400" b="0" i="0" spc="600" dirty="0">
                <a:solidFill>
                  <a:schemeClr val="bg1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/</a:t>
            </a:r>
            <a:r>
              <a:rPr lang="zh-CN" altLang="en-US" sz="1400" b="0" i="0" spc="600" dirty="0">
                <a:solidFill>
                  <a:schemeClr val="bg1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行</a:t>
            </a:r>
            <a:endParaRPr lang="en-US" altLang="zh-CN" sz="1400" spc="600" dirty="0">
              <a:solidFill>
                <a:schemeClr val="bg1"/>
              </a:solidFill>
            </a:endParaRPr>
          </a:p>
        </p:txBody>
      </p:sp>
      <p:grpSp>
        <p:nvGrpSpPr>
          <p:cNvPr id="6" name="işļîďê">
            <a:extLst>
              <a:ext uri="{FF2B5EF4-FFF2-40B4-BE49-F238E27FC236}">
                <a16:creationId xmlns:a16="http://schemas.microsoft.com/office/drawing/2014/main" id="{73956ACB-5582-4710-B0D0-DA68CBEAB77B}"/>
              </a:ext>
            </a:extLst>
          </p:cNvPr>
          <p:cNvGrpSpPr/>
          <p:nvPr/>
        </p:nvGrpSpPr>
        <p:grpSpPr>
          <a:xfrm>
            <a:off x="6095999" y="918025"/>
            <a:ext cx="185057" cy="5348518"/>
            <a:chOff x="6096000" y="551543"/>
            <a:chExt cx="0" cy="5936343"/>
          </a:xfrm>
        </p:grpSpPr>
        <p:cxnSp>
          <p:nvCxnSpPr>
            <p:cNvPr id="23" name="îṡľîde">
              <a:extLst>
                <a:ext uri="{FF2B5EF4-FFF2-40B4-BE49-F238E27FC236}">
                  <a16:creationId xmlns:a16="http://schemas.microsoft.com/office/drawing/2014/main" id="{A9F1D827-E430-4B3E-A1B2-AB5DF3D49F33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0" y="551543"/>
              <a:ext cx="0" cy="1834473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îś1îďê">
              <a:extLst>
                <a:ext uri="{FF2B5EF4-FFF2-40B4-BE49-F238E27FC236}">
                  <a16:creationId xmlns:a16="http://schemas.microsoft.com/office/drawing/2014/main" id="{F1503D9D-C955-4A1B-84DE-B55B191B00C9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0" y="5036458"/>
              <a:ext cx="0" cy="1451428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š1i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şḷiḍe"/>
          <p:cNvSpPr>
            <a:spLocks noGrp="1"/>
          </p:cNvSpPr>
          <p:nvPr>
            <p:ph type="title"/>
          </p:nvPr>
        </p:nvSpPr>
        <p:spPr>
          <a:xfrm>
            <a:off x="4610085" y="2857046"/>
            <a:ext cx="5419185" cy="895350"/>
          </a:xfrm>
        </p:spPr>
        <p:txBody>
          <a:bodyPr/>
          <a:lstStyle/>
          <a:p>
            <a:r>
              <a:rPr lang="en-US" altLang="zh-CN" dirty="0">
                <a:solidFill>
                  <a:schemeClr val="bg1"/>
                </a:solidFill>
              </a:rPr>
              <a:t>Section Header Here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6" name="iśļîḓê"/>
          <p:cNvSpPr>
            <a:spLocks noGrp="1"/>
          </p:cNvSpPr>
          <p:nvPr>
            <p:ph type="body" idx="1"/>
          </p:nvPr>
        </p:nvSpPr>
        <p:spPr>
          <a:xfrm>
            <a:off x="4611201" y="3752396"/>
            <a:ext cx="5419185" cy="1015623"/>
          </a:xfrm>
        </p:spPr>
        <p:txBody>
          <a:bodyPr/>
          <a:lstStyle/>
          <a:p>
            <a:pPr lvl="0"/>
            <a:r>
              <a:rPr lang="en-US" altLang="zh-CN" dirty="0">
                <a:solidFill>
                  <a:schemeClr val="bg1"/>
                </a:solidFill>
              </a:rPr>
              <a:t>Supporting text here.</a:t>
            </a:r>
          </a:p>
          <a:p>
            <a:pPr lvl="0"/>
            <a:r>
              <a:rPr lang="en-US" altLang="zh-CN" dirty="0">
                <a:solidFill>
                  <a:schemeClr val="bg1"/>
                </a:solidFill>
              </a:rPr>
              <a:t>When you copy &amp; paste, choose "keep text only" option.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9" name="ï$lïḋ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421955" y="3220282"/>
            <a:ext cx="1930400" cy="1678065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b="1" spc="-150" dirty="0">
                <a:solidFill>
                  <a:schemeClr val="bg1"/>
                </a:solidFill>
                <a:latin typeface="+mj-ea"/>
                <a:ea typeface="+mj-ea"/>
                <a:cs typeface="Arial" panose="020B0604020202020204" pitchFamily="34" charset="0"/>
              </a:rPr>
              <a:t>01</a:t>
            </a:r>
            <a:endParaRPr lang="zh-CN" altLang="en-US" b="1" spc="-150" dirty="0">
              <a:solidFill>
                <a:schemeClr val="bg1"/>
              </a:solidFill>
              <a:latin typeface="+mj-ea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ṧḻîď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S1íḋê">
            <a:extLst>
              <a:ext uri="{FF2B5EF4-FFF2-40B4-BE49-F238E27FC236}">
                <a16:creationId xmlns:a16="http://schemas.microsoft.com/office/drawing/2014/main" id="{5FD167F9-E6AD-4F1B-932A-740FCD711F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işľïḓe">
            <a:extLst>
              <a:ext uri="{FF2B5EF4-FFF2-40B4-BE49-F238E27FC236}">
                <a16:creationId xmlns:a16="http://schemas.microsoft.com/office/drawing/2014/main" id="{721A8C01-CA07-48C2-A730-75F68A24EC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îŝ1îḍe">
            <a:extLst>
              <a:ext uri="{FF2B5EF4-FFF2-40B4-BE49-F238E27FC236}">
                <a16:creationId xmlns:a16="http://schemas.microsoft.com/office/drawing/2014/main" id="{35EA6509-2152-4EDF-B000-5F6FA656B5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grpSp>
        <p:nvGrpSpPr>
          <p:cNvPr id="31" name="iŝľíḑè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7C079DDA-AAEA-4AE4-BB14-59ACFE053361}"/>
              </a:ext>
            </a:extLst>
          </p:cNvPr>
          <p:cNvGrpSpPr>
            <a:grpSpLocks noChangeAspect="1"/>
          </p:cNvGrpSpPr>
          <p:nvPr/>
        </p:nvGrpSpPr>
        <p:grpSpPr>
          <a:xfrm>
            <a:off x="0" y="1320422"/>
            <a:ext cx="12192000" cy="4633508"/>
            <a:chOff x="0" y="1320422"/>
            <a:chExt cx="12192000" cy="4633508"/>
          </a:xfrm>
        </p:grpSpPr>
        <p:grpSp>
          <p:nvGrpSpPr>
            <p:cNvPr id="32" name="íSļïḓe">
              <a:extLst>
                <a:ext uri="{FF2B5EF4-FFF2-40B4-BE49-F238E27FC236}">
                  <a16:creationId xmlns:a16="http://schemas.microsoft.com/office/drawing/2014/main" id="{EE6B8E63-4021-426F-B3B9-EBD669F9CF9E}"/>
                </a:ext>
              </a:extLst>
            </p:cNvPr>
            <p:cNvGrpSpPr/>
            <p:nvPr/>
          </p:nvGrpSpPr>
          <p:grpSpPr>
            <a:xfrm>
              <a:off x="2799285" y="1320422"/>
              <a:ext cx="1865929" cy="2166327"/>
              <a:chOff x="2799285" y="1320422"/>
              <a:chExt cx="1865929" cy="2166327"/>
            </a:xfrm>
          </p:grpSpPr>
          <p:sp>
            <p:nvSpPr>
              <p:cNvPr id="55" name="iṩḻíḑè">
                <a:extLst>
                  <a:ext uri="{FF2B5EF4-FFF2-40B4-BE49-F238E27FC236}">
                    <a16:creationId xmlns:a16="http://schemas.microsoft.com/office/drawing/2014/main" id="{9AA07855-A57D-4E26-8F33-4B4B2A32F387}"/>
                  </a:ext>
                </a:extLst>
              </p:cNvPr>
              <p:cNvSpPr/>
              <p:nvPr/>
            </p:nvSpPr>
            <p:spPr>
              <a:xfrm rot="5400000">
                <a:off x="2174153" y="1945554"/>
                <a:ext cx="2166327" cy="916064"/>
              </a:xfrm>
              <a:custGeom>
                <a:avLst/>
                <a:gdLst>
                  <a:gd name="connsiteX0" fmla="*/ 0 w 2166327"/>
                  <a:gd name="connsiteY0" fmla="*/ 0 h 916064"/>
                  <a:gd name="connsiteX1" fmla="*/ 2166327 w 2166327"/>
                  <a:gd name="connsiteY1" fmla="*/ 0 h 916064"/>
                  <a:gd name="connsiteX2" fmla="*/ 2159127 w 2166327"/>
                  <a:gd name="connsiteY2" fmla="*/ 12497 h 916064"/>
                  <a:gd name="connsiteX3" fmla="*/ 2166326 w 2166327"/>
                  <a:gd name="connsiteY3" fmla="*/ 12497 h 916064"/>
                  <a:gd name="connsiteX4" fmla="*/ 1714542 w 2166327"/>
                  <a:gd name="connsiteY4" fmla="*/ 916064 h 916064"/>
                  <a:gd name="connsiteX5" fmla="*/ 451785 w 2166327"/>
                  <a:gd name="connsiteY5" fmla="*/ 916064 h 916064"/>
                  <a:gd name="connsiteX6" fmla="*/ 2 w 2166327"/>
                  <a:gd name="connsiteY6" fmla="*/ 12497 h 916064"/>
                  <a:gd name="connsiteX7" fmla="*/ 7200 w 2166327"/>
                  <a:gd name="connsiteY7" fmla="*/ 12497 h 916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66327" h="916064">
                    <a:moveTo>
                      <a:pt x="0" y="0"/>
                    </a:moveTo>
                    <a:lnTo>
                      <a:pt x="2166327" y="0"/>
                    </a:lnTo>
                    <a:lnTo>
                      <a:pt x="2159127" y="12497"/>
                    </a:lnTo>
                    <a:lnTo>
                      <a:pt x="2166326" y="12497"/>
                    </a:lnTo>
                    <a:lnTo>
                      <a:pt x="1714542" y="916064"/>
                    </a:lnTo>
                    <a:lnTo>
                      <a:pt x="451785" y="916064"/>
                    </a:lnTo>
                    <a:lnTo>
                      <a:pt x="2" y="12497"/>
                    </a:lnTo>
                    <a:lnTo>
                      <a:pt x="7200" y="12497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id-ID"/>
              </a:p>
            </p:txBody>
          </p:sp>
          <p:sp>
            <p:nvSpPr>
              <p:cNvPr id="56" name="ïŝḻïḑê">
                <a:extLst>
                  <a:ext uri="{FF2B5EF4-FFF2-40B4-BE49-F238E27FC236}">
                    <a16:creationId xmlns:a16="http://schemas.microsoft.com/office/drawing/2014/main" id="{E9E0CEF9-F364-4E1F-A61F-5B853F90DB1A}"/>
                  </a:ext>
                </a:extLst>
              </p:cNvPr>
              <p:cNvSpPr/>
              <p:nvPr/>
            </p:nvSpPr>
            <p:spPr>
              <a:xfrm rot="5400000">
                <a:off x="3130269" y="1951803"/>
                <a:ext cx="2166323" cy="903566"/>
              </a:xfrm>
              <a:custGeom>
                <a:avLst/>
                <a:gdLst>
                  <a:gd name="connsiteX0" fmla="*/ 1419283 w 2166323"/>
                  <a:gd name="connsiteY0" fmla="*/ 178156 h 903566"/>
                  <a:gd name="connsiteX1" fmla="*/ 1419283 w 2166323"/>
                  <a:gd name="connsiteY1" fmla="*/ 0 h 903566"/>
                  <a:gd name="connsiteX2" fmla="*/ 1714541 w 2166323"/>
                  <a:gd name="connsiteY2" fmla="*/ 0 h 903566"/>
                  <a:gd name="connsiteX3" fmla="*/ 2166323 w 2166323"/>
                  <a:gd name="connsiteY3" fmla="*/ 903566 h 903566"/>
                  <a:gd name="connsiteX4" fmla="*/ 1957743 w 2166323"/>
                  <a:gd name="connsiteY4" fmla="*/ 903566 h 903566"/>
                  <a:gd name="connsiteX5" fmla="*/ 1595038 w 2166323"/>
                  <a:gd name="connsiteY5" fmla="*/ 178156 h 903566"/>
                  <a:gd name="connsiteX6" fmla="*/ 0 w 2166323"/>
                  <a:gd name="connsiteY6" fmla="*/ 903566 h 903566"/>
                  <a:gd name="connsiteX7" fmla="*/ 451784 w 2166323"/>
                  <a:gd name="connsiteY7" fmla="*/ 0 h 903566"/>
                  <a:gd name="connsiteX8" fmla="*/ 883730 w 2166323"/>
                  <a:gd name="connsiteY8" fmla="*/ 0 h 903566"/>
                  <a:gd name="connsiteX9" fmla="*/ 883730 w 2166323"/>
                  <a:gd name="connsiteY9" fmla="*/ 178156 h 903566"/>
                  <a:gd name="connsiteX10" fmla="*/ 571289 w 2166323"/>
                  <a:gd name="connsiteY10" fmla="*/ 178156 h 903566"/>
                  <a:gd name="connsiteX11" fmla="*/ 208584 w 2166323"/>
                  <a:gd name="connsiteY11" fmla="*/ 903566 h 903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66323" h="903566">
                    <a:moveTo>
                      <a:pt x="1419283" y="178156"/>
                    </a:moveTo>
                    <a:lnTo>
                      <a:pt x="1419283" y="0"/>
                    </a:lnTo>
                    <a:lnTo>
                      <a:pt x="1714541" y="0"/>
                    </a:lnTo>
                    <a:lnTo>
                      <a:pt x="2166323" y="903566"/>
                    </a:lnTo>
                    <a:lnTo>
                      <a:pt x="1957743" y="903566"/>
                    </a:lnTo>
                    <a:lnTo>
                      <a:pt x="1595038" y="178156"/>
                    </a:lnTo>
                    <a:close/>
                    <a:moveTo>
                      <a:pt x="0" y="903566"/>
                    </a:moveTo>
                    <a:lnTo>
                      <a:pt x="451784" y="0"/>
                    </a:lnTo>
                    <a:lnTo>
                      <a:pt x="883730" y="0"/>
                    </a:lnTo>
                    <a:lnTo>
                      <a:pt x="883730" y="178156"/>
                    </a:lnTo>
                    <a:lnTo>
                      <a:pt x="571289" y="178156"/>
                    </a:lnTo>
                    <a:lnTo>
                      <a:pt x="208584" y="903566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id-ID"/>
              </a:p>
            </p:txBody>
          </p:sp>
        </p:grpSp>
        <p:sp>
          <p:nvSpPr>
            <p:cNvPr id="33" name="ísļíḍé">
              <a:extLst>
                <a:ext uri="{FF2B5EF4-FFF2-40B4-BE49-F238E27FC236}">
                  <a16:creationId xmlns:a16="http://schemas.microsoft.com/office/drawing/2014/main" id="{B52F3BBE-A875-4A9F-AC2B-C640CB2F3405}"/>
                </a:ext>
              </a:extLst>
            </p:cNvPr>
            <p:cNvSpPr/>
            <p:nvPr/>
          </p:nvSpPr>
          <p:spPr>
            <a:xfrm>
              <a:off x="0" y="2288406"/>
              <a:ext cx="2799285" cy="23035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34" name="iŝľïḑè">
              <a:extLst>
                <a:ext uri="{FF2B5EF4-FFF2-40B4-BE49-F238E27FC236}">
                  <a16:creationId xmlns:a16="http://schemas.microsoft.com/office/drawing/2014/main" id="{AF6E3820-DD0D-4648-9E88-2F4FA7DC9916}"/>
                </a:ext>
              </a:extLst>
            </p:cNvPr>
            <p:cNvSpPr/>
            <p:nvPr/>
          </p:nvSpPr>
          <p:spPr>
            <a:xfrm>
              <a:off x="5839485" y="2290382"/>
              <a:ext cx="6352515" cy="22640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35" name="iṡļîdè">
              <a:extLst>
                <a:ext uri="{FF2B5EF4-FFF2-40B4-BE49-F238E27FC236}">
                  <a16:creationId xmlns:a16="http://schemas.microsoft.com/office/drawing/2014/main" id="{6FA8394A-C750-42B5-8172-8693CBBD3803}"/>
                </a:ext>
              </a:extLst>
            </p:cNvPr>
            <p:cNvSpPr txBox="1"/>
            <p:nvPr/>
          </p:nvSpPr>
          <p:spPr bwMode="auto">
            <a:xfrm>
              <a:off x="4443787" y="2207453"/>
              <a:ext cx="1305357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000" b="1" dirty="0"/>
                <a:t>Text here</a:t>
              </a:r>
            </a:p>
          </p:txBody>
        </p:sp>
        <p:grpSp>
          <p:nvGrpSpPr>
            <p:cNvPr id="36" name="iślíḑe">
              <a:extLst>
                <a:ext uri="{FF2B5EF4-FFF2-40B4-BE49-F238E27FC236}">
                  <a16:creationId xmlns:a16="http://schemas.microsoft.com/office/drawing/2014/main" id="{5A5DB4D2-3148-4DAE-984C-995A3BEADA68}"/>
                </a:ext>
              </a:extLst>
            </p:cNvPr>
            <p:cNvGrpSpPr/>
            <p:nvPr/>
          </p:nvGrpSpPr>
          <p:grpSpPr>
            <a:xfrm>
              <a:off x="6985770" y="5218510"/>
              <a:ext cx="4533129" cy="735420"/>
              <a:chOff x="6987359" y="5381472"/>
              <a:chExt cx="4533129" cy="735420"/>
            </a:xfrm>
          </p:grpSpPr>
          <p:sp>
            <p:nvSpPr>
              <p:cNvPr id="52" name="iś1îḓé">
                <a:extLst>
                  <a:ext uri="{FF2B5EF4-FFF2-40B4-BE49-F238E27FC236}">
                    <a16:creationId xmlns:a16="http://schemas.microsoft.com/office/drawing/2014/main" id="{87EB3514-D7F5-4C66-B77B-52D91FCE33B1}"/>
                  </a:ext>
                </a:extLst>
              </p:cNvPr>
              <p:cNvSpPr/>
              <p:nvPr/>
            </p:nvSpPr>
            <p:spPr bwMode="auto">
              <a:xfrm>
                <a:off x="6987359" y="5381472"/>
                <a:ext cx="4533129" cy="3677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sp>
            <p:nvSpPr>
              <p:cNvPr id="53" name="iślîďè">
                <a:extLst>
                  <a:ext uri="{FF2B5EF4-FFF2-40B4-BE49-F238E27FC236}">
                    <a16:creationId xmlns:a16="http://schemas.microsoft.com/office/drawing/2014/main" id="{87EB3514-D7F5-4C66-B77B-52D91FCE33B1}"/>
                  </a:ext>
                </a:extLst>
              </p:cNvPr>
              <p:cNvSpPr/>
              <p:nvPr/>
            </p:nvSpPr>
            <p:spPr bwMode="auto">
              <a:xfrm>
                <a:off x="6987359" y="5749182"/>
                <a:ext cx="4533129" cy="3677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cxnSp>
            <p:nvCxnSpPr>
              <p:cNvPr id="54" name="ïşļiḓê">
                <a:extLst>
                  <a:ext uri="{FF2B5EF4-FFF2-40B4-BE49-F238E27FC236}">
                    <a16:creationId xmlns:a16="http://schemas.microsoft.com/office/drawing/2014/main" id="{7E09CD52-7928-45BA-840E-D29E0895C02F}"/>
                  </a:ext>
                </a:extLst>
              </p:cNvPr>
              <p:cNvCxnSpPr/>
              <p:nvPr/>
            </p:nvCxnSpPr>
            <p:spPr>
              <a:xfrm>
                <a:off x="7088860" y="5749182"/>
                <a:ext cx="4431625" cy="0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îṩḻîḋe">
              <a:extLst>
                <a:ext uri="{FF2B5EF4-FFF2-40B4-BE49-F238E27FC236}">
                  <a16:creationId xmlns:a16="http://schemas.microsoft.com/office/drawing/2014/main" id="{9BBF9A9C-3098-4B2F-8858-19965B5B97EC}"/>
                </a:ext>
              </a:extLst>
            </p:cNvPr>
            <p:cNvGrpSpPr/>
            <p:nvPr/>
          </p:nvGrpSpPr>
          <p:grpSpPr>
            <a:xfrm>
              <a:off x="6985770" y="3123462"/>
              <a:ext cx="4533129" cy="753266"/>
              <a:chOff x="6987359" y="3614703"/>
              <a:chExt cx="4533129" cy="753266"/>
            </a:xfrm>
          </p:grpSpPr>
          <p:sp>
            <p:nvSpPr>
              <p:cNvPr id="49" name="ï$ļîḑe">
                <a:extLst>
                  <a:ext uri="{FF2B5EF4-FFF2-40B4-BE49-F238E27FC236}">
                    <a16:creationId xmlns:a16="http://schemas.microsoft.com/office/drawing/2014/main" id="{87EB3514-D7F5-4C66-B77B-52D91FCE33B1}"/>
                  </a:ext>
                </a:extLst>
              </p:cNvPr>
              <p:cNvSpPr/>
              <p:nvPr/>
            </p:nvSpPr>
            <p:spPr bwMode="auto">
              <a:xfrm>
                <a:off x="6987359" y="4000259"/>
                <a:ext cx="4533129" cy="3677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sp>
            <p:nvSpPr>
              <p:cNvPr id="50" name="îSļíḋe">
                <a:extLst>
                  <a:ext uri="{FF2B5EF4-FFF2-40B4-BE49-F238E27FC236}">
                    <a16:creationId xmlns:a16="http://schemas.microsoft.com/office/drawing/2014/main" id="{87EB3514-D7F5-4C66-B77B-52D91FCE33B1}"/>
                  </a:ext>
                </a:extLst>
              </p:cNvPr>
              <p:cNvSpPr/>
              <p:nvPr/>
            </p:nvSpPr>
            <p:spPr bwMode="auto">
              <a:xfrm>
                <a:off x="6987359" y="3614703"/>
                <a:ext cx="4533129" cy="3677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cxnSp>
            <p:nvCxnSpPr>
              <p:cNvPr id="51" name="íṡ1ïḑè">
                <a:extLst>
                  <a:ext uri="{FF2B5EF4-FFF2-40B4-BE49-F238E27FC236}">
                    <a16:creationId xmlns:a16="http://schemas.microsoft.com/office/drawing/2014/main" id="{4B2EB0E2-ADB7-4FFB-A1B4-3BBD640E4932}"/>
                  </a:ext>
                </a:extLst>
              </p:cNvPr>
              <p:cNvCxnSpPr/>
              <p:nvPr/>
            </p:nvCxnSpPr>
            <p:spPr>
              <a:xfrm>
                <a:off x="7088860" y="3991336"/>
                <a:ext cx="4431625" cy="0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iṩľiďe">
              <a:extLst>
                <a:ext uri="{FF2B5EF4-FFF2-40B4-BE49-F238E27FC236}">
                  <a16:creationId xmlns:a16="http://schemas.microsoft.com/office/drawing/2014/main" id="{6DA2E118-2FE8-4D9B-B7D2-51E4BAFB0F8C}"/>
                </a:ext>
              </a:extLst>
            </p:cNvPr>
            <p:cNvGrpSpPr/>
            <p:nvPr/>
          </p:nvGrpSpPr>
          <p:grpSpPr>
            <a:xfrm>
              <a:off x="6985770" y="4179909"/>
              <a:ext cx="4533129" cy="735420"/>
              <a:chOff x="6987359" y="4515933"/>
              <a:chExt cx="4533129" cy="735420"/>
            </a:xfrm>
          </p:grpSpPr>
          <p:sp>
            <p:nvSpPr>
              <p:cNvPr id="46" name="îsľíḑe">
                <a:extLst>
                  <a:ext uri="{FF2B5EF4-FFF2-40B4-BE49-F238E27FC236}">
                    <a16:creationId xmlns:a16="http://schemas.microsoft.com/office/drawing/2014/main" id="{87EB3514-D7F5-4C66-B77B-52D91FCE33B1}"/>
                  </a:ext>
                </a:extLst>
              </p:cNvPr>
              <p:cNvSpPr/>
              <p:nvPr/>
            </p:nvSpPr>
            <p:spPr bwMode="auto">
              <a:xfrm>
                <a:off x="6987359" y="4883643"/>
                <a:ext cx="4533129" cy="3677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sp>
            <p:nvSpPr>
              <p:cNvPr id="47" name="iṡḻiďè">
                <a:extLst>
                  <a:ext uri="{FF2B5EF4-FFF2-40B4-BE49-F238E27FC236}">
                    <a16:creationId xmlns:a16="http://schemas.microsoft.com/office/drawing/2014/main" id="{87EB3514-D7F5-4C66-B77B-52D91FCE33B1}"/>
                  </a:ext>
                </a:extLst>
              </p:cNvPr>
              <p:cNvSpPr/>
              <p:nvPr/>
            </p:nvSpPr>
            <p:spPr bwMode="auto">
              <a:xfrm>
                <a:off x="6987359" y="4515933"/>
                <a:ext cx="4533129" cy="3677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……</a:t>
                </a:r>
              </a:p>
            </p:txBody>
          </p:sp>
          <p:cxnSp>
            <p:nvCxnSpPr>
              <p:cNvPr id="48" name="iṥļïďê">
                <a:extLst>
                  <a:ext uri="{FF2B5EF4-FFF2-40B4-BE49-F238E27FC236}">
                    <a16:creationId xmlns:a16="http://schemas.microsoft.com/office/drawing/2014/main" id="{C3660F62-B6EC-4B99-8156-0D1F55E97240}"/>
                  </a:ext>
                </a:extLst>
              </p:cNvPr>
              <p:cNvCxnSpPr/>
              <p:nvPr/>
            </p:nvCxnSpPr>
            <p:spPr>
              <a:xfrm>
                <a:off x="7088860" y="4883643"/>
                <a:ext cx="4431625" cy="0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9" name="ïṩḷîḓè">
              <a:extLst>
                <a:ext uri="{FF2B5EF4-FFF2-40B4-BE49-F238E27FC236}">
                  <a16:creationId xmlns:a16="http://schemas.microsoft.com/office/drawing/2014/main" id="{6FA8394A-C750-42B5-8172-8693CBBD3803}"/>
                </a:ext>
              </a:extLst>
            </p:cNvPr>
            <p:cNvSpPr txBox="1"/>
            <p:nvPr/>
          </p:nvSpPr>
          <p:spPr bwMode="auto">
            <a:xfrm>
              <a:off x="6407310" y="3262066"/>
              <a:ext cx="527709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400" b="1" dirty="0">
                  <a:solidFill>
                    <a:schemeClr val="accent1"/>
                  </a:solidFill>
                </a:rPr>
                <a:t>01</a:t>
              </a:r>
            </a:p>
          </p:txBody>
        </p:sp>
        <p:sp>
          <p:nvSpPr>
            <p:cNvPr id="40" name="ïşḷîḑê">
              <a:extLst>
                <a:ext uri="{FF2B5EF4-FFF2-40B4-BE49-F238E27FC236}">
                  <a16:creationId xmlns:a16="http://schemas.microsoft.com/office/drawing/2014/main" id="{6FA8394A-C750-42B5-8172-8693CBBD3803}"/>
                </a:ext>
              </a:extLst>
            </p:cNvPr>
            <p:cNvSpPr txBox="1"/>
            <p:nvPr/>
          </p:nvSpPr>
          <p:spPr bwMode="auto">
            <a:xfrm>
              <a:off x="6407310" y="4305129"/>
              <a:ext cx="527709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400" b="1" dirty="0">
                  <a:solidFill>
                    <a:schemeClr val="accent1"/>
                  </a:solidFill>
                </a:rPr>
                <a:t>02</a:t>
              </a:r>
            </a:p>
          </p:txBody>
        </p:sp>
        <p:sp>
          <p:nvSpPr>
            <p:cNvPr id="41" name="îŝlîďé">
              <a:extLst>
                <a:ext uri="{FF2B5EF4-FFF2-40B4-BE49-F238E27FC236}">
                  <a16:creationId xmlns:a16="http://schemas.microsoft.com/office/drawing/2014/main" id="{6FA8394A-C750-42B5-8172-8693CBBD3803}"/>
                </a:ext>
              </a:extLst>
            </p:cNvPr>
            <p:cNvSpPr txBox="1"/>
            <p:nvPr/>
          </p:nvSpPr>
          <p:spPr bwMode="auto">
            <a:xfrm>
              <a:off x="6407310" y="5348191"/>
              <a:ext cx="527709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400" b="1" dirty="0">
                  <a:solidFill>
                    <a:schemeClr val="accent1"/>
                  </a:solidFill>
                </a:rPr>
                <a:t>03</a:t>
              </a:r>
            </a:p>
          </p:txBody>
        </p:sp>
        <p:sp>
          <p:nvSpPr>
            <p:cNvPr id="42" name="îśľídê">
              <a:extLst>
                <a:ext uri="{FF2B5EF4-FFF2-40B4-BE49-F238E27FC236}">
                  <a16:creationId xmlns:a16="http://schemas.microsoft.com/office/drawing/2014/main" id="{20456A79-4076-46F7-8D80-3131DE0EB579}"/>
                </a:ext>
              </a:extLst>
            </p:cNvPr>
            <p:cNvSpPr/>
            <p:nvPr/>
          </p:nvSpPr>
          <p:spPr>
            <a:xfrm>
              <a:off x="3106343" y="2199774"/>
              <a:ext cx="301944" cy="407624"/>
            </a:xfrm>
            <a:custGeom>
              <a:avLst/>
              <a:gdLst>
                <a:gd name="connsiteX0" fmla="*/ 85725 w 381000"/>
                <a:gd name="connsiteY0" fmla="*/ 38100 h 514350"/>
                <a:gd name="connsiteX1" fmla="*/ 85725 w 381000"/>
                <a:gd name="connsiteY1" fmla="*/ 57150 h 514350"/>
                <a:gd name="connsiteX2" fmla="*/ 121920 w 381000"/>
                <a:gd name="connsiteY2" fmla="*/ 95250 h 514350"/>
                <a:gd name="connsiteX3" fmla="*/ 123825 w 381000"/>
                <a:gd name="connsiteY3" fmla="*/ 95250 h 514350"/>
                <a:gd name="connsiteX4" fmla="*/ 257175 w 381000"/>
                <a:gd name="connsiteY4" fmla="*/ 95250 h 514350"/>
                <a:gd name="connsiteX5" fmla="*/ 295275 w 381000"/>
                <a:gd name="connsiteY5" fmla="*/ 59055 h 514350"/>
                <a:gd name="connsiteX6" fmla="*/ 295275 w 381000"/>
                <a:gd name="connsiteY6" fmla="*/ 57150 h 514350"/>
                <a:gd name="connsiteX7" fmla="*/ 295275 w 381000"/>
                <a:gd name="connsiteY7" fmla="*/ 38100 h 514350"/>
                <a:gd name="connsiteX8" fmla="*/ 352425 w 381000"/>
                <a:gd name="connsiteY8" fmla="*/ 38100 h 514350"/>
                <a:gd name="connsiteX9" fmla="*/ 381000 w 381000"/>
                <a:gd name="connsiteY9" fmla="*/ 66675 h 514350"/>
                <a:gd name="connsiteX10" fmla="*/ 381000 w 381000"/>
                <a:gd name="connsiteY10" fmla="*/ 485775 h 514350"/>
                <a:gd name="connsiteX11" fmla="*/ 352425 w 381000"/>
                <a:gd name="connsiteY11" fmla="*/ 514350 h 514350"/>
                <a:gd name="connsiteX12" fmla="*/ 28575 w 381000"/>
                <a:gd name="connsiteY12" fmla="*/ 514350 h 514350"/>
                <a:gd name="connsiteX13" fmla="*/ 0 w 381000"/>
                <a:gd name="connsiteY13" fmla="*/ 485775 h 514350"/>
                <a:gd name="connsiteX14" fmla="*/ 0 w 381000"/>
                <a:gd name="connsiteY14" fmla="*/ 66675 h 514350"/>
                <a:gd name="connsiteX15" fmla="*/ 28575 w 381000"/>
                <a:gd name="connsiteY15" fmla="*/ 38100 h 514350"/>
                <a:gd name="connsiteX16" fmla="*/ 85725 w 381000"/>
                <a:gd name="connsiteY16" fmla="*/ 38100 h 514350"/>
                <a:gd name="connsiteX17" fmla="*/ 190500 w 381000"/>
                <a:gd name="connsiteY17" fmla="*/ 333375 h 514350"/>
                <a:gd name="connsiteX18" fmla="*/ 76200 w 381000"/>
                <a:gd name="connsiteY18" fmla="*/ 333375 h 514350"/>
                <a:gd name="connsiteX19" fmla="*/ 76200 w 381000"/>
                <a:gd name="connsiteY19" fmla="*/ 352425 h 514350"/>
                <a:gd name="connsiteX20" fmla="*/ 190500 w 381000"/>
                <a:gd name="connsiteY20" fmla="*/ 352425 h 514350"/>
                <a:gd name="connsiteX21" fmla="*/ 190500 w 381000"/>
                <a:gd name="connsiteY21" fmla="*/ 333375 h 514350"/>
                <a:gd name="connsiteX22" fmla="*/ 304800 w 381000"/>
                <a:gd name="connsiteY22" fmla="*/ 257175 h 514350"/>
                <a:gd name="connsiteX23" fmla="*/ 76200 w 381000"/>
                <a:gd name="connsiteY23" fmla="*/ 257175 h 514350"/>
                <a:gd name="connsiteX24" fmla="*/ 76200 w 381000"/>
                <a:gd name="connsiteY24" fmla="*/ 276225 h 514350"/>
                <a:gd name="connsiteX25" fmla="*/ 304800 w 381000"/>
                <a:gd name="connsiteY25" fmla="*/ 276225 h 514350"/>
                <a:gd name="connsiteX26" fmla="*/ 304800 w 381000"/>
                <a:gd name="connsiteY26" fmla="*/ 257175 h 514350"/>
                <a:gd name="connsiteX27" fmla="*/ 304800 w 381000"/>
                <a:gd name="connsiteY27" fmla="*/ 180975 h 514350"/>
                <a:gd name="connsiteX28" fmla="*/ 76200 w 381000"/>
                <a:gd name="connsiteY28" fmla="*/ 180975 h 514350"/>
                <a:gd name="connsiteX29" fmla="*/ 76200 w 381000"/>
                <a:gd name="connsiteY29" fmla="*/ 200025 h 514350"/>
                <a:gd name="connsiteX30" fmla="*/ 304800 w 381000"/>
                <a:gd name="connsiteY30" fmla="*/ 200025 h 514350"/>
                <a:gd name="connsiteX31" fmla="*/ 304800 w 381000"/>
                <a:gd name="connsiteY31" fmla="*/ 180975 h 514350"/>
                <a:gd name="connsiteX32" fmla="*/ 247650 w 381000"/>
                <a:gd name="connsiteY32" fmla="*/ 0 h 514350"/>
                <a:gd name="connsiteX33" fmla="*/ 276225 w 381000"/>
                <a:gd name="connsiteY33" fmla="*/ 28575 h 514350"/>
                <a:gd name="connsiteX34" fmla="*/ 276225 w 381000"/>
                <a:gd name="connsiteY34" fmla="*/ 47625 h 514350"/>
                <a:gd name="connsiteX35" fmla="*/ 247650 w 381000"/>
                <a:gd name="connsiteY35" fmla="*/ 76200 h 514350"/>
                <a:gd name="connsiteX36" fmla="*/ 133350 w 381000"/>
                <a:gd name="connsiteY36" fmla="*/ 76200 h 514350"/>
                <a:gd name="connsiteX37" fmla="*/ 104775 w 381000"/>
                <a:gd name="connsiteY37" fmla="*/ 47625 h 514350"/>
                <a:gd name="connsiteX38" fmla="*/ 104775 w 381000"/>
                <a:gd name="connsiteY38" fmla="*/ 28575 h 514350"/>
                <a:gd name="connsiteX39" fmla="*/ 133350 w 381000"/>
                <a:gd name="connsiteY39" fmla="*/ 0 h 514350"/>
                <a:gd name="connsiteX40" fmla="*/ 247650 w 381000"/>
                <a:gd name="connsiteY40" fmla="*/ 0 h 514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81000" h="514350">
                  <a:moveTo>
                    <a:pt x="85725" y="38100"/>
                  </a:moveTo>
                  <a:lnTo>
                    <a:pt x="85725" y="57150"/>
                  </a:lnTo>
                  <a:cubicBezTo>
                    <a:pt x="85725" y="77534"/>
                    <a:pt x="101727" y="94202"/>
                    <a:pt x="121920" y="95250"/>
                  </a:cubicBezTo>
                  <a:lnTo>
                    <a:pt x="123825" y="95250"/>
                  </a:lnTo>
                  <a:lnTo>
                    <a:pt x="257175" y="95250"/>
                  </a:lnTo>
                  <a:cubicBezTo>
                    <a:pt x="277559" y="95250"/>
                    <a:pt x="294227" y="79248"/>
                    <a:pt x="295275" y="59055"/>
                  </a:cubicBezTo>
                  <a:lnTo>
                    <a:pt x="295275" y="57150"/>
                  </a:lnTo>
                  <a:lnTo>
                    <a:pt x="295275" y="38100"/>
                  </a:lnTo>
                  <a:lnTo>
                    <a:pt x="352425" y="38100"/>
                  </a:lnTo>
                  <a:cubicBezTo>
                    <a:pt x="368236" y="38100"/>
                    <a:pt x="381000" y="50864"/>
                    <a:pt x="381000" y="66675"/>
                  </a:cubicBezTo>
                  <a:lnTo>
                    <a:pt x="381000" y="485775"/>
                  </a:lnTo>
                  <a:cubicBezTo>
                    <a:pt x="381000" y="501587"/>
                    <a:pt x="368236" y="514350"/>
                    <a:pt x="352425" y="514350"/>
                  </a:cubicBezTo>
                  <a:lnTo>
                    <a:pt x="28575" y="514350"/>
                  </a:lnTo>
                  <a:cubicBezTo>
                    <a:pt x="12764" y="514350"/>
                    <a:pt x="0" y="501587"/>
                    <a:pt x="0" y="485775"/>
                  </a:cubicBezTo>
                  <a:lnTo>
                    <a:pt x="0" y="66675"/>
                  </a:lnTo>
                  <a:cubicBezTo>
                    <a:pt x="0" y="50864"/>
                    <a:pt x="12764" y="38100"/>
                    <a:pt x="28575" y="38100"/>
                  </a:cubicBezTo>
                  <a:lnTo>
                    <a:pt x="85725" y="38100"/>
                  </a:lnTo>
                  <a:close/>
                  <a:moveTo>
                    <a:pt x="190500" y="333375"/>
                  </a:moveTo>
                  <a:lnTo>
                    <a:pt x="76200" y="333375"/>
                  </a:lnTo>
                  <a:lnTo>
                    <a:pt x="76200" y="352425"/>
                  </a:lnTo>
                  <a:lnTo>
                    <a:pt x="190500" y="352425"/>
                  </a:lnTo>
                  <a:lnTo>
                    <a:pt x="190500" y="333375"/>
                  </a:lnTo>
                  <a:close/>
                  <a:moveTo>
                    <a:pt x="304800" y="257175"/>
                  </a:moveTo>
                  <a:lnTo>
                    <a:pt x="76200" y="257175"/>
                  </a:lnTo>
                  <a:lnTo>
                    <a:pt x="76200" y="276225"/>
                  </a:lnTo>
                  <a:lnTo>
                    <a:pt x="304800" y="276225"/>
                  </a:lnTo>
                  <a:lnTo>
                    <a:pt x="304800" y="257175"/>
                  </a:lnTo>
                  <a:close/>
                  <a:moveTo>
                    <a:pt x="304800" y="180975"/>
                  </a:moveTo>
                  <a:lnTo>
                    <a:pt x="76200" y="180975"/>
                  </a:lnTo>
                  <a:lnTo>
                    <a:pt x="76200" y="200025"/>
                  </a:lnTo>
                  <a:lnTo>
                    <a:pt x="304800" y="200025"/>
                  </a:lnTo>
                  <a:lnTo>
                    <a:pt x="304800" y="180975"/>
                  </a:lnTo>
                  <a:close/>
                  <a:moveTo>
                    <a:pt x="247650" y="0"/>
                  </a:moveTo>
                  <a:cubicBezTo>
                    <a:pt x="263461" y="0"/>
                    <a:pt x="276225" y="12763"/>
                    <a:pt x="276225" y="28575"/>
                  </a:cubicBezTo>
                  <a:lnTo>
                    <a:pt x="276225" y="47625"/>
                  </a:lnTo>
                  <a:cubicBezTo>
                    <a:pt x="276225" y="63437"/>
                    <a:pt x="263461" y="76200"/>
                    <a:pt x="247650" y="76200"/>
                  </a:cubicBezTo>
                  <a:lnTo>
                    <a:pt x="133350" y="76200"/>
                  </a:lnTo>
                  <a:cubicBezTo>
                    <a:pt x="117539" y="76200"/>
                    <a:pt x="104775" y="63437"/>
                    <a:pt x="104775" y="47625"/>
                  </a:cubicBezTo>
                  <a:lnTo>
                    <a:pt x="104775" y="28575"/>
                  </a:lnTo>
                  <a:cubicBezTo>
                    <a:pt x="104775" y="12763"/>
                    <a:pt x="117539" y="0"/>
                    <a:pt x="133350" y="0"/>
                  </a:cubicBezTo>
                  <a:lnTo>
                    <a:pt x="24765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/>
            </a:p>
          </p:txBody>
        </p:sp>
        <p:grpSp>
          <p:nvGrpSpPr>
            <p:cNvPr id="43" name="iṡľîḓe">
              <a:extLst>
                <a:ext uri="{FF2B5EF4-FFF2-40B4-BE49-F238E27FC236}">
                  <a16:creationId xmlns:a16="http://schemas.microsoft.com/office/drawing/2014/main" id="{6CC9021B-7F55-423E-B5E8-13E0C37BDDD8}"/>
                </a:ext>
              </a:extLst>
            </p:cNvPr>
            <p:cNvGrpSpPr/>
            <p:nvPr/>
          </p:nvGrpSpPr>
          <p:grpSpPr>
            <a:xfrm>
              <a:off x="673100" y="3723731"/>
              <a:ext cx="3992114" cy="1599181"/>
              <a:chOff x="673100" y="4547619"/>
              <a:chExt cx="4424001" cy="1599181"/>
            </a:xfrm>
          </p:grpSpPr>
          <p:sp>
            <p:nvSpPr>
              <p:cNvPr id="44" name="îsľíḍè">
                <a:extLst>
                  <a:ext uri="{FF2B5EF4-FFF2-40B4-BE49-F238E27FC236}">
                    <a16:creationId xmlns:a16="http://schemas.microsoft.com/office/drawing/2014/main" id="{2383217E-16C0-490A-91FC-3BE1C6BB5CD8}"/>
                  </a:ext>
                </a:extLst>
              </p:cNvPr>
              <p:cNvSpPr txBox="1"/>
              <p:nvPr/>
            </p:nvSpPr>
            <p:spPr>
              <a:xfrm>
                <a:off x="673100" y="4547619"/>
                <a:ext cx="4424001" cy="77704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buSzPct val="25000"/>
                </a:pPr>
                <a:r>
                  <a:rPr lang="en-US" sz="2000" b="1" dirty="0"/>
                  <a:t>Unified fonts make</a:t>
                </a:r>
              </a:p>
              <a:p>
                <a:pPr>
                  <a:buSzPct val="25000"/>
                </a:pPr>
                <a:r>
                  <a:rPr lang="en-US" sz="2000" b="1" dirty="0"/>
                  <a:t>reading more fluent.</a:t>
                </a:r>
              </a:p>
            </p:txBody>
          </p:sp>
          <p:sp>
            <p:nvSpPr>
              <p:cNvPr id="45" name="íSľiḍé">
                <a:extLst>
                  <a:ext uri="{FF2B5EF4-FFF2-40B4-BE49-F238E27FC236}">
                    <a16:creationId xmlns:a16="http://schemas.microsoft.com/office/drawing/2014/main" id="{60E7B3A5-46B6-4DBA-A5E4-858C46E75CB2}"/>
                  </a:ext>
                </a:extLst>
              </p:cNvPr>
              <p:cNvSpPr txBox="1"/>
              <p:nvPr/>
            </p:nvSpPr>
            <p:spPr>
              <a:xfrm>
                <a:off x="673100" y="5324666"/>
                <a:ext cx="4424001" cy="82213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  <a:buSzPct val="25000"/>
                </a:pPr>
                <a:r>
                  <a:rPr lang="en-US" sz="1100" dirty="0"/>
                  <a:t>Theme color makes PPT more convenient to change.</a:t>
                </a:r>
              </a:p>
              <a:p>
                <a:pPr>
                  <a:lnSpc>
                    <a:spcPct val="150000"/>
                  </a:lnSpc>
                  <a:buSzPct val="25000"/>
                </a:pPr>
                <a:r>
                  <a:rPr lang="en-US" sz="1100" dirty="0"/>
                  <a:t>Adjust the spacing to adapt to Chinese typesetting, use the reference line in PPT.</a:t>
                </a: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2767458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ṥḷiḋ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ṥļiḋé">
            <a:extLst>
              <a:ext uri="{FF2B5EF4-FFF2-40B4-BE49-F238E27FC236}">
                <a16:creationId xmlns:a16="http://schemas.microsoft.com/office/drawing/2014/main" id="{2F8AEC91-C712-4C54-A1ED-613E8B6921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íṡliḑè">
            <a:extLst>
              <a:ext uri="{FF2B5EF4-FFF2-40B4-BE49-F238E27FC236}">
                <a16:creationId xmlns:a16="http://schemas.microsoft.com/office/drawing/2014/main" id="{5F91E23A-76D3-434C-B11F-4A67B73979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ïṡlïdé">
            <a:extLst>
              <a:ext uri="{FF2B5EF4-FFF2-40B4-BE49-F238E27FC236}">
                <a16:creationId xmlns:a16="http://schemas.microsoft.com/office/drawing/2014/main" id="{B74C2320-52DB-4F5C-ACBE-7792EB4061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grpSp>
        <p:nvGrpSpPr>
          <p:cNvPr id="5" name="íślïḋê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299910D0-BD61-4864-AB50-863021F9DA96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69925" y="2117223"/>
            <a:ext cx="10850563" cy="2821546"/>
            <a:chOff x="669925" y="2117223"/>
            <a:chExt cx="10850563" cy="2821546"/>
          </a:xfrm>
        </p:grpSpPr>
        <p:grpSp>
          <p:nvGrpSpPr>
            <p:cNvPr id="6" name="iŝḻïdé">
              <a:extLst>
                <a:ext uri="{FF2B5EF4-FFF2-40B4-BE49-F238E27FC236}">
                  <a16:creationId xmlns:a16="http://schemas.microsoft.com/office/drawing/2014/main" id="{7DCFB066-88F6-48C5-BA69-5C3E3550C5EB}"/>
                </a:ext>
              </a:extLst>
            </p:cNvPr>
            <p:cNvGrpSpPr/>
            <p:nvPr/>
          </p:nvGrpSpPr>
          <p:grpSpPr>
            <a:xfrm>
              <a:off x="3639034" y="2117223"/>
              <a:ext cx="4926084" cy="2821546"/>
              <a:chOff x="3639034" y="2117223"/>
              <a:chExt cx="4926084" cy="2821546"/>
            </a:xfrm>
          </p:grpSpPr>
          <p:sp>
            <p:nvSpPr>
              <p:cNvPr id="17" name="iš1iḍe">
                <a:extLst>
                  <a:ext uri="{FF2B5EF4-FFF2-40B4-BE49-F238E27FC236}">
                    <a16:creationId xmlns:a16="http://schemas.microsoft.com/office/drawing/2014/main" id="{3BEC5C17-AEC6-4A42-81AE-74DE1C5288E5}"/>
                  </a:ext>
                </a:extLst>
              </p:cNvPr>
              <p:cNvSpPr/>
              <p:nvPr/>
            </p:nvSpPr>
            <p:spPr>
              <a:xfrm flipV="1">
                <a:off x="3639034" y="3527996"/>
                <a:ext cx="2821547" cy="1410773"/>
              </a:xfrm>
              <a:custGeom>
                <a:avLst/>
                <a:gdLst/>
                <a:ahLst/>
                <a:cxnLst/>
                <a:rect l="l" t="t" r="r" b="b"/>
                <a:pathLst>
                  <a:path w="2520280" h="1260140">
                    <a:moveTo>
                      <a:pt x="1260140" y="0"/>
                    </a:moveTo>
                    <a:cubicBezTo>
                      <a:pt x="1956096" y="0"/>
                      <a:pt x="2520280" y="564184"/>
                      <a:pt x="2520280" y="1260140"/>
                    </a:cubicBezTo>
                    <a:lnTo>
                      <a:pt x="1881004" y="1260140"/>
                    </a:lnTo>
                    <a:cubicBezTo>
                      <a:pt x="1881004" y="917246"/>
                      <a:pt x="1603034" y="639276"/>
                      <a:pt x="1260140" y="639276"/>
                    </a:cubicBezTo>
                    <a:cubicBezTo>
                      <a:pt x="917246" y="639276"/>
                      <a:pt x="639276" y="917246"/>
                      <a:pt x="639276" y="1260140"/>
                    </a:cubicBezTo>
                    <a:lnTo>
                      <a:pt x="0" y="1260140"/>
                    </a:lnTo>
                    <a:cubicBezTo>
                      <a:pt x="0" y="564184"/>
                      <a:pt x="564184" y="0"/>
                      <a:pt x="1260140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18" name="íṥḻîďê">
                <a:extLst>
                  <a:ext uri="{FF2B5EF4-FFF2-40B4-BE49-F238E27FC236}">
                    <a16:creationId xmlns:a16="http://schemas.microsoft.com/office/drawing/2014/main" id="{3D670539-0138-4149-8FBB-9240066DB951}"/>
                  </a:ext>
                </a:extLst>
              </p:cNvPr>
              <p:cNvSpPr/>
              <p:nvPr/>
            </p:nvSpPr>
            <p:spPr>
              <a:xfrm>
                <a:off x="5743571" y="2117223"/>
                <a:ext cx="2821547" cy="1410773"/>
              </a:xfrm>
              <a:custGeom>
                <a:avLst/>
                <a:gdLst/>
                <a:ahLst/>
                <a:cxnLst/>
                <a:rect l="l" t="t" r="r" b="b"/>
                <a:pathLst>
                  <a:path w="2520280" h="1260140">
                    <a:moveTo>
                      <a:pt x="1260140" y="0"/>
                    </a:moveTo>
                    <a:cubicBezTo>
                      <a:pt x="1956096" y="0"/>
                      <a:pt x="2520280" y="564184"/>
                      <a:pt x="2520280" y="1260140"/>
                    </a:cubicBezTo>
                    <a:lnTo>
                      <a:pt x="1881004" y="1260140"/>
                    </a:lnTo>
                    <a:cubicBezTo>
                      <a:pt x="1881004" y="917246"/>
                      <a:pt x="1603034" y="639276"/>
                      <a:pt x="1260140" y="639276"/>
                    </a:cubicBezTo>
                    <a:cubicBezTo>
                      <a:pt x="917246" y="639276"/>
                      <a:pt x="639276" y="917246"/>
                      <a:pt x="639276" y="1260140"/>
                    </a:cubicBezTo>
                    <a:lnTo>
                      <a:pt x="0" y="1260140"/>
                    </a:lnTo>
                    <a:cubicBezTo>
                      <a:pt x="0" y="564184"/>
                      <a:pt x="564184" y="0"/>
                      <a:pt x="1260140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19" name="iśļidê">
                <a:extLst>
                  <a:ext uri="{FF2B5EF4-FFF2-40B4-BE49-F238E27FC236}">
                    <a16:creationId xmlns:a16="http://schemas.microsoft.com/office/drawing/2014/main" id="{C57EBFA6-A653-468C-9059-43DF65A41E72}"/>
                  </a:ext>
                </a:extLst>
              </p:cNvPr>
              <p:cNvSpPr/>
              <p:nvPr/>
            </p:nvSpPr>
            <p:spPr>
              <a:xfrm flipV="1">
                <a:off x="5743571" y="3527996"/>
                <a:ext cx="2821547" cy="1410773"/>
              </a:xfrm>
              <a:custGeom>
                <a:avLst/>
                <a:gdLst/>
                <a:ahLst/>
                <a:cxnLst/>
                <a:rect l="l" t="t" r="r" b="b"/>
                <a:pathLst>
                  <a:path w="2520280" h="1260140">
                    <a:moveTo>
                      <a:pt x="1260140" y="0"/>
                    </a:moveTo>
                    <a:cubicBezTo>
                      <a:pt x="1956096" y="0"/>
                      <a:pt x="2520280" y="564184"/>
                      <a:pt x="2520280" y="1260140"/>
                    </a:cubicBezTo>
                    <a:lnTo>
                      <a:pt x="1881004" y="1260140"/>
                    </a:lnTo>
                    <a:cubicBezTo>
                      <a:pt x="1881004" y="917246"/>
                      <a:pt x="1603034" y="639276"/>
                      <a:pt x="1260140" y="639276"/>
                    </a:cubicBezTo>
                    <a:cubicBezTo>
                      <a:pt x="917246" y="639276"/>
                      <a:pt x="639276" y="917246"/>
                      <a:pt x="639276" y="1260140"/>
                    </a:cubicBezTo>
                    <a:lnTo>
                      <a:pt x="0" y="1260140"/>
                    </a:lnTo>
                    <a:cubicBezTo>
                      <a:pt x="0" y="564184"/>
                      <a:pt x="564184" y="0"/>
                      <a:pt x="1260140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20" name="íṥļíďe">
                <a:extLst>
                  <a:ext uri="{FF2B5EF4-FFF2-40B4-BE49-F238E27FC236}">
                    <a16:creationId xmlns:a16="http://schemas.microsoft.com/office/drawing/2014/main" id="{AEB6B914-91DA-4E11-B553-833C2DF0F057}"/>
                  </a:ext>
                </a:extLst>
              </p:cNvPr>
              <p:cNvSpPr/>
              <p:nvPr/>
            </p:nvSpPr>
            <p:spPr>
              <a:xfrm>
                <a:off x="3639034" y="2117223"/>
                <a:ext cx="2821547" cy="1410773"/>
              </a:xfrm>
              <a:custGeom>
                <a:avLst/>
                <a:gdLst/>
                <a:ahLst/>
                <a:cxnLst/>
                <a:rect l="l" t="t" r="r" b="b"/>
                <a:pathLst>
                  <a:path w="2520280" h="1260140">
                    <a:moveTo>
                      <a:pt x="1260140" y="0"/>
                    </a:moveTo>
                    <a:cubicBezTo>
                      <a:pt x="1956096" y="0"/>
                      <a:pt x="2520280" y="564184"/>
                      <a:pt x="2520280" y="1260140"/>
                    </a:cubicBezTo>
                    <a:lnTo>
                      <a:pt x="1881004" y="1260140"/>
                    </a:lnTo>
                    <a:cubicBezTo>
                      <a:pt x="1881004" y="917246"/>
                      <a:pt x="1603034" y="639276"/>
                      <a:pt x="1260140" y="639276"/>
                    </a:cubicBezTo>
                    <a:cubicBezTo>
                      <a:pt x="917246" y="639276"/>
                      <a:pt x="639276" y="917246"/>
                      <a:pt x="639276" y="1260140"/>
                    </a:cubicBezTo>
                    <a:lnTo>
                      <a:pt x="0" y="1260140"/>
                    </a:lnTo>
                    <a:cubicBezTo>
                      <a:pt x="0" y="564184"/>
                      <a:pt x="564184" y="0"/>
                      <a:pt x="1260140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21" name="ïśľîdé">
                <a:extLst>
                  <a:ext uri="{FF2B5EF4-FFF2-40B4-BE49-F238E27FC236}">
                    <a16:creationId xmlns:a16="http://schemas.microsoft.com/office/drawing/2014/main" id="{90D5DA5E-17BE-42E0-86F1-8B0338A02264}"/>
                  </a:ext>
                </a:extLst>
              </p:cNvPr>
              <p:cNvSpPr txBox="1"/>
              <p:nvPr/>
            </p:nvSpPr>
            <p:spPr bwMode="auto">
              <a:xfrm>
                <a:off x="3889580" y="3153884"/>
                <a:ext cx="266098" cy="287323"/>
              </a:xfrm>
              <a:prstGeom prst="rect">
                <a:avLst/>
              </a:prstGeom>
            </p:spPr>
            <p:txBody>
              <a:bodyPr wrap="none" lIns="91440" tIns="45720" rIns="91440" bIns="45720" anchor="ctr">
                <a:noAutofit/>
                <a:scene3d>
                  <a:camera prst="orthographicFront"/>
                  <a:lightRig rig="threePt" dir="t"/>
                </a:scene3d>
                <a:sp3d/>
              </a:bodyPr>
              <a:lstStyle/>
              <a:p>
                <a:pPr marL="0" indent="0" algn="ctr">
                  <a:spcBef>
                    <a:spcPct val="0"/>
                  </a:spcBef>
                  <a:defRPr/>
                </a:pPr>
                <a:r>
                  <a:rPr lang="en-US" sz="1867" b="1"/>
                  <a:t>0</a:t>
                </a:r>
                <a:r>
                  <a:rPr lang="en-US" sz="100" b="1"/>
                  <a:t> </a:t>
                </a:r>
                <a:r>
                  <a:rPr lang="en-US" sz="1867" b="1"/>
                  <a:t>1</a:t>
                </a:r>
                <a:endParaRPr lang="en-US" sz="1867" b="1" dirty="0"/>
              </a:p>
            </p:txBody>
          </p:sp>
          <p:sp>
            <p:nvSpPr>
              <p:cNvPr id="22" name="ïṣlîďé">
                <a:extLst>
                  <a:ext uri="{FF2B5EF4-FFF2-40B4-BE49-F238E27FC236}">
                    <a16:creationId xmlns:a16="http://schemas.microsoft.com/office/drawing/2014/main" id="{740B61BB-EB72-4A51-BEC5-3DC0C9D1DF77}"/>
                  </a:ext>
                </a:extLst>
              </p:cNvPr>
              <p:cNvSpPr txBox="1"/>
              <p:nvPr/>
            </p:nvSpPr>
            <p:spPr bwMode="auto">
              <a:xfrm>
                <a:off x="3889580" y="3588957"/>
                <a:ext cx="266098" cy="287323"/>
              </a:xfrm>
              <a:prstGeom prst="rect">
                <a:avLst/>
              </a:prstGeom>
            </p:spPr>
            <p:txBody>
              <a:bodyPr wrap="none" lIns="91440" tIns="45720" rIns="91440" bIns="45720" anchor="ctr">
                <a:noAutofit/>
                <a:scene3d>
                  <a:camera prst="orthographicFront"/>
                  <a:lightRig rig="threePt" dir="t"/>
                </a:scene3d>
                <a:sp3d/>
              </a:bodyPr>
              <a:lstStyle/>
              <a:p>
                <a:pPr marL="0" indent="0" algn="ctr">
                  <a:spcBef>
                    <a:spcPct val="0"/>
                  </a:spcBef>
                  <a:defRPr/>
                </a:pPr>
                <a:r>
                  <a:rPr lang="en-US" sz="1867" b="1"/>
                  <a:t>0</a:t>
                </a:r>
                <a:r>
                  <a:rPr lang="en-US" sz="100" b="1"/>
                  <a:t> </a:t>
                </a:r>
                <a:r>
                  <a:rPr lang="en-US" sz="1867" b="1"/>
                  <a:t>4</a:t>
                </a:r>
              </a:p>
            </p:txBody>
          </p:sp>
          <p:sp>
            <p:nvSpPr>
              <p:cNvPr id="23" name="íṧ1iḋé">
                <a:extLst>
                  <a:ext uri="{FF2B5EF4-FFF2-40B4-BE49-F238E27FC236}">
                    <a16:creationId xmlns:a16="http://schemas.microsoft.com/office/drawing/2014/main" id="{5E38381A-7987-4F59-9A07-6FEBC8C33FC5}"/>
                  </a:ext>
                </a:extLst>
              </p:cNvPr>
              <p:cNvSpPr txBox="1"/>
              <p:nvPr/>
            </p:nvSpPr>
            <p:spPr bwMode="auto">
              <a:xfrm>
                <a:off x="8069708" y="3153884"/>
                <a:ext cx="266098" cy="287323"/>
              </a:xfrm>
              <a:prstGeom prst="rect">
                <a:avLst/>
              </a:prstGeom>
            </p:spPr>
            <p:txBody>
              <a:bodyPr wrap="none" lIns="91440" tIns="45720" rIns="91440" bIns="45720" anchor="ctr">
                <a:noAutofit/>
                <a:scene3d>
                  <a:camera prst="orthographicFront"/>
                  <a:lightRig rig="threePt" dir="t"/>
                </a:scene3d>
                <a:sp3d/>
              </a:bodyPr>
              <a:lstStyle/>
              <a:p>
                <a:pPr marL="0" indent="0" algn="ctr">
                  <a:spcBef>
                    <a:spcPct val="0"/>
                  </a:spcBef>
                  <a:defRPr/>
                </a:pPr>
                <a:r>
                  <a:rPr lang="en-US" sz="1867" b="1"/>
                  <a:t>0</a:t>
                </a:r>
                <a:r>
                  <a:rPr lang="en-US" sz="100" b="1"/>
                  <a:t> </a:t>
                </a:r>
                <a:r>
                  <a:rPr lang="en-US" sz="1867" b="1"/>
                  <a:t>3</a:t>
                </a:r>
              </a:p>
            </p:txBody>
          </p:sp>
          <p:sp>
            <p:nvSpPr>
              <p:cNvPr id="24" name="îṣlíḓê">
                <a:extLst>
                  <a:ext uri="{FF2B5EF4-FFF2-40B4-BE49-F238E27FC236}">
                    <a16:creationId xmlns:a16="http://schemas.microsoft.com/office/drawing/2014/main" id="{040F146B-E9FF-44D9-8EE9-D24AB02880A3}"/>
                  </a:ext>
                </a:extLst>
              </p:cNvPr>
              <p:cNvSpPr txBox="1"/>
              <p:nvPr/>
            </p:nvSpPr>
            <p:spPr bwMode="auto">
              <a:xfrm>
                <a:off x="8069708" y="3588957"/>
                <a:ext cx="266098" cy="287323"/>
              </a:xfrm>
              <a:prstGeom prst="rect">
                <a:avLst/>
              </a:prstGeom>
            </p:spPr>
            <p:txBody>
              <a:bodyPr wrap="none" lIns="91440" tIns="45720" rIns="91440" bIns="45720" anchor="ctr">
                <a:noAutofit/>
                <a:scene3d>
                  <a:camera prst="orthographicFront"/>
                  <a:lightRig rig="threePt" dir="t"/>
                </a:scene3d>
                <a:sp3d/>
              </a:bodyPr>
              <a:lstStyle/>
              <a:p>
                <a:pPr marL="0" indent="0" algn="ctr">
                  <a:spcBef>
                    <a:spcPct val="0"/>
                  </a:spcBef>
                  <a:defRPr/>
                </a:pPr>
                <a:r>
                  <a:rPr lang="en-US" sz="1867" b="1"/>
                  <a:t>0</a:t>
                </a:r>
                <a:r>
                  <a:rPr lang="en-US" sz="100" b="1"/>
                  <a:t> </a:t>
                </a:r>
                <a:r>
                  <a:rPr lang="en-US" sz="1867" b="1"/>
                  <a:t>2</a:t>
                </a:r>
              </a:p>
            </p:txBody>
          </p:sp>
          <p:sp>
            <p:nvSpPr>
              <p:cNvPr id="25" name="íşļïḑé">
                <a:extLst>
                  <a:ext uri="{FF2B5EF4-FFF2-40B4-BE49-F238E27FC236}">
                    <a16:creationId xmlns:a16="http://schemas.microsoft.com/office/drawing/2014/main" id="{4A9CAB94-50F4-4C6F-8308-23DD23B903A8}"/>
                  </a:ext>
                </a:extLst>
              </p:cNvPr>
              <p:cNvSpPr/>
              <p:nvPr/>
            </p:nvSpPr>
            <p:spPr bwMode="auto">
              <a:xfrm>
                <a:off x="4758875" y="3158448"/>
                <a:ext cx="633204" cy="633204"/>
              </a:xfrm>
              <a:custGeom>
                <a:avLst/>
                <a:gdLst>
                  <a:gd name="T0" fmla="*/ 184 w 260"/>
                  <a:gd name="T1" fmla="*/ 106 h 260"/>
                  <a:gd name="T2" fmla="*/ 193 w 260"/>
                  <a:gd name="T3" fmla="*/ 143 h 260"/>
                  <a:gd name="T4" fmla="*/ 117 w 260"/>
                  <a:gd name="T5" fmla="*/ 219 h 260"/>
                  <a:gd name="T6" fmla="*/ 42 w 260"/>
                  <a:gd name="T7" fmla="*/ 143 h 260"/>
                  <a:gd name="T8" fmla="*/ 117 w 260"/>
                  <a:gd name="T9" fmla="*/ 66 h 260"/>
                  <a:gd name="T10" fmla="*/ 154 w 260"/>
                  <a:gd name="T11" fmla="*/ 76 h 260"/>
                  <a:gd name="T12" fmla="*/ 183 w 260"/>
                  <a:gd name="T13" fmla="*/ 46 h 260"/>
                  <a:gd name="T14" fmla="*/ 117 w 260"/>
                  <a:gd name="T15" fmla="*/ 25 h 260"/>
                  <a:gd name="T16" fmla="*/ 0 w 260"/>
                  <a:gd name="T17" fmla="*/ 143 h 260"/>
                  <a:gd name="T18" fmla="*/ 117 w 260"/>
                  <a:gd name="T19" fmla="*/ 260 h 260"/>
                  <a:gd name="T20" fmla="*/ 233 w 260"/>
                  <a:gd name="T21" fmla="*/ 143 h 260"/>
                  <a:gd name="T22" fmla="*/ 213 w 260"/>
                  <a:gd name="T23" fmla="*/ 77 h 260"/>
                  <a:gd name="T24" fmla="*/ 184 w 260"/>
                  <a:gd name="T25" fmla="*/ 106 h 260"/>
                  <a:gd name="T26" fmla="*/ 225 w 260"/>
                  <a:gd name="T27" fmla="*/ 35 h 260"/>
                  <a:gd name="T28" fmla="*/ 225 w 260"/>
                  <a:gd name="T29" fmla="*/ 35 h 260"/>
                  <a:gd name="T30" fmla="*/ 225 w 260"/>
                  <a:gd name="T31" fmla="*/ 0 h 260"/>
                  <a:gd name="T32" fmla="*/ 203 w 260"/>
                  <a:gd name="T33" fmla="*/ 23 h 260"/>
                  <a:gd name="T34" fmla="*/ 203 w 260"/>
                  <a:gd name="T35" fmla="*/ 46 h 260"/>
                  <a:gd name="T36" fmla="*/ 139 w 260"/>
                  <a:gd name="T37" fmla="*/ 111 h 260"/>
                  <a:gd name="T38" fmla="*/ 117 w 260"/>
                  <a:gd name="T39" fmla="*/ 104 h 260"/>
                  <a:gd name="T40" fmla="*/ 79 w 260"/>
                  <a:gd name="T41" fmla="*/ 143 h 260"/>
                  <a:gd name="T42" fmla="*/ 117 w 260"/>
                  <a:gd name="T43" fmla="*/ 181 h 260"/>
                  <a:gd name="T44" fmla="*/ 155 w 260"/>
                  <a:gd name="T45" fmla="*/ 143 h 260"/>
                  <a:gd name="T46" fmla="*/ 150 w 260"/>
                  <a:gd name="T47" fmla="*/ 123 h 260"/>
                  <a:gd name="T48" fmla="*/ 215 w 260"/>
                  <a:gd name="T49" fmla="*/ 58 h 260"/>
                  <a:gd name="T50" fmla="*/ 237 w 260"/>
                  <a:gd name="T51" fmla="*/ 58 h 260"/>
                  <a:gd name="T52" fmla="*/ 260 w 260"/>
                  <a:gd name="T53" fmla="*/ 35 h 260"/>
                  <a:gd name="T54" fmla="*/ 225 w 260"/>
                  <a:gd name="T55" fmla="*/ 35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60" h="260">
                    <a:moveTo>
                      <a:pt x="184" y="106"/>
                    </a:moveTo>
                    <a:cubicBezTo>
                      <a:pt x="190" y="117"/>
                      <a:pt x="193" y="129"/>
                      <a:pt x="193" y="143"/>
                    </a:cubicBezTo>
                    <a:cubicBezTo>
                      <a:pt x="193" y="185"/>
                      <a:pt x="159" y="219"/>
                      <a:pt x="117" y="219"/>
                    </a:cubicBezTo>
                    <a:cubicBezTo>
                      <a:pt x="76" y="219"/>
                      <a:pt x="42" y="185"/>
                      <a:pt x="42" y="143"/>
                    </a:cubicBezTo>
                    <a:cubicBezTo>
                      <a:pt x="42" y="100"/>
                      <a:pt x="76" y="66"/>
                      <a:pt x="117" y="66"/>
                    </a:cubicBezTo>
                    <a:cubicBezTo>
                      <a:pt x="131" y="66"/>
                      <a:pt x="143" y="70"/>
                      <a:pt x="154" y="76"/>
                    </a:cubicBezTo>
                    <a:cubicBezTo>
                      <a:pt x="183" y="46"/>
                      <a:pt x="183" y="46"/>
                      <a:pt x="183" y="46"/>
                    </a:cubicBezTo>
                    <a:cubicBezTo>
                      <a:pt x="165" y="33"/>
                      <a:pt x="141" y="25"/>
                      <a:pt x="117" y="25"/>
                    </a:cubicBezTo>
                    <a:cubicBezTo>
                      <a:pt x="52" y="25"/>
                      <a:pt x="0" y="78"/>
                      <a:pt x="0" y="143"/>
                    </a:cubicBezTo>
                    <a:cubicBezTo>
                      <a:pt x="0" y="207"/>
                      <a:pt x="52" y="260"/>
                      <a:pt x="117" y="260"/>
                    </a:cubicBezTo>
                    <a:cubicBezTo>
                      <a:pt x="181" y="260"/>
                      <a:pt x="233" y="207"/>
                      <a:pt x="233" y="143"/>
                    </a:cubicBezTo>
                    <a:cubicBezTo>
                      <a:pt x="233" y="118"/>
                      <a:pt x="226" y="96"/>
                      <a:pt x="213" y="77"/>
                    </a:cubicBezTo>
                    <a:cubicBezTo>
                      <a:pt x="184" y="106"/>
                      <a:pt x="184" y="106"/>
                      <a:pt x="184" y="106"/>
                    </a:cubicBezTo>
                    <a:close/>
                    <a:moveTo>
                      <a:pt x="225" y="35"/>
                    </a:moveTo>
                    <a:cubicBezTo>
                      <a:pt x="225" y="35"/>
                      <a:pt x="225" y="35"/>
                      <a:pt x="225" y="35"/>
                    </a:cubicBezTo>
                    <a:cubicBezTo>
                      <a:pt x="225" y="0"/>
                      <a:pt x="225" y="0"/>
                      <a:pt x="225" y="0"/>
                    </a:cubicBezTo>
                    <a:cubicBezTo>
                      <a:pt x="203" y="23"/>
                      <a:pt x="203" y="23"/>
                      <a:pt x="203" y="23"/>
                    </a:cubicBezTo>
                    <a:cubicBezTo>
                      <a:pt x="203" y="46"/>
                      <a:pt x="203" y="46"/>
                      <a:pt x="203" y="46"/>
                    </a:cubicBezTo>
                    <a:cubicBezTo>
                      <a:pt x="139" y="111"/>
                      <a:pt x="139" y="111"/>
                      <a:pt x="139" y="111"/>
                    </a:cubicBezTo>
                    <a:cubicBezTo>
                      <a:pt x="133" y="106"/>
                      <a:pt x="125" y="104"/>
                      <a:pt x="117" y="104"/>
                    </a:cubicBezTo>
                    <a:cubicBezTo>
                      <a:pt x="96" y="104"/>
                      <a:pt x="79" y="121"/>
                      <a:pt x="79" y="143"/>
                    </a:cubicBezTo>
                    <a:cubicBezTo>
                      <a:pt x="79" y="164"/>
                      <a:pt x="96" y="181"/>
                      <a:pt x="117" y="181"/>
                    </a:cubicBezTo>
                    <a:cubicBezTo>
                      <a:pt x="138" y="181"/>
                      <a:pt x="155" y="164"/>
                      <a:pt x="155" y="143"/>
                    </a:cubicBezTo>
                    <a:cubicBezTo>
                      <a:pt x="155" y="136"/>
                      <a:pt x="154" y="129"/>
                      <a:pt x="150" y="123"/>
                    </a:cubicBezTo>
                    <a:cubicBezTo>
                      <a:pt x="215" y="58"/>
                      <a:pt x="215" y="58"/>
                      <a:pt x="215" y="58"/>
                    </a:cubicBezTo>
                    <a:cubicBezTo>
                      <a:pt x="237" y="58"/>
                      <a:pt x="237" y="58"/>
                      <a:pt x="237" y="58"/>
                    </a:cubicBezTo>
                    <a:cubicBezTo>
                      <a:pt x="260" y="35"/>
                      <a:pt x="260" y="35"/>
                      <a:pt x="260" y="35"/>
                    </a:cubicBezTo>
                    <a:cubicBezTo>
                      <a:pt x="225" y="35"/>
                      <a:pt x="225" y="35"/>
                      <a:pt x="225" y="3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26" name="iṧ1ïḍe">
                <a:extLst>
                  <a:ext uri="{FF2B5EF4-FFF2-40B4-BE49-F238E27FC236}">
                    <a16:creationId xmlns:a16="http://schemas.microsoft.com/office/drawing/2014/main" id="{B8FFCD2C-CCBD-4C98-8E2F-7DAB61B89AA9}"/>
                  </a:ext>
                </a:extLst>
              </p:cNvPr>
              <p:cNvSpPr/>
              <p:nvPr/>
            </p:nvSpPr>
            <p:spPr bwMode="auto">
              <a:xfrm>
                <a:off x="6812073" y="3158448"/>
                <a:ext cx="633204" cy="633204"/>
              </a:xfrm>
              <a:custGeom>
                <a:avLst/>
                <a:gdLst>
                  <a:gd name="T0" fmla="*/ 0 w 236"/>
                  <a:gd name="T1" fmla="*/ 118 h 236"/>
                  <a:gd name="T2" fmla="*/ 236 w 236"/>
                  <a:gd name="T3" fmla="*/ 118 h 236"/>
                  <a:gd name="T4" fmla="*/ 150 w 236"/>
                  <a:gd name="T5" fmla="*/ 168 h 236"/>
                  <a:gd name="T6" fmla="*/ 128 w 236"/>
                  <a:gd name="T7" fmla="*/ 196 h 236"/>
                  <a:gd name="T8" fmla="*/ 125 w 236"/>
                  <a:gd name="T9" fmla="*/ 199 h 236"/>
                  <a:gd name="T10" fmla="*/ 111 w 236"/>
                  <a:gd name="T11" fmla="*/ 198 h 236"/>
                  <a:gd name="T12" fmla="*/ 110 w 236"/>
                  <a:gd name="T13" fmla="*/ 180 h 236"/>
                  <a:gd name="T14" fmla="*/ 90 w 236"/>
                  <a:gd name="T15" fmla="*/ 173 h 236"/>
                  <a:gd name="T16" fmla="*/ 79 w 236"/>
                  <a:gd name="T17" fmla="*/ 166 h 236"/>
                  <a:gd name="T18" fmla="*/ 78 w 236"/>
                  <a:gd name="T19" fmla="*/ 160 h 236"/>
                  <a:gd name="T20" fmla="*/ 89 w 236"/>
                  <a:gd name="T21" fmla="*/ 147 h 236"/>
                  <a:gd name="T22" fmla="*/ 91 w 236"/>
                  <a:gd name="T23" fmla="*/ 148 h 236"/>
                  <a:gd name="T24" fmla="*/ 119 w 236"/>
                  <a:gd name="T25" fmla="*/ 160 h 236"/>
                  <a:gd name="T26" fmla="*/ 137 w 236"/>
                  <a:gd name="T27" fmla="*/ 145 h 236"/>
                  <a:gd name="T28" fmla="*/ 133 w 236"/>
                  <a:gd name="T29" fmla="*/ 137 h 236"/>
                  <a:gd name="T30" fmla="*/ 122 w 236"/>
                  <a:gd name="T31" fmla="*/ 130 h 236"/>
                  <a:gd name="T32" fmla="*/ 109 w 236"/>
                  <a:gd name="T33" fmla="*/ 125 h 236"/>
                  <a:gd name="T34" fmla="*/ 98 w 236"/>
                  <a:gd name="T35" fmla="*/ 120 h 236"/>
                  <a:gd name="T36" fmla="*/ 89 w 236"/>
                  <a:gd name="T37" fmla="*/ 113 h 236"/>
                  <a:gd name="T38" fmla="*/ 82 w 236"/>
                  <a:gd name="T39" fmla="*/ 103 h 236"/>
                  <a:gd name="T40" fmla="*/ 79 w 236"/>
                  <a:gd name="T41" fmla="*/ 90 h 236"/>
                  <a:gd name="T42" fmla="*/ 110 w 236"/>
                  <a:gd name="T43" fmla="*/ 57 h 236"/>
                  <a:gd name="T44" fmla="*/ 111 w 236"/>
                  <a:gd name="T45" fmla="*/ 38 h 236"/>
                  <a:gd name="T46" fmla="*/ 125 w 236"/>
                  <a:gd name="T47" fmla="*/ 37 h 236"/>
                  <a:gd name="T48" fmla="*/ 128 w 236"/>
                  <a:gd name="T49" fmla="*/ 40 h 236"/>
                  <a:gd name="T50" fmla="*/ 137 w 236"/>
                  <a:gd name="T51" fmla="*/ 58 h 236"/>
                  <a:gd name="T52" fmla="*/ 151 w 236"/>
                  <a:gd name="T53" fmla="*/ 65 h 236"/>
                  <a:gd name="T54" fmla="*/ 155 w 236"/>
                  <a:gd name="T55" fmla="*/ 69 h 236"/>
                  <a:gd name="T56" fmla="*/ 149 w 236"/>
                  <a:gd name="T57" fmla="*/ 85 h 236"/>
                  <a:gd name="T58" fmla="*/ 144 w 236"/>
                  <a:gd name="T59" fmla="*/ 86 h 236"/>
                  <a:gd name="T60" fmla="*/ 140 w 236"/>
                  <a:gd name="T61" fmla="*/ 82 h 236"/>
                  <a:gd name="T62" fmla="*/ 128 w 236"/>
                  <a:gd name="T63" fmla="*/ 77 h 236"/>
                  <a:gd name="T64" fmla="*/ 107 w 236"/>
                  <a:gd name="T65" fmla="*/ 80 h 236"/>
                  <a:gd name="T66" fmla="*/ 102 w 236"/>
                  <a:gd name="T67" fmla="*/ 94 h 236"/>
                  <a:gd name="T68" fmla="*/ 108 w 236"/>
                  <a:gd name="T69" fmla="*/ 101 h 236"/>
                  <a:gd name="T70" fmla="*/ 118 w 236"/>
                  <a:gd name="T71" fmla="*/ 106 h 236"/>
                  <a:gd name="T72" fmla="*/ 132 w 236"/>
                  <a:gd name="T73" fmla="*/ 112 h 236"/>
                  <a:gd name="T74" fmla="*/ 145 w 236"/>
                  <a:gd name="T75" fmla="*/ 119 h 236"/>
                  <a:gd name="T76" fmla="*/ 155 w 236"/>
                  <a:gd name="T77" fmla="*/ 129 h 236"/>
                  <a:gd name="T78" fmla="*/ 159 w 236"/>
                  <a:gd name="T79" fmla="*/ 144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36" h="236">
                    <a:moveTo>
                      <a:pt x="118" y="0"/>
                    </a:moveTo>
                    <a:cubicBezTo>
                      <a:pt x="53" y="0"/>
                      <a:pt x="0" y="53"/>
                      <a:pt x="0" y="118"/>
                    </a:cubicBezTo>
                    <a:cubicBezTo>
                      <a:pt x="0" y="183"/>
                      <a:pt x="53" y="236"/>
                      <a:pt x="118" y="236"/>
                    </a:cubicBezTo>
                    <a:cubicBezTo>
                      <a:pt x="183" y="236"/>
                      <a:pt x="236" y="183"/>
                      <a:pt x="236" y="118"/>
                    </a:cubicBezTo>
                    <a:cubicBezTo>
                      <a:pt x="236" y="53"/>
                      <a:pt x="183" y="0"/>
                      <a:pt x="118" y="0"/>
                    </a:cubicBezTo>
                    <a:moveTo>
                      <a:pt x="150" y="168"/>
                    </a:moveTo>
                    <a:cubicBezTo>
                      <a:pt x="145" y="175"/>
                      <a:pt x="137" y="179"/>
                      <a:pt x="128" y="180"/>
                    </a:cubicBezTo>
                    <a:cubicBezTo>
                      <a:pt x="128" y="196"/>
                      <a:pt x="128" y="196"/>
                      <a:pt x="128" y="196"/>
                    </a:cubicBezTo>
                    <a:cubicBezTo>
                      <a:pt x="128" y="197"/>
                      <a:pt x="127" y="198"/>
                      <a:pt x="127" y="198"/>
                    </a:cubicBezTo>
                    <a:cubicBezTo>
                      <a:pt x="126" y="199"/>
                      <a:pt x="126" y="199"/>
                      <a:pt x="125" y="199"/>
                    </a:cubicBezTo>
                    <a:cubicBezTo>
                      <a:pt x="113" y="199"/>
                      <a:pt x="113" y="199"/>
                      <a:pt x="113" y="199"/>
                    </a:cubicBezTo>
                    <a:cubicBezTo>
                      <a:pt x="112" y="199"/>
                      <a:pt x="111" y="199"/>
                      <a:pt x="111" y="198"/>
                    </a:cubicBezTo>
                    <a:cubicBezTo>
                      <a:pt x="110" y="197"/>
                      <a:pt x="110" y="197"/>
                      <a:pt x="110" y="196"/>
                    </a:cubicBezTo>
                    <a:cubicBezTo>
                      <a:pt x="110" y="180"/>
                      <a:pt x="110" y="180"/>
                      <a:pt x="110" y="180"/>
                    </a:cubicBezTo>
                    <a:cubicBezTo>
                      <a:pt x="106" y="180"/>
                      <a:pt x="102" y="179"/>
                      <a:pt x="99" y="177"/>
                    </a:cubicBezTo>
                    <a:cubicBezTo>
                      <a:pt x="95" y="176"/>
                      <a:pt x="92" y="175"/>
                      <a:pt x="90" y="173"/>
                    </a:cubicBezTo>
                    <a:cubicBezTo>
                      <a:pt x="88" y="172"/>
                      <a:pt x="85" y="171"/>
                      <a:pt x="83" y="169"/>
                    </a:cubicBezTo>
                    <a:cubicBezTo>
                      <a:pt x="81" y="168"/>
                      <a:pt x="80" y="166"/>
                      <a:pt x="79" y="166"/>
                    </a:cubicBezTo>
                    <a:cubicBezTo>
                      <a:pt x="79" y="165"/>
                      <a:pt x="78" y="164"/>
                      <a:pt x="78" y="164"/>
                    </a:cubicBezTo>
                    <a:cubicBezTo>
                      <a:pt x="77" y="163"/>
                      <a:pt x="77" y="162"/>
                      <a:pt x="78" y="160"/>
                    </a:cubicBezTo>
                    <a:cubicBezTo>
                      <a:pt x="87" y="148"/>
                      <a:pt x="87" y="148"/>
                      <a:pt x="87" y="148"/>
                    </a:cubicBezTo>
                    <a:cubicBezTo>
                      <a:pt x="87" y="148"/>
                      <a:pt x="88" y="147"/>
                      <a:pt x="89" y="147"/>
                    </a:cubicBezTo>
                    <a:cubicBezTo>
                      <a:pt x="90" y="147"/>
                      <a:pt x="90" y="147"/>
                      <a:pt x="91" y="148"/>
                    </a:cubicBezTo>
                    <a:cubicBezTo>
                      <a:pt x="91" y="148"/>
                      <a:pt x="91" y="148"/>
                      <a:pt x="91" y="148"/>
                    </a:cubicBezTo>
                    <a:cubicBezTo>
                      <a:pt x="98" y="154"/>
                      <a:pt x="105" y="158"/>
                      <a:pt x="112" y="159"/>
                    </a:cubicBezTo>
                    <a:cubicBezTo>
                      <a:pt x="115" y="160"/>
                      <a:pt x="117" y="160"/>
                      <a:pt x="119" y="160"/>
                    </a:cubicBezTo>
                    <a:cubicBezTo>
                      <a:pt x="124" y="160"/>
                      <a:pt x="128" y="159"/>
                      <a:pt x="131" y="156"/>
                    </a:cubicBezTo>
                    <a:cubicBezTo>
                      <a:pt x="135" y="154"/>
                      <a:pt x="137" y="150"/>
                      <a:pt x="137" y="145"/>
                    </a:cubicBezTo>
                    <a:cubicBezTo>
                      <a:pt x="137" y="144"/>
                      <a:pt x="136" y="142"/>
                      <a:pt x="136" y="140"/>
                    </a:cubicBezTo>
                    <a:cubicBezTo>
                      <a:pt x="135" y="139"/>
                      <a:pt x="134" y="138"/>
                      <a:pt x="133" y="137"/>
                    </a:cubicBezTo>
                    <a:cubicBezTo>
                      <a:pt x="132" y="136"/>
                      <a:pt x="130" y="135"/>
                      <a:pt x="127" y="133"/>
                    </a:cubicBezTo>
                    <a:cubicBezTo>
                      <a:pt x="125" y="132"/>
                      <a:pt x="123" y="131"/>
                      <a:pt x="122" y="130"/>
                    </a:cubicBezTo>
                    <a:cubicBezTo>
                      <a:pt x="120" y="130"/>
                      <a:pt x="118" y="129"/>
                      <a:pt x="115" y="128"/>
                    </a:cubicBezTo>
                    <a:cubicBezTo>
                      <a:pt x="112" y="127"/>
                      <a:pt x="110" y="126"/>
                      <a:pt x="109" y="125"/>
                    </a:cubicBezTo>
                    <a:cubicBezTo>
                      <a:pt x="108" y="125"/>
                      <a:pt x="106" y="124"/>
                      <a:pt x="104" y="123"/>
                    </a:cubicBezTo>
                    <a:cubicBezTo>
                      <a:pt x="101" y="122"/>
                      <a:pt x="100" y="121"/>
                      <a:pt x="98" y="120"/>
                    </a:cubicBezTo>
                    <a:cubicBezTo>
                      <a:pt x="97" y="119"/>
                      <a:pt x="95" y="118"/>
                      <a:pt x="93" y="117"/>
                    </a:cubicBezTo>
                    <a:cubicBezTo>
                      <a:pt x="91" y="116"/>
                      <a:pt x="90" y="114"/>
                      <a:pt x="89" y="113"/>
                    </a:cubicBezTo>
                    <a:cubicBezTo>
                      <a:pt x="87" y="112"/>
                      <a:pt x="86" y="110"/>
                      <a:pt x="85" y="109"/>
                    </a:cubicBezTo>
                    <a:cubicBezTo>
                      <a:pt x="83" y="107"/>
                      <a:pt x="82" y="105"/>
                      <a:pt x="82" y="103"/>
                    </a:cubicBezTo>
                    <a:cubicBezTo>
                      <a:pt x="81" y="102"/>
                      <a:pt x="80" y="100"/>
                      <a:pt x="80" y="97"/>
                    </a:cubicBezTo>
                    <a:cubicBezTo>
                      <a:pt x="79" y="95"/>
                      <a:pt x="79" y="93"/>
                      <a:pt x="79" y="90"/>
                    </a:cubicBezTo>
                    <a:cubicBezTo>
                      <a:pt x="79" y="82"/>
                      <a:pt x="82" y="75"/>
                      <a:pt x="88" y="69"/>
                    </a:cubicBezTo>
                    <a:cubicBezTo>
                      <a:pt x="93" y="62"/>
                      <a:pt x="101" y="58"/>
                      <a:pt x="110" y="57"/>
                    </a:cubicBezTo>
                    <a:cubicBezTo>
                      <a:pt x="110" y="40"/>
                      <a:pt x="110" y="40"/>
                      <a:pt x="110" y="40"/>
                    </a:cubicBezTo>
                    <a:cubicBezTo>
                      <a:pt x="110" y="40"/>
                      <a:pt x="110" y="39"/>
                      <a:pt x="111" y="38"/>
                    </a:cubicBezTo>
                    <a:cubicBezTo>
                      <a:pt x="111" y="38"/>
                      <a:pt x="112" y="37"/>
                      <a:pt x="113" y="37"/>
                    </a:cubicBezTo>
                    <a:cubicBezTo>
                      <a:pt x="125" y="37"/>
                      <a:pt x="125" y="37"/>
                      <a:pt x="125" y="37"/>
                    </a:cubicBezTo>
                    <a:cubicBezTo>
                      <a:pt x="126" y="37"/>
                      <a:pt x="126" y="38"/>
                      <a:pt x="127" y="38"/>
                    </a:cubicBezTo>
                    <a:cubicBezTo>
                      <a:pt x="127" y="39"/>
                      <a:pt x="128" y="39"/>
                      <a:pt x="128" y="40"/>
                    </a:cubicBezTo>
                    <a:cubicBezTo>
                      <a:pt x="128" y="56"/>
                      <a:pt x="128" y="56"/>
                      <a:pt x="128" y="56"/>
                    </a:cubicBezTo>
                    <a:cubicBezTo>
                      <a:pt x="131" y="57"/>
                      <a:pt x="134" y="57"/>
                      <a:pt x="137" y="58"/>
                    </a:cubicBezTo>
                    <a:cubicBezTo>
                      <a:pt x="140" y="59"/>
                      <a:pt x="143" y="60"/>
                      <a:pt x="145" y="61"/>
                    </a:cubicBezTo>
                    <a:cubicBezTo>
                      <a:pt x="147" y="62"/>
                      <a:pt x="149" y="63"/>
                      <a:pt x="151" y="65"/>
                    </a:cubicBezTo>
                    <a:cubicBezTo>
                      <a:pt x="152" y="66"/>
                      <a:pt x="153" y="67"/>
                      <a:pt x="154" y="67"/>
                    </a:cubicBezTo>
                    <a:cubicBezTo>
                      <a:pt x="155" y="68"/>
                      <a:pt x="155" y="68"/>
                      <a:pt x="155" y="69"/>
                    </a:cubicBezTo>
                    <a:cubicBezTo>
                      <a:pt x="156" y="70"/>
                      <a:pt x="156" y="71"/>
                      <a:pt x="156" y="72"/>
                    </a:cubicBezTo>
                    <a:cubicBezTo>
                      <a:pt x="149" y="85"/>
                      <a:pt x="149" y="85"/>
                      <a:pt x="149" y="85"/>
                    </a:cubicBezTo>
                    <a:cubicBezTo>
                      <a:pt x="148" y="86"/>
                      <a:pt x="148" y="86"/>
                      <a:pt x="147" y="87"/>
                    </a:cubicBezTo>
                    <a:cubicBezTo>
                      <a:pt x="146" y="87"/>
                      <a:pt x="145" y="86"/>
                      <a:pt x="144" y="86"/>
                    </a:cubicBezTo>
                    <a:cubicBezTo>
                      <a:pt x="144" y="86"/>
                      <a:pt x="144" y="85"/>
                      <a:pt x="143" y="85"/>
                    </a:cubicBezTo>
                    <a:cubicBezTo>
                      <a:pt x="142" y="84"/>
                      <a:pt x="141" y="83"/>
                      <a:pt x="140" y="82"/>
                    </a:cubicBezTo>
                    <a:cubicBezTo>
                      <a:pt x="138" y="81"/>
                      <a:pt x="136" y="80"/>
                      <a:pt x="134" y="80"/>
                    </a:cubicBezTo>
                    <a:cubicBezTo>
                      <a:pt x="133" y="79"/>
                      <a:pt x="130" y="78"/>
                      <a:pt x="128" y="77"/>
                    </a:cubicBezTo>
                    <a:cubicBezTo>
                      <a:pt x="125" y="77"/>
                      <a:pt x="123" y="76"/>
                      <a:pt x="120" y="76"/>
                    </a:cubicBezTo>
                    <a:cubicBezTo>
                      <a:pt x="115" y="76"/>
                      <a:pt x="110" y="77"/>
                      <a:pt x="107" y="80"/>
                    </a:cubicBezTo>
                    <a:cubicBezTo>
                      <a:pt x="103" y="83"/>
                      <a:pt x="101" y="86"/>
                      <a:pt x="101" y="90"/>
                    </a:cubicBezTo>
                    <a:cubicBezTo>
                      <a:pt x="101" y="92"/>
                      <a:pt x="102" y="93"/>
                      <a:pt x="102" y="94"/>
                    </a:cubicBezTo>
                    <a:cubicBezTo>
                      <a:pt x="103" y="96"/>
                      <a:pt x="103" y="97"/>
                      <a:pt x="105" y="98"/>
                    </a:cubicBezTo>
                    <a:cubicBezTo>
                      <a:pt x="106" y="99"/>
                      <a:pt x="107" y="100"/>
                      <a:pt x="108" y="101"/>
                    </a:cubicBezTo>
                    <a:cubicBezTo>
                      <a:pt x="109" y="102"/>
                      <a:pt x="111" y="103"/>
                      <a:pt x="113" y="104"/>
                    </a:cubicBezTo>
                    <a:cubicBezTo>
                      <a:pt x="115" y="105"/>
                      <a:pt x="117" y="106"/>
                      <a:pt x="118" y="106"/>
                    </a:cubicBezTo>
                    <a:cubicBezTo>
                      <a:pt x="120" y="107"/>
                      <a:pt x="122" y="108"/>
                      <a:pt x="125" y="109"/>
                    </a:cubicBezTo>
                    <a:cubicBezTo>
                      <a:pt x="128" y="110"/>
                      <a:pt x="130" y="111"/>
                      <a:pt x="132" y="112"/>
                    </a:cubicBezTo>
                    <a:cubicBezTo>
                      <a:pt x="133" y="112"/>
                      <a:pt x="136" y="113"/>
                      <a:pt x="138" y="115"/>
                    </a:cubicBezTo>
                    <a:cubicBezTo>
                      <a:pt x="141" y="116"/>
                      <a:pt x="143" y="117"/>
                      <a:pt x="145" y="119"/>
                    </a:cubicBezTo>
                    <a:cubicBezTo>
                      <a:pt x="147" y="120"/>
                      <a:pt x="149" y="121"/>
                      <a:pt x="151" y="123"/>
                    </a:cubicBezTo>
                    <a:cubicBezTo>
                      <a:pt x="153" y="125"/>
                      <a:pt x="154" y="127"/>
                      <a:pt x="155" y="129"/>
                    </a:cubicBezTo>
                    <a:cubicBezTo>
                      <a:pt x="156" y="131"/>
                      <a:pt x="157" y="133"/>
                      <a:pt x="158" y="136"/>
                    </a:cubicBezTo>
                    <a:cubicBezTo>
                      <a:pt x="159" y="138"/>
                      <a:pt x="159" y="141"/>
                      <a:pt x="159" y="144"/>
                    </a:cubicBezTo>
                    <a:cubicBezTo>
                      <a:pt x="159" y="153"/>
                      <a:pt x="156" y="161"/>
                      <a:pt x="150" y="168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/>
              </a:p>
            </p:txBody>
          </p:sp>
        </p:grpSp>
        <p:cxnSp>
          <p:nvCxnSpPr>
            <p:cNvPr id="7" name="ïṧľíďè">
              <a:extLst>
                <a:ext uri="{FF2B5EF4-FFF2-40B4-BE49-F238E27FC236}">
                  <a16:creationId xmlns:a16="http://schemas.microsoft.com/office/drawing/2014/main" id="{8732CE69-3359-4581-AE78-BD1EBA44E91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69925" y="3527996"/>
              <a:ext cx="296911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îṩlïḓè">
              <a:extLst>
                <a:ext uri="{FF2B5EF4-FFF2-40B4-BE49-F238E27FC236}">
                  <a16:creationId xmlns:a16="http://schemas.microsoft.com/office/drawing/2014/main" id="{BF0535AD-4CFD-4816-AE8B-73AF3C28B80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593282" y="3522518"/>
              <a:ext cx="2927206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ï$lïḑè">
              <a:extLst>
                <a:ext uri="{FF2B5EF4-FFF2-40B4-BE49-F238E27FC236}">
                  <a16:creationId xmlns:a16="http://schemas.microsoft.com/office/drawing/2014/main" id="{7DA25E7A-94E9-459A-AA0B-86378736E31F}"/>
                </a:ext>
              </a:extLst>
            </p:cNvPr>
            <p:cNvSpPr txBox="1"/>
            <p:nvPr/>
          </p:nvSpPr>
          <p:spPr>
            <a:xfrm>
              <a:off x="680909" y="2676203"/>
              <a:ext cx="2958124" cy="335031"/>
            </a:xfrm>
            <a:prstGeom prst="rect">
              <a:avLst/>
            </a:prstGeom>
          </p:spPr>
          <p:txBody>
            <a:bodyPr wrap="square" lIns="91440" tIns="45720" rIns="91440" bIns="45720" anchor="ctr">
              <a:noAutofit/>
            </a:bodyPr>
            <a:lstStyle/>
            <a:p>
              <a:r>
                <a:rPr lang="en-US" altLang="zh-CN" sz="1400" b="1"/>
                <a:t>Tex</a:t>
              </a:r>
              <a:r>
                <a:rPr lang="en-US" altLang="zh-CN" sz="100" b="1"/>
                <a:t> </a:t>
              </a:r>
              <a:r>
                <a:rPr lang="en-US" altLang="zh-CN" sz="1400" b="1"/>
                <a:t>t </a:t>
              </a:r>
              <a:r>
                <a:rPr lang="en-US" altLang="zh-CN" sz="1400" b="1" dirty="0"/>
                <a:t>here</a:t>
              </a:r>
              <a:endParaRPr lang="zh-CN" altLang="en-US" sz="1400" b="1" dirty="0"/>
            </a:p>
          </p:txBody>
        </p:sp>
        <p:sp>
          <p:nvSpPr>
            <p:cNvPr id="10" name="ïṥļíḍe">
              <a:extLst>
                <a:ext uri="{FF2B5EF4-FFF2-40B4-BE49-F238E27FC236}">
                  <a16:creationId xmlns:a16="http://schemas.microsoft.com/office/drawing/2014/main" id="{4CE1AC9C-B94E-4504-B830-3B58E71C044C}"/>
                </a:ext>
              </a:extLst>
            </p:cNvPr>
            <p:cNvSpPr txBox="1"/>
            <p:nvPr/>
          </p:nvSpPr>
          <p:spPr>
            <a:xfrm>
              <a:off x="680909" y="3011234"/>
              <a:ext cx="2958124" cy="436055"/>
            </a:xfrm>
            <a:prstGeom prst="rect">
              <a:avLst/>
            </a:prstGeom>
          </p:spPr>
          <p:txBody>
            <a:bodyPr wrap="square" lIns="91440" tIns="45720" rIns="91440" bIns="45720" anchor="t" anchorCtr="0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000"/>
                <a:t>Suppor</a:t>
              </a:r>
              <a:r>
                <a:rPr lang="en-US" altLang="zh-CN" sz="100"/>
                <a:t> </a:t>
              </a:r>
              <a:r>
                <a:rPr lang="en-US" altLang="zh-CN" sz="1000"/>
                <a:t>ting </a:t>
              </a:r>
              <a:r>
                <a:rPr lang="en-US" altLang="zh-CN" sz="1000" dirty="0"/>
                <a:t>text here</a:t>
              </a:r>
              <a:endParaRPr lang="zh-CN" altLang="en-US" sz="1000" dirty="0"/>
            </a:p>
          </p:txBody>
        </p:sp>
        <p:sp>
          <p:nvSpPr>
            <p:cNvPr id="11" name="ïş1îḑe">
              <a:extLst>
                <a:ext uri="{FF2B5EF4-FFF2-40B4-BE49-F238E27FC236}">
                  <a16:creationId xmlns:a16="http://schemas.microsoft.com/office/drawing/2014/main" id="{2A2F5BFF-33E1-40F1-B8C8-92FCF749191C}"/>
                </a:ext>
              </a:extLst>
            </p:cNvPr>
            <p:cNvSpPr txBox="1"/>
            <p:nvPr/>
          </p:nvSpPr>
          <p:spPr>
            <a:xfrm>
              <a:off x="680909" y="3732618"/>
              <a:ext cx="2958124" cy="335031"/>
            </a:xfrm>
            <a:prstGeom prst="rect">
              <a:avLst/>
            </a:prstGeom>
          </p:spPr>
          <p:txBody>
            <a:bodyPr wrap="square" lIns="91440" tIns="45720" rIns="91440" bIns="45720" anchor="ctr">
              <a:noAutofit/>
            </a:bodyPr>
            <a:lstStyle/>
            <a:p>
              <a:r>
                <a:rPr lang="en-US" altLang="zh-CN" sz="1400" b="1"/>
                <a:t>Tex</a:t>
              </a:r>
              <a:r>
                <a:rPr lang="en-US" altLang="zh-CN" sz="100" b="1"/>
                <a:t> </a:t>
              </a:r>
              <a:r>
                <a:rPr lang="en-US" altLang="zh-CN" sz="1400" b="1"/>
                <a:t>t </a:t>
              </a:r>
              <a:r>
                <a:rPr lang="en-US" altLang="zh-CN" sz="1400" b="1" dirty="0"/>
                <a:t>here</a:t>
              </a:r>
              <a:endParaRPr lang="zh-CN" altLang="en-US" sz="1400" b="1" dirty="0"/>
            </a:p>
          </p:txBody>
        </p:sp>
        <p:sp>
          <p:nvSpPr>
            <p:cNvPr id="12" name="îśľïḍé">
              <a:extLst>
                <a:ext uri="{FF2B5EF4-FFF2-40B4-BE49-F238E27FC236}">
                  <a16:creationId xmlns:a16="http://schemas.microsoft.com/office/drawing/2014/main" id="{5243EAC1-AE63-4785-9BF4-46F2D7D48D42}"/>
                </a:ext>
              </a:extLst>
            </p:cNvPr>
            <p:cNvSpPr txBox="1"/>
            <p:nvPr/>
          </p:nvSpPr>
          <p:spPr>
            <a:xfrm>
              <a:off x="680909" y="4067649"/>
              <a:ext cx="2958124" cy="436055"/>
            </a:xfrm>
            <a:prstGeom prst="rect">
              <a:avLst/>
            </a:prstGeom>
          </p:spPr>
          <p:txBody>
            <a:bodyPr wrap="square" lIns="91440" tIns="45720" rIns="91440" bIns="45720" anchor="t" anchorCtr="0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000"/>
                <a:t>Suppor</a:t>
              </a:r>
              <a:r>
                <a:rPr lang="en-US" altLang="zh-CN" sz="100"/>
                <a:t> </a:t>
              </a:r>
              <a:r>
                <a:rPr lang="en-US" altLang="zh-CN" sz="1000"/>
                <a:t>ting </a:t>
              </a:r>
              <a:r>
                <a:rPr lang="en-US" altLang="zh-CN" sz="1000" dirty="0"/>
                <a:t>text here</a:t>
              </a:r>
              <a:endParaRPr lang="zh-CN" altLang="en-US" sz="1000" dirty="0"/>
            </a:p>
          </p:txBody>
        </p:sp>
        <p:sp>
          <p:nvSpPr>
            <p:cNvPr id="13" name="iśḷïḑe">
              <a:extLst>
                <a:ext uri="{FF2B5EF4-FFF2-40B4-BE49-F238E27FC236}">
                  <a16:creationId xmlns:a16="http://schemas.microsoft.com/office/drawing/2014/main" id="{3AC2EDEA-8354-4037-B884-D7677E710D6B}"/>
                </a:ext>
              </a:extLst>
            </p:cNvPr>
            <p:cNvSpPr txBox="1"/>
            <p:nvPr/>
          </p:nvSpPr>
          <p:spPr>
            <a:xfrm>
              <a:off x="8565118" y="2676203"/>
              <a:ext cx="2945973" cy="335031"/>
            </a:xfrm>
            <a:prstGeom prst="rect">
              <a:avLst/>
            </a:prstGeom>
          </p:spPr>
          <p:txBody>
            <a:bodyPr wrap="square" lIns="91440" tIns="45720" rIns="91440" bIns="45720" anchor="ctr">
              <a:noAutofit/>
            </a:bodyPr>
            <a:lstStyle/>
            <a:p>
              <a:pPr algn="r"/>
              <a:r>
                <a:rPr lang="en-US" altLang="zh-CN" sz="1400" b="1"/>
                <a:t>Tex</a:t>
              </a:r>
              <a:r>
                <a:rPr lang="en-US" altLang="zh-CN" sz="100" b="1"/>
                <a:t> </a:t>
              </a:r>
              <a:r>
                <a:rPr lang="en-US" altLang="zh-CN" sz="1400" b="1"/>
                <a:t>t </a:t>
              </a:r>
              <a:r>
                <a:rPr lang="en-US" altLang="zh-CN" sz="1400" b="1" dirty="0"/>
                <a:t>here</a:t>
              </a:r>
              <a:endParaRPr lang="zh-CN" altLang="en-US" sz="1400" b="1" dirty="0"/>
            </a:p>
          </p:txBody>
        </p:sp>
        <p:sp>
          <p:nvSpPr>
            <p:cNvPr id="14" name="îṡ1íďè">
              <a:extLst>
                <a:ext uri="{FF2B5EF4-FFF2-40B4-BE49-F238E27FC236}">
                  <a16:creationId xmlns:a16="http://schemas.microsoft.com/office/drawing/2014/main" id="{9C6EAED5-DDBA-4858-892E-1FDDE055D42E}"/>
                </a:ext>
              </a:extLst>
            </p:cNvPr>
            <p:cNvSpPr txBox="1"/>
            <p:nvPr/>
          </p:nvSpPr>
          <p:spPr>
            <a:xfrm>
              <a:off x="8565118" y="3011234"/>
              <a:ext cx="2945973" cy="436055"/>
            </a:xfrm>
            <a:prstGeom prst="rect">
              <a:avLst/>
            </a:prstGeom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r">
                <a:lnSpc>
                  <a:spcPct val="120000"/>
                </a:lnSpc>
              </a:pPr>
              <a:r>
                <a:rPr lang="en-US" altLang="zh-CN" sz="1000"/>
                <a:t>Supporting te</a:t>
              </a:r>
              <a:r>
                <a:rPr lang="en-US" altLang="zh-CN" sz="100"/>
                <a:t> </a:t>
              </a:r>
              <a:r>
                <a:rPr lang="en-US" altLang="zh-CN" sz="1000"/>
                <a:t>xt </a:t>
              </a:r>
              <a:r>
                <a:rPr lang="en-US" altLang="zh-CN" sz="1000" dirty="0"/>
                <a:t>here</a:t>
              </a:r>
              <a:endParaRPr lang="zh-CN" altLang="en-US" sz="1000" dirty="0"/>
            </a:p>
          </p:txBody>
        </p:sp>
        <p:sp>
          <p:nvSpPr>
            <p:cNvPr id="15" name="ís1ïḋê">
              <a:extLst>
                <a:ext uri="{FF2B5EF4-FFF2-40B4-BE49-F238E27FC236}">
                  <a16:creationId xmlns:a16="http://schemas.microsoft.com/office/drawing/2014/main" id="{B236D6F2-F9DD-42A0-8B7F-960A4C03CE71}"/>
                </a:ext>
              </a:extLst>
            </p:cNvPr>
            <p:cNvSpPr txBox="1"/>
            <p:nvPr/>
          </p:nvSpPr>
          <p:spPr>
            <a:xfrm>
              <a:off x="8565118" y="3732618"/>
              <a:ext cx="2945973" cy="335031"/>
            </a:xfrm>
            <a:prstGeom prst="rect">
              <a:avLst/>
            </a:prstGeom>
          </p:spPr>
          <p:txBody>
            <a:bodyPr wrap="square" lIns="91440" tIns="45720" rIns="91440" bIns="45720" anchor="ctr">
              <a:noAutofit/>
            </a:bodyPr>
            <a:lstStyle/>
            <a:p>
              <a:pPr algn="r"/>
              <a:r>
                <a:rPr lang="en-US" altLang="zh-CN" sz="1400" b="1"/>
                <a:t>Text </a:t>
              </a:r>
              <a:r>
                <a:rPr lang="en-US" altLang="zh-CN" sz="100" b="1"/>
                <a:t> </a:t>
              </a:r>
              <a:r>
                <a:rPr lang="en-US" altLang="zh-CN" sz="1400" b="1"/>
                <a:t>here</a:t>
              </a:r>
              <a:endParaRPr lang="zh-CN" altLang="en-US" sz="1400" b="1" dirty="0"/>
            </a:p>
          </p:txBody>
        </p:sp>
        <p:sp>
          <p:nvSpPr>
            <p:cNvPr id="16" name="íṡľíḍê">
              <a:extLst>
                <a:ext uri="{FF2B5EF4-FFF2-40B4-BE49-F238E27FC236}">
                  <a16:creationId xmlns:a16="http://schemas.microsoft.com/office/drawing/2014/main" id="{8CB1474F-542F-4B7D-85C6-8EA5DC732FD2}"/>
                </a:ext>
              </a:extLst>
            </p:cNvPr>
            <p:cNvSpPr txBox="1"/>
            <p:nvPr/>
          </p:nvSpPr>
          <p:spPr>
            <a:xfrm>
              <a:off x="8565118" y="4067649"/>
              <a:ext cx="2945973" cy="436055"/>
            </a:xfrm>
            <a:prstGeom prst="rect">
              <a:avLst/>
            </a:prstGeom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r">
                <a:lnSpc>
                  <a:spcPct val="120000"/>
                </a:lnSpc>
              </a:pPr>
              <a:r>
                <a:rPr lang="en-US" altLang="zh-CN" sz="1000"/>
                <a:t>Supporting te</a:t>
              </a:r>
              <a:r>
                <a:rPr lang="en-US" altLang="zh-CN" sz="100"/>
                <a:t> </a:t>
              </a:r>
              <a:r>
                <a:rPr lang="en-US" altLang="zh-CN" sz="1000"/>
                <a:t>xt </a:t>
              </a:r>
              <a:r>
                <a:rPr lang="en-US" altLang="zh-CN" sz="1000" dirty="0"/>
                <a:t>here</a:t>
              </a:r>
              <a:endParaRPr lang="zh-CN" altLang="en-US" sz="1000" dirty="0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4800603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şḻi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Sḷîďè">
            <a:extLst>
              <a:ext uri="{FF2B5EF4-FFF2-40B4-BE49-F238E27FC236}">
                <a16:creationId xmlns:a16="http://schemas.microsoft.com/office/drawing/2014/main" id="{143FDF47-B46E-403B-B29A-CAD9856321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îşḻíḓe">
            <a:extLst>
              <a:ext uri="{FF2B5EF4-FFF2-40B4-BE49-F238E27FC236}">
                <a16:creationId xmlns:a16="http://schemas.microsoft.com/office/drawing/2014/main" id="{C1469C3B-5605-48A0-A700-8E08797B59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ïṣḻîḍè">
            <a:extLst>
              <a:ext uri="{FF2B5EF4-FFF2-40B4-BE49-F238E27FC236}">
                <a16:creationId xmlns:a16="http://schemas.microsoft.com/office/drawing/2014/main" id="{5A4F67D7-D286-45D5-A740-F898AD459F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grpSp>
        <p:nvGrpSpPr>
          <p:cNvPr id="157" name="iṧ1îḍe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584AC129-C81B-485B-8879-6D01F4494A26}"/>
              </a:ext>
            </a:extLst>
          </p:cNvPr>
          <p:cNvGrpSpPr>
            <a:grpSpLocks noChangeAspect="1"/>
          </p:cNvGrpSpPr>
          <p:nvPr/>
        </p:nvGrpSpPr>
        <p:grpSpPr>
          <a:xfrm>
            <a:off x="660399" y="1165759"/>
            <a:ext cx="10858500" cy="4977866"/>
            <a:chOff x="660399" y="1165759"/>
            <a:chExt cx="10858500" cy="4977866"/>
          </a:xfrm>
        </p:grpSpPr>
        <p:grpSp>
          <p:nvGrpSpPr>
            <p:cNvPr id="158" name="iŝḷïḑé">
              <a:extLst>
                <a:ext uri="{FF2B5EF4-FFF2-40B4-BE49-F238E27FC236}">
                  <a16:creationId xmlns:a16="http://schemas.microsoft.com/office/drawing/2014/main" id="{800D2561-E653-4ACD-BEF8-62DC20E2D880}"/>
                </a:ext>
              </a:extLst>
            </p:cNvPr>
            <p:cNvGrpSpPr/>
            <p:nvPr/>
          </p:nvGrpSpPr>
          <p:grpSpPr>
            <a:xfrm>
              <a:off x="1326000" y="3155569"/>
              <a:ext cx="1654667" cy="1165376"/>
              <a:chOff x="1141744" y="2846312"/>
              <a:chExt cx="1654667" cy="1165376"/>
            </a:xfrm>
          </p:grpSpPr>
          <p:sp>
            <p:nvSpPr>
              <p:cNvPr id="191" name="íṥḻîḍê">
                <a:extLst>
                  <a:ext uri="{FF2B5EF4-FFF2-40B4-BE49-F238E27FC236}">
                    <a16:creationId xmlns:a16="http://schemas.microsoft.com/office/drawing/2014/main" id="{05F4C067-454D-4E22-A7C3-8B3369338A53}"/>
                  </a:ext>
                </a:extLst>
              </p:cNvPr>
              <p:cNvSpPr/>
              <p:nvPr/>
            </p:nvSpPr>
            <p:spPr bwMode="auto">
              <a:xfrm>
                <a:off x="1531555" y="3899617"/>
                <a:ext cx="775562" cy="112071"/>
              </a:xfrm>
              <a:custGeom>
                <a:avLst/>
                <a:gdLst>
                  <a:gd name="T0" fmla="+- 0 10800 961"/>
                  <a:gd name="T1" fmla="*/ T0 w 19679"/>
                  <a:gd name="T2" fmla="+- 0 10800 961"/>
                  <a:gd name="T3" fmla="*/ 10800 h 19679"/>
                  <a:gd name="T4" fmla="+- 0 10800 961"/>
                  <a:gd name="T5" fmla="*/ T4 w 19679"/>
                  <a:gd name="T6" fmla="+- 0 10800 961"/>
                  <a:gd name="T7" fmla="*/ 10800 h 19679"/>
                  <a:gd name="T8" fmla="+- 0 10800 961"/>
                  <a:gd name="T9" fmla="*/ T8 w 19679"/>
                  <a:gd name="T10" fmla="+- 0 10800 961"/>
                  <a:gd name="T11" fmla="*/ 10800 h 19679"/>
                  <a:gd name="T12" fmla="+- 0 10800 961"/>
                  <a:gd name="T13" fmla="*/ T12 w 19679"/>
                  <a:gd name="T14" fmla="+- 0 10800 961"/>
                  <a:gd name="T15" fmla="*/ 10800 h 19679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19679" h="19679">
                    <a:moveTo>
                      <a:pt x="16796" y="2881"/>
                    </a:moveTo>
                    <a:cubicBezTo>
                      <a:pt x="20639" y="6724"/>
                      <a:pt x="20639" y="12953"/>
                      <a:pt x="16796" y="16796"/>
                    </a:cubicBezTo>
                    <a:cubicBezTo>
                      <a:pt x="12953" y="20638"/>
                      <a:pt x="6724" y="20638"/>
                      <a:pt x="2881" y="16796"/>
                    </a:cubicBezTo>
                    <a:cubicBezTo>
                      <a:pt x="-961" y="12953"/>
                      <a:pt x="-961" y="6724"/>
                      <a:pt x="2881" y="2881"/>
                    </a:cubicBezTo>
                    <a:cubicBezTo>
                      <a:pt x="6724" y="-961"/>
                      <a:pt x="12953" y="-961"/>
                      <a:pt x="16796" y="2881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92" name="îŝlîḋe">
                <a:extLst>
                  <a:ext uri="{FF2B5EF4-FFF2-40B4-BE49-F238E27FC236}">
                    <a16:creationId xmlns:a16="http://schemas.microsoft.com/office/drawing/2014/main" id="{3805CEFD-440F-4312-91D4-29DAC4BE6B8C}"/>
                  </a:ext>
                </a:extLst>
              </p:cNvPr>
              <p:cNvSpPr/>
              <p:nvPr/>
            </p:nvSpPr>
            <p:spPr bwMode="auto">
              <a:xfrm>
                <a:off x="1141744" y="2846312"/>
                <a:ext cx="1165373" cy="1165376"/>
              </a:xfrm>
              <a:custGeom>
                <a:avLst/>
                <a:gdLst>
                  <a:gd name="T0" fmla="+- 0 11026 981"/>
                  <a:gd name="T1" fmla="*/ T0 w 20090"/>
                  <a:gd name="T2" fmla="*/ 10297 h 20595"/>
                  <a:gd name="T3" fmla="+- 0 11026 981"/>
                  <a:gd name="T4" fmla="*/ T3 w 20090"/>
                  <a:gd name="T5" fmla="*/ 10297 h 20595"/>
                  <a:gd name="T6" fmla="+- 0 11026 981"/>
                  <a:gd name="T7" fmla="*/ T6 w 20090"/>
                  <a:gd name="T8" fmla="*/ 10297 h 20595"/>
                  <a:gd name="T9" fmla="+- 0 11026 981"/>
                  <a:gd name="T10" fmla="*/ T9 w 20090"/>
                  <a:gd name="T11" fmla="*/ 10297 h 205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</a:cxnLst>
                <a:rect l="0" t="0" r="r" b="b"/>
                <a:pathLst>
                  <a:path w="20090" h="20595">
                    <a:moveTo>
                      <a:pt x="10048" y="0"/>
                    </a:moveTo>
                    <a:cubicBezTo>
                      <a:pt x="7476" y="0"/>
                      <a:pt x="4905" y="1002"/>
                      <a:pt x="2943" y="3012"/>
                    </a:cubicBezTo>
                    <a:cubicBezTo>
                      <a:pt x="-981" y="7034"/>
                      <a:pt x="-981" y="13557"/>
                      <a:pt x="2943" y="17578"/>
                    </a:cubicBezTo>
                    <a:cubicBezTo>
                      <a:pt x="6867" y="21599"/>
                      <a:pt x="13229" y="21599"/>
                      <a:pt x="17153" y="17578"/>
                    </a:cubicBezTo>
                    <a:cubicBezTo>
                      <a:pt x="19748" y="14919"/>
                      <a:pt x="20618" y="11168"/>
                      <a:pt x="19782" y="7768"/>
                    </a:cubicBezTo>
                    <a:cubicBezTo>
                      <a:pt x="18191" y="8614"/>
                      <a:pt x="16192" y="8372"/>
                      <a:pt x="14857" y="7004"/>
                    </a:cubicBezTo>
                    <a:cubicBezTo>
                      <a:pt x="13287" y="5395"/>
                      <a:pt x="13228" y="2841"/>
                      <a:pt x="14647" y="1140"/>
                    </a:cubicBezTo>
                    <a:cubicBezTo>
                      <a:pt x="13208" y="380"/>
                      <a:pt x="11629" y="0"/>
                      <a:pt x="10048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93" name="ïSļíḍê">
                <a:extLst>
                  <a:ext uri="{FF2B5EF4-FFF2-40B4-BE49-F238E27FC236}">
                    <a16:creationId xmlns:a16="http://schemas.microsoft.com/office/drawing/2014/main" id="{99C67129-C359-4675-BF36-2947A0391730}"/>
                  </a:ext>
                </a:extLst>
              </p:cNvPr>
              <p:cNvSpPr/>
              <p:nvPr/>
            </p:nvSpPr>
            <p:spPr bwMode="auto">
              <a:xfrm>
                <a:off x="1919336" y="2903160"/>
                <a:ext cx="877075" cy="343522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0" y="0"/>
                    </a:moveTo>
                    <a:lnTo>
                      <a:pt x="21600" y="0"/>
                    </a:lnTo>
                    <a:lnTo>
                      <a:pt x="21600" y="21599"/>
                    </a:lnTo>
                    <a:lnTo>
                      <a:pt x="0" y="21599"/>
                    </a:lnTo>
                    <a:close/>
                  </a:path>
                </a:pathLst>
              </a:cu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lIns="91440" tIns="45720" rIns="91440" bIns="45720" anchor="ctr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l">
                  <a:buSzTx/>
                  <a:buFontTx/>
                  <a:buNone/>
                </a:pPr>
                <a:r>
                  <a:rPr lang="en-US" altLang="zh-CN" sz="1800" b="1" i="1" dirty="0"/>
                  <a:t>Text</a:t>
                </a:r>
                <a:endParaRPr lang="zh-CN" altLang="en-US" sz="1800" b="1" i="1" dirty="0"/>
              </a:p>
            </p:txBody>
          </p:sp>
          <p:sp>
            <p:nvSpPr>
              <p:cNvPr id="194" name="ïṣļíďé">
                <a:extLst>
                  <a:ext uri="{FF2B5EF4-FFF2-40B4-BE49-F238E27FC236}">
                    <a16:creationId xmlns:a16="http://schemas.microsoft.com/office/drawing/2014/main" id="{C9915D75-7800-4229-BA79-8317B58C3DAC}"/>
                  </a:ext>
                </a:extLst>
              </p:cNvPr>
              <p:cNvSpPr/>
              <p:nvPr/>
            </p:nvSpPr>
            <p:spPr bwMode="auto">
              <a:xfrm>
                <a:off x="1545361" y="3279921"/>
                <a:ext cx="358139" cy="298156"/>
              </a:xfrm>
              <a:custGeom>
                <a:avLst/>
                <a:gdLst>
                  <a:gd name="connsiteX0" fmla="*/ 482197 w 526297"/>
                  <a:gd name="connsiteY0" fmla="*/ 133350 h 438150"/>
                  <a:gd name="connsiteX1" fmla="*/ 526298 w 526297"/>
                  <a:gd name="connsiteY1" fmla="*/ 177451 h 438150"/>
                  <a:gd name="connsiteX2" fmla="*/ 526203 w 526297"/>
                  <a:gd name="connsiteY2" fmla="*/ 180880 h 438150"/>
                  <a:gd name="connsiteX3" fmla="*/ 512867 w 526297"/>
                  <a:gd name="connsiteY3" fmla="*/ 354616 h 438150"/>
                  <a:gd name="connsiteX4" fmla="*/ 484388 w 526297"/>
                  <a:gd name="connsiteY4" fmla="*/ 381000 h 438150"/>
                  <a:gd name="connsiteX5" fmla="*/ 453622 w 526297"/>
                  <a:gd name="connsiteY5" fmla="*/ 381000 h 438150"/>
                  <a:gd name="connsiteX6" fmla="*/ 453622 w 526297"/>
                  <a:gd name="connsiteY6" fmla="*/ 438150 h 438150"/>
                  <a:gd name="connsiteX7" fmla="*/ 434572 w 526297"/>
                  <a:gd name="connsiteY7" fmla="*/ 438150 h 438150"/>
                  <a:gd name="connsiteX8" fmla="*/ 434572 w 526297"/>
                  <a:gd name="connsiteY8" fmla="*/ 381000 h 438150"/>
                  <a:gd name="connsiteX9" fmla="*/ 91672 w 526297"/>
                  <a:gd name="connsiteY9" fmla="*/ 381000 h 438150"/>
                  <a:gd name="connsiteX10" fmla="*/ 91672 w 526297"/>
                  <a:gd name="connsiteY10" fmla="*/ 438150 h 438150"/>
                  <a:gd name="connsiteX11" fmla="*/ 72622 w 526297"/>
                  <a:gd name="connsiteY11" fmla="*/ 438150 h 438150"/>
                  <a:gd name="connsiteX12" fmla="*/ 72622 w 526297"/>
                  <a:gd name="connsiteY12" fmla="*/ 381000 h 438150"/>
                  <a:gd name="connsiteX13" fmla="*/ 41952 w 526297"/>
                  <a:gd name="connsiteY13" fmla="*/ 381000 h 438150"/>
                  <a:gd name="connsiteX14" fmla="*/ 13472 w 526297"/>
                  <a:gd name="connsiteY14" fmla="*/ 354616 h 438150"/>
                  <a:gd name="connsiteX15" fmla="*/ 137 w 526297"/>
                  <a:gd name="connsiteY15" fmla="*/ 180880 h 438150"/>
                  <a:gd name="connsiteX16" fmla="*/ 40714 w 526297"/>
                  <a:gd name="connsiteY16" fmla="*/ 133541 h 438150"/>
                  <a:gd name="connsiteX17" fmla="*/ 44142 w 526297"/>
                  <a:gd name="connsiteY17" fmla="*/ 133445 h 438150"/>
                  <a:gd name="connsiteX18" fmla="*/ 100531 w 526297"/>
                  <a:gd name="connsiteY18" fmla="*/ 180213 h 438150"/>
                  <a:gd name="connsiteX19" fmla="*/ 120247 w 526297"/>
                  <a:gd name="connsiteY19" fmla="*/ 285750 h 438150"/>
                  <a:gd name="connsiteX20" fmla="*/ 405997 w 526297"/>
                  <a:gd name="connsiteY20" fmla="*/ 285750 h 438150"/>
                  <a:gd name="connsiteX21" fmla="*/ 425809 w 526297"/>
                  <a:gd name="connsiteY21" fmla="*/ 180118 h 438150"/>
                  <a:gd name="connsiteX22" fmla="*/ 482197 w 526297"/>
                  <a:gd name="connsiteY22" fmla="*/ 133350 h 438150"/>
                  <a:gd name="connsiteX23" fmla="*/ 415522 w 526297"/>
                  <a:gd name="connsiteY23" fmla="*/ 0 h 438150"/>
                  <a:gd name="connsiteX24" fmla="*/ 482197 w 526297"/>
                  <a:gd name="connsiteY24" fmla="*/ 66675 h 438150"/>
                  <a:gd name="connsiteX25" fmla="*/ 482197 w 526297"/>
                  <a:gd name="connsiteY25" fmla="*/ 114776 h 438150"/>
                  <a:gd name="connsiteX26" fmla="*/ 475053 w 526297"/>
                  <a:gd name="connsiteY26" fmla="*/ 114300 h 438150"/>
                  <a:gd name="connsiteX27" fmla="*/ 410664 w 526297"/>
                  <a:gd name="connsiteY27" fmla="*/ 165830 h 438150"/>
                  <a:gd name="connsiteX28" fmla="*/ 410188 w 526297"/>
                  <a:gd name="connsiteY28" fmla="*/ 168116 h 438150"/>
                  <a:gd name="connsiteX29" fmla="*/ 391710 w 526297"/>
                  <a:gd name="connsiteY29" fmla="*/ 266700 h 438150"/>
                  <a:gd name="connsiteX30" fmla="*/ 134535 w 526297"/>
                  <a:gd name="connsiteY30" fmla="*/ 266700 h 438150"/>
                  <a:gd name="connsiteX31" fmla="*/ 116057 w 526297"/>
                  <a:gd name="connsiteY31" fmla="*/ 168116 h 438150"/>
                  <a:gd name="connsiteX32" fmla="*/ 51191 w 526297"/>
                  <a:gd name="connsiteY32" fmla="*/ 114300 h 438150"/>
                  <a:gd name="connsiteX33" fmla="*/ 53572 w 526297"/>
                  <a:gd name="connsiteY33" fmla="*/ 66675 h 438150"/>
                  <a:gd name="connsiteX34" fmla="*/ 120247 w 526297"/>
                  <a:gd name="connsiteY34" fmla="*/ 0 h 438150"/>
                  <a:gd name="connsiteX35" fmla="*/ 415522 w 526297"/>
                  <a:gd name="connsiteY35" fmla="*/ 0 h 43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526297" h="438150">
                    <a:moveTo>
                      <a:pt x="482197" y="133350"/>
                    </a:moveTo>
                    <a:cubicBezTo>
                      <a:pt x="506582" y="133350"/>
                      <a:pt x="526298" y="153067"/>
                      <a:pt x="526298" y="177451"/>
                    </a:cubicBezTo>
                    <a:cubicBezTo>
                      <a:pt x="526298" y="178594"/>
                      <a:pt x="526298" y="179737"/>
                      <a:pt x="526203" y="180880"/>
                    </a:cubicBezTo>
                    <a:lnTo>
                      <a:pt x="512867" y="354616"/>
                    </a:lnTo>
                    <a:cubicBezTo>
                      <a:pt x="511724" y="369475"/>
                      <a:pt x="499343" y="381000"/>
                      <a:pt x="484388" y="381000"/>
                    </a:cubicBezTo>
                    <a:lnTo>
                      <a:pt x="453622" y="381000"/>
                    </a:lnTo>
                    <a:lnTo>
                      <a:pt x="453622" y="438150"/>
                    </a:lnTo>
                    <a:lnTo>
                      <a:pt x="434572" y="438150"/>
                    </a:lnTo>
                    <a:lnTo>
                      <a:pt x="434572" y="381000"/>
                    </a:lnTo>
                    <a:lnTo>
                      <a:pt x="91672" y="381000"/>
                    </a:lnTo>
                    <a:lnTo>
                      <a:pt x="91672" y="438150"/>
                    </a:lnTo>
                    <a:lnTo>
                      <a:pt x="72622" y="438150"/>
                    </a:lnTo>
                    <a:lnTo>
                      <a:pt x="72622" y="381000"/>
                    </a:lnTo>
                    <a:lnTo>
                      <a:pt x="41952" y="381000"/>
                    </a:lnTo>
                    <a:cubicBezTo>
                      <a:pt x="26998" y="381000"/>
                      <a:pt x="14615" y="369475"/>
                      <a:pt x="13472" y="354616"/>
                    </a:cubicBezTo>
                    <a:lnTo>
                      <a:pt x="137" y="180880"/>
                    </a:lnTo>
                    <a:cubicBezTo>
                      <a:pt x="-1768" y="156591"/>
                      <a:pt x="16424" y="135350"/>
                      <a:pt x="40714" y="133541"/>
                    </a:cubicBezTo>
                    <a:cubicBezTo>
                      <a:pt x="41857" y="133445"/>
                      <a:pt x="42999" y="133445"/>
                      <a:pt x="44142" y="133445"/>
                    </a:cubicBezTo>
                    <a:cubicBezTo>
                      <a:pt x="71765" y="133445"/>
                      <a:pt x="95482" y="153067"/>
                      <a:pt x="100531" y="180213"/>
                    </a:cubicBezTo>
                    <a:lnTo>
                      <a:pt x="120247" y="285750"/>
                    </a:lnTo>
                    <a:lnTo>
                      <a:pt x="405997" y="285750"/>
                    </a:lnTo>
                    <a:lnTo>
                      <a:pt x="425809" y="180118"/>
                    </a:lnTo>
                    <a:cubicBezTo>
                      <a:pt x="430857" y="152972"/>
                      <a:pt x="454574" y="133350"/>
                      <a:pt x="482197" y="133350"/>
                    </a:cubicBezTo>
                    <a:close/>
                    <a:moveTo>
                      <a:pt x="415522" y="0"/>
                    </a:moveTo>
                    <a:cubicBezTo>
                      <a:pt x="452384" y="0"/>
                      <a:pt x="482197" y="29813"/>
                      <a:pt x="482197" y="66675"/>
                    </a:cubicBezTo>
                    <a:lnTo>
                      <a:pt x="482197" y="114776"/>
                    </a:lnTo>
                    <a:cubicBezTo>
                      <a:pt x="479816" y="114491"/>
                      <a:pt x="477435" y="114300"/>
                      <a:pt x="475053" y="114300"/>
                    </a:cubicBezTo>
                    <a:cubicBezTo>
                      <a:pt x="444097" y="114300"/>
                      <a:pt x="417427" y="135827"/>
                      <a:pt x="410664" y="165830"/>
                    </a:cubicBezTo>
                    <a:lnTo>
                      <a:pt x="410188" y="168116"/>
                    </a:lnTo>
                    <a:lnTo>
                      <a:pt x="391710" y="266700"/>
                    </a:lnTo>
                    <a:lnTo>
                      <a:pt x="134535" y="266700"/>
                    </a:lnTo>
                    <a:lnTo>
                      <a:pt x="116057" y="168116"/>
                    </a:lnTo>
                    <a:cubicBezTo>
                      <a:pt x="110245" y="136874"/>
                      <a:pt x="82909" y="114300"/>
                      <a:pt x="51191" y="114300"/>
                    </a:cubicBezTo>
                    <a:lnTo>
                      <a:pt x="53572" y="66675"/>
                    </a:lnTo>
                    <a:cubicBezTo>
                      <a:pt x="53572" y="29813"/>
                      <a:pt x="83385" y="0"/>
                      <a:pt x="120247" y="0"/>
                    </a:cubicBezTo>
                    <a:lnTo>
                      <a:pt x="41552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lIns="91440" tIns="45720" rIns="91440" bIns="45720" anchor="ctr">
                <a:normAutofit fontScale="850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</p:grpSp>
        <p:sp>
          <p:nvSpPr>
            <p:cNvPr id="159" name="íśļîḍe">
              <a:extLst>
                <a:ext uri="{FF2B5EF4-FFF2-40B4-BE49-F238E27FC236}">
                  <a16:creationId xmlns:a16="http://schemas.microsoft.com/office/drawing/2014/main" id="{6BDCD688-E3FE-41F9-9031-9C0D694ECAA8}"/>
                </a:ext>
              </a:extLst>
            </p:cNvPr>
            <p:cNvSpPr txBox="1"/>
            <p:nvPr/>
          </p:nvSpPr>
          <p:spPr>
            <a:xfrm>
              <a:off x="673099" y="1165759"/>
              <a:ext cx="10845800" cy="58192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Unified fonts make reading more fluent.</a:t>
              </a:r>
            </a:p>
          </p:txBody>
        </p:sp>
        <p:sp>
          <p:nvSpPr>
            <p:cNvPr id="160" name="îṧľiḋe">
              <a:extLst>
                <a:ext uri="{FF2B5EF4-FFF2-40B4-BE49-F238E27FC236}">
                  <a16:creationId xmlns:a16="http://schemas.microsoft.com/office/drawing/2014/main" id="{27E3CCCF-4799-4A9D-8008-3488CED850B8}"/>
                </a:ext>
              </a:extLst>
            </p:cNvPr>
            <p:cNvSpPr txBox="1"/>
            <p:nvPr/>
          </p:nvSpPr>
          <p:spPr>
            <a:xfrm>
              <a:off x="673101" y="1747685"/>
              <a:ext cx="10845796" cy="59448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3765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Theme color makes PPT more convenient to change.</a:t>
              </a:r>
            </a:p>
            <a:p>
              <a:pPr marL="0" marR="0" lvl="0" indent="0" algn="ctr" defTabSz="913765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Adjust the spacing to adapt to Chinese typesetting, use the reference line in PPT.</a:t>
              </a:r>
            </a:p>
          </p:txBody>
        </p:sp>
        <p:grpSp>
          <p:nvGrpSpPr>
            <p:cNvPr id="161" name="iślidé">
              <a:extLst>
                <a:ext uri="{FF2B5EF4-FFF2-40B4-BE49-F238E27FC236}">
                  <a16:creationId xmlns:a16="http://schemas.microsoft.com/office/drawing/2014/main" id="{767F1F0C-46FD-408C-BD29-F79EB5EBB8D9}"/>
                </a:ext>
              </a:extLst>
            </p:cNvPr>
            <p:cNvGrpSpPr/>
            <p:nvPr/>
          </p:nvGrpSpPr>
          <p:grpSpPr>
            <a:xfrm>
              <a:off x="3489705" y="4655325"/>
              <a:ext cx="2370580" cy="1293675"/>
              <a:chOff x="3489705" y="4655325"/>
              <a:chExt cx="2370580" cy="1293675"/>
            </a:xfrm>
          </p:grpSpPr>
          <p:sp>
            <p:nvSpPr>
              <p:cNvPr id="189" name="iṩļïḑè">
                <a:extLst>
                  <a:ext uri="{FF2B5EF4-FFF2-40B4-BE49-F238E27FC236}">
                    <a16:creationId xmlns:a16="http://schemas.microsoft.com/office/drawing/2014/main" id="{3E909255-DB35-44D8-91C3-11F188791F99}"/>
                  </a:ext>
                </a:extLst>
              </p:cNvPr>
              <p:cNvSpPr/>
              <p:nvPr/>
            </p:nvSpPr>
            <p:spPr bwMode="auto">
              <a:xfrm>
                <a:off x="3489705" y="5141704"/>
                <a:ext cx="2370580" cy="80729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Copy paste fonts. Choose the only option to retain text. 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90" name="íšlïďê">
                <a:extLst>
                  <a:ext uri="{FF2B5EF4-FFF2-40B4-BE49-F238E27FC236}">
                    <a16:creationId xmlns:a16="http://schemas.microsoft.com/office/drawing/2014/main" id="{69812904-A7EB-4E38-9776-AC06AA3CFF9B}"/>
                  </a:ext>
                </a:extLst>
              </p:cNvPr>
              <p:cNvSpPr txBox="1"/>
              <p:nvPr/>
            </p:nvSpPr>
            <p:spPr bwMode="auto">
              <a:xfrm>
                <a:off x="3489705" y="4655325"/>
                <a:ext cx="2370580" cy="486378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1600" b="1" i="1" dirty="0"/>
                  <a:t>Text here</a:t>
                </a:r>
              </a:p>
            </p:txBody>
          </p:sp>
        </p:grpSp>
        <p:grpSp>
          <p:nvGrpSpPr>
            <p:cNvPr id="162" name="iṧļíḋe">
              <a:extLst>
                <a:ext uri="{FF2B5EF4-FFF2-40B4-BE49-F238E27FC236}">
                  <a16:creationId xmlns:a16="http://schemas.microsoft.com/office/drawing/2014/main" id="{18FF75F0-7943-4D6D-85C3-569908CF1D37}"/>
                </a:ext>
              </a:extLst>
            </p:cNvPr>
            <p:cNvGrpSpPr/>
            <p:nvPr/>
          </p:nvGrpSpPr>
          <p:grpSpPr>
            <a:xfrm>
              <a:off x="6319011" y="4655325"/>
              <a:ext cx="2370580" cy="1293675"/>
              <a:chOff x="6319011" y="4655325"/>
              <a:chExt cx="2370580" cy="1293675"/>
            </a:xfrm>
          </p:grpSpPr>
          <p:sp>
            <p:nvSpPr>
              <p:cNvPr id="187" name="íšlidè">
                <a:extLst>
                  <a:ext uri="{FF2B5EF4-FFF2-40B4-BE49-F238E27FC236}">
                    <a16:creationId xmlns:a16="http://schemas.microsoft.com/office/drawing/2014/main" id="{15B32F18-D868-4E77-8268-B2ADB35C405A}"/>
                  </a:ext>
                </a:extLst>
              </p:cNvPr>
              <p:cNvSpPr/>
              <p:nvPr/>
            </p:nvSpPr>
            <p:spPr bwMode="auto">
              <a:xfrm>
                <a:off x="6319011" y="5141704"/>
                <a:ext cx="2370580" cy="80729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Copy paste fonts. Choose the only option to retain text. 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88" name="ïŝḷíḋe">
                <a:extLst>
                  <a:ext uri="{FF2B5EF4-FFF2-40B4-BE49-F238E27FC236}">
                    <a16:creationId xmlns:a16="http://schemas.microsoft.com/office/drawing/2014/main" id="{6DE2C6E7-0931-4F78-9000-EC433A5213E2}"/>
                  </a:ext>
                </a:extLst>
              </p:cNvPr>
              <p:cNvSpPr txBox="1"/>
              <p:nvPr/>
            </p:nvSpPr>
            <p:spPr bwMode="auto">
              <a:xfrm>
                <a:off x="6319011" y="4655325"/>
                <a:ext cx="2370580" cy="486378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1600" b="1" i="1" dirty="0"/>
                  <a:t>Text here</a:t>
                </a:r>
              </a:p>
            </p:txBody>
          </p:sp>
        </p:grpSp>
        <p:grpSp>
          <p:nvGrpSpPr>
            <p:cNvPr id="163" name="îšļïḋè">
              <a:extLst>
                <a:ext uri="{FF2B5EF4-FFF2-40B4-BE49-F238E27FC236}">
                  <a16:creationId xmlns:a16="http://schemas.microsoft.com/office/drawing/2014/main" id="{452CC1E1-584A-4761-8BD5-470A29FC040E}"/>
                </a:ext>
              </a:extLst>
            </p:cNvPr>
            <p:cNvGrpSpPr/>
            <p:nvPr/>
          </p:nvGrpSpPr>
          <p:grpSpPr>
            <a:xfrm>
              <a:off x="9148319" y="4655325"/>
              <a:ext cx="2370580" cy="1293675"/>
              <a:chOff x="9148319" y="4655325"/>
              <a:chExt cx="2370580" cy="1293675"/>
            </a:xfrm>
          </p:grpSpPr>
          <p:sp>
            <p:nvSpPr>
              <p:cNvPr id="185" name="iṥḷiḋé">
                <a:extLst>
                  <a:ext uri="{FF2B5EF4-FFF2-40B4-BE49-F238E27FC236}">
                    <a16:creationId xmlns:a16="http://schemas.microsoft.com/office/drawing/2014/main" id="{B272A1ED-ACD5-422B-9ED9-630691233CF0}"/>
                  </a:ext>
                </a:extLst>
              </p:cNvPr>
              <p:cNvSpPr/>
              <p:nvPr/>
            </p:nvSpPr>
            <p:spPr bwMode="auto">
              <a:xfrm>
                <a:off x="9148319" y="5141704"/>
                <a:ext cx="2370580" cy="80729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Copy paste fonts. Choose the only option to retain text. 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86" name="ïṣḻîḋè">
                <a:extLst>
                  <a:ext uri="{FF2B5EF4-FFF2-40B4-BE49-F238E27FC236}">
                    <a16:creationId xmlns:a16="http://schemas.microsoft.com/office/drawing/2014/main" id="{6D0A5AB0-1F76-4688-BEBC-4217BCA002C6}"/>
                  </a:ext>
                </a:extLst>
              </p:cNvPr>
              <p:cNvSpPr txBox="1"/>
              <p:nvPr/>
            </p:nvSpPr>
            <p:spPr bwMode="auto">
              <a:xfrm>
                <a:off x="9148319" y="4655325"/>
                <a:ext cx="2370580" cy="486378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1600" b="1" i="1" dirty="0"/>
                  <a:t>Text here</a:t>
                </a:r>
              </a:p>
            </p:txBody>
          </p:sp>
        </p:grpSp>
        <p:grpSp>
          <p:nvGrpSpPr>
            <p:cNvPr id="164" name="îš1iḓè">
              <a:extLst>
                <a:ext uri="{FF2B5EF4-FFF2-40B4-BE49-F238E27FC236}">
                  <a16:creationId xmlns:a16="http://schemas.microsoft.com/office/drawing/2014/main" id="{D19C008C-48F2-4A56-8ED9-3762BFC49991}"/>
                </a:ext>
              </a:extLst>
            </p:cNvPr>
            <p:cNvGrpSpPr/>
            <p:nvPr/>
          </p:nvGrpSpPr>
          <p:grpSpPr>
            <a:xfrm>
              <a:off x="660399" y="4655325"/>
              <a:ext cx="2370580" cy="1293675"/>
              <a:chOff x="660399" y="4655325"/>
              <a:chExt cx="2370580" cy="1293675"/>
            </a:xfrm>
          </p:grpSpPr>
          <p:sp>
            <p:nvSpPr>
              <p:cNvPr id="183" name="ísľidê">
                <a:extLst>
                  <a:ext uri="{FF2B5EF4-FFF2-40B4-BE49-F238E27FC236}">
                    <a16:creationId xmlns:a16="http://schemas.microsoft.com/office/drawing/2014/main" id="{26E70B94-1793-4B38-8BFF-5AC34772BEA2}"/>
                  </a:ext>
                </a:extLst>
              </p:cNvPr>
              <p:cNvSpPr/>
              <p:nvPr/>
            </p:nvSpPr>
            <p:spPr bwMode="auto">
              <a:xfrm>
                <a:off x="660399" y="5141704"/>
                <a:ext cx="2370580" cy="80729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Copy paste fonts. Choose the only option to retain text. 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84" name="îSļiḍê">
                <a:extLst>
                  <a:ext uri="{FF2B5EF4-FFF2-40B4-BE49-F238E27FC236}">
                    <a16:creationId xmlns:a16="http://schemas.microsoft.com/office/drawing/2014/main" id="{FAF99464-017B-4285-9432-E3203C070288}"/>
                  </a:ext>
                </a:extLst>
              </p:cNvPr>
              <p:cNvSpPr txBox="1"/>
              <p:nvPr/>
            </p:nvSpPr>
            <p:spPr bwMode="auto">
              <a:xfrm>
                <a:off x="660399" y="4655325"/>
                <a:ext cx="2370580" cy="486378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1600" b="1" i="1" dirty="0"/>
                  <a:t>Text here</a:t>
                </a:r>
              </a:p>
            </p:txBody>
          </p:sp>
        </p:grpSp>
        <p:grpSp>
          <p:nvGrpSpPr>
            <p:cNvPr id="165" name="íSļiḋé">
              <a:extLst>
                <a:ext uri="{FF2B5EF4-FFF2-40B4-BE49-F238E27FC236}">
                  <a16:creationId xmlns:a16="http://schemas.microsoft.com/office/drawing/2014/main" id="{8E8A7B6D-35BB-43B5-B8A1-1A79871B3DD4}"/>
                </a:ext>
              </a:extLst>
            </p:cNvPr>
            <p:cNvGrpSpPr/>
            <p:nvPr/>
          </p:nvGrpSpPr>
          <p:grpSpPr>
            <a:xfrm>
              <a:off x="4155307" y="3155569"/>
              <a:ext cx="1654667" cy="1165376"/>
              <a:chOff x="1141744" y="2846312"/>
              <a:chExt cx="1654667" cy="1165376"/>
            </a:xfrm>
          </p:grpSpPr>
          <p:sp>
            <p:nvSpPr>
              <p:cNvPr id="179" name="íśļîḋè">
                <a:extLst>
                  <a:ext uri="{FF2B5EF4-FFF2-40B4-BE49-F238E27FC236}">
                    <a16:creationId xmlns:a16="http://schemas.microsoft.com/office/drawing/2014/main" id="{2FA524FD-0AC8-44E5-9594-175EFFED219D}"/>
                  </a:ext>
                </a:extLst>
              </p:cNvPr>
              <p:cNvSpPr/>
              <p:nvPr/>
            </p:nvSpPr>
            <p:spPr bwMode="auto">
              <a:xfrm>
                <a:off x="1531555" y="3899617"/>
                <a:ext cx="775562" cy="112071"/>
              </a:xfrm>
              <a:custGeom>
                <a:avLst/>
                <a:gdLst>
                  <a:gd name="T0" fmla="+- 0 10800 961"/>
                  <a:gd name="T1" fmla="*/ T0 w 19679"/>
                  <a:gd name="T2" fmla="+- 0 10800 961"/>
                  <a:gd name="T3" fmla="*/ 10800 h 19679"/>
                  <a:gd name="T4" fmla="+- 0 10800 961"/>
                  <a:gd name="T5" fmla="*/ T4 w 19679"/>
                  <a:gd name="T6" fmla="+- 0 10800 961"/>
                  <a:gd name="T7" fmla="*/ 10800 h 19679"/>
                  <a:gd name="T8" fmla="+- 0 10800 961"/>
                  <a:gd name="T9" fmla="*/ T8 w 19679"/>
                  <a:gd name="T10" fmla="+- 0 10800 961"/>
                  <a:gd name="T11" fmla="*/ 10800 h 19679"/>
                  <a:gd name="T12" fmla="+- 0 10800 961"/>
                  <a:gd name="T13" fmla="*/ T12 w 19679"/>
                  <a:gd name="T14" fmla="+- 0 10800 961"/>
                  <a:gd name="T15" fmla="*/ 10800 h 19679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19679" h="19679">
                    <a:moveTo>
                      <a:pt x="16796" y="2881"/>
                    </a:moveTo>
                    <a:cubicBezTo>
                      <a:pt x="20639" y="6724"/>
                      <a:pt x="20639" y="12953"/>
                      <a:pt x="16796" y="16796"/>
                    </a:cubicBezTo>
                    <a:cubicBezTo>
                      <a:pt x="12953" y="20638"/>
                      <a:pt x="6724" y="20638"/>
                      <a:pt x="2881" y="16796"/>
                    </a:cubicBezTo>
                    <a:cubicBezTo>
                      <a:pt x="-961" y="12953"/>
                      <a:pt x="-961" y="6724"/>
                      <a:pt x="2881" y="2881"/>
                    </a:cubicBezTo>
                    <a:cubicBezTo>
                      <a:pt x="6724" y="-961"/>
                      <a:pt x="12953" y="-961"/>
                      <a:pt x="16796" y="2881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80" name="î$ļíďè">
                <a:extLst>
                  <a:ext uri="{FF2B5EF4-FFF2-40B4-BE49-F238E27FC236}">
                    <a16:creationId xmlns:a16="http://schemas.microsoft.com/office/drawing/2014/main" id="{62BEC3DD-7E4A-4C07-9F95-9E5AE3A42651}"/>
                  </a:ext>
                </a:extLst>
              </p:cNvPr>
              <p:cNvSpPr/>
              <p:nvPr/>
            </p:nvSpPr>
            <p:spPr bwMode="auto">
              <a:xfrm>
                <a:off x="1141744" y="2846312"/>
                <a:ext cx="1165373" cy="1165376"/>
              </a:xfrm>
              <a:custGeom>
                <a:avLst/>
                <a:gdLst>
                  <a:gd name="T0" fmla="+- 0 11026 981"/>
                  <a:gd name="T1" fmla="*/ T0 w 20090"/>
                  <a:gd name="T2" fmla="*/ 10297 h 20595"/>
                  <a:gd name="T3" fmla="+- 0 11026 981"/>
                  <a:gd name="T4" fmla="*/ T3 w 20090"/>
                  <a:gd name="T5" fmla="*/ 10297 h 20595"/>
                  <a:gd name="T6" fmla="+- 0 11026 981"/>
                  <a:gd name="T7" fmla="*/ T6 w 20090"/>
                  <a:gd name="T8" fmla="*/ 10297 h 20595"/>
                  <a:gd name="T9" fmla="+- 0 11026 981"/>
                  <a:gd name="T10" fmla="*/ T9 w 20090"/>
                  <a:gd name="T11" fmla="*/ 10297 h 205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</a:cxnLst>
                <a:rect l="0" t="0" r="r" b="b"/>
                <a:pathLst>
                  <a:path w="20090" h="20595">
                    <a:moveTo>
                      <a:pt x="10048" y="0"/>
                    </a:moveTo>
                    <a:cubicBezTo>
                      <a:pt x="7476" y="0"/>
                      <a:pt x="4905" y="1002"/>
                      <a:pt x="2943" y="3012"/>
                    </a:cubicBezTo>
                    <a:cubicBezTo>
                      <a:pt x="-981" y="7034"/>
                      <a:pt x="-981" y="13557"/>
                      <a:pt x="2943" y="17578"/>
                    </a:cubicBezTo>
                    <a:cubicBezTo>
                      <a:pt x="6867" y="21599"/>
                      <a:pt x="13229" y="21599"/>
                      <a:pt x="17153" y="17578"/>
                    </a:cubicBezTo>
                    <a:cubicBezTo>
                      <a:pt x="19748" y="14919"/>
                      <a:pt x="20618" y="11168"/>
                      <a:pt x="19782" y="7768"/>
                    </a:cubicBezTo>
                    <a:cubicBezTo>
                      <a:pt x="18191" y="8614"/>
                      <a:pt x="16192" y="8372"/>
                      <a:pt x="14857" y="7004"/>
                    </a:cubicBezTo>
                    <a:cubicBezTo>
                      <a:pt x="13287" y="5395"/>
                      <a:pt x="13228" y="2841"/>
                      <a:pt x="14647" y="1140"/>
                    </a:cubicBezTo>
                    <a:cubicBezTo>
                      <a:pt x="13208" y="380"/>
                      <a:pt x="11629" y="0"/>
                      <a:pt x="1004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81" name="iṡliḑe">
                <a:extLst>
                  <a:ext uri="{FF2B5EF4-FFF2-40B4-BE49-F238E27FC236}">
                    <a16:creationId xmlns:a16="http://schemas.microsoft.com/office/drawing/2014/main" id="{7BEB0A21-9302-4DA7-AB1D-8B5622D780DE}"/>
                  </a:ext>
                </a:extLst>
              </p:cNvPr>
              <p:cNvSpPr/>
              <p:nvPr/>
            </p:nvSpPr>
            <p:spPr bwMode="auto">
              <a:xfrm>
                <a:off x="1919336" y="2903160"/>
                <a:ext cx="877075" cy="343522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0" y="0"/>
                    </a:moveTo>
                    <a:lnTo>
                      <a:pt x="21600" y="0"/>
                    </a:lnTo>
                    <a:lnTo>
                      <a:pt x="21600" y="21599"/>
                    </a:lnTo>
                    <a:lnTo>
                      <a:pt x="0" y="21599"/>
                    </a:lnTo>
                    <a:close/>
                  </a:path>
                </a:pathLst>
              </a:cu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lIns="91440" tIns="45720" rIns="91440" bIns="45720" anchor="ctr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l">
                  <a:buSzTx/>
                  <a:buFontTx/>
                  <a:buNone/>
                </a:pPr>
                <a:r>
                  <a:rPr lang="en-US" altLang="zh-CN" sz="1800" b="1" i="1" dirty="0"/>
                  <a:t>Text</a:t>
                </a:r>
                <a:endParaRPr lang="zh-CN" altLang="en-US" sz="1800" b="1" i="1" dirty="0"/>
              </a:p>
            </p:txBody>
          </p:sp>
          <p:sp>
            <p:nvSpPr>
              <p:cNvPr id="182" name="išľîḍe">
                <a:extLst>
                  <a:ext uri="{FF2B5EF4-FFF2-40B4-BE49-F238E27FC236}">
                    <a16:creationId xmlns:a16="http://schemas.microsoft.com/office/drawing/2014/main" id="{FCCBEA2F-C6FA-449E-A947-E415141FC9A1}"/>
                  </a:ext>
                </a:extLst>
              </p:cNvPr>
              <p:cNvSpPr/>
              <p:nvPr/>
            </p:nvSpPr>
            <p:spPr bwMode="auto">
              <a:xfrm>
                <a:off x="1545361" y="3265917"/>
                <a:ext cx="358139" cy="326162"/>
              </a:xfrm>
              <a:custGeom>
                <a:avLst/>
                <a:gdLst>
                  <a:gd name="connsiteX0" fmla="*/ 123825 w 533400"/>
                  <a:gd name="connsiteY0" fmla="*/ 228600 h 485775"/>
                  <a:gd name="connsiteX1" fmla="*/ 123825 w 533400"/>
                  <a:gd name="connsiteY1" fmla="*/ 276225 h 485775"/>
                  <a:gd name="connsiteX2" fmla="*/ 142875 w 533400"/>
                  <a:gd name="connsiteY2" fmla="*/ 276225 h 485775"/>
                  <a:gd name="connsiteX3" fmla="*/ 142875 w 533400"/>
                  <a:gd name="connsiteY3" fmla="*/ 228600 h 485775"/>
                  <a:gd name="connsiteX4" fmla="*/ 390525 w 533400"/>
                  <a:gd name="connsiteY4" fmla="*/ 228600 h 485775"/>
                  <a:gd name="connsiteX5" fmla="*/ 390525 w 533400"/>
                  <a:gd name="connsiteY5" fmla="*/ 276225 h 485775"/>
                  <a:gd name="connsiteX6" fmla="*/ 409575 w 533400"/>
                  <a:gd name="connsiteY6" fmla="*/ 276225 h 485775"/>
                  <a:gd name="connsiteX7" fmla="*/ 409575 w 533400"/>
                  <a:gd name="connsiteY7" fmla="*/ 228600 h 485775"/>
                  <a:gd name="connsiteX8" fmla="*/ 533400 w 533400"/>
                  <a:gd name="connsiteY8" fmla="*/ 228600 h 485775"/>
                  <a:gd name="connsiteX9" fmla="*/ 533400 w 533400"/>
                  <a:gd name="connsiteY9" fmla="*/ 457200 h 485775"/>
                  <a:gd name="connsiteX10" fmla="*/ 504825 w 533400"/>
                  <a:gd name="connsiteY10" fmla="*/ 485775 h 485775"/>
                  <a:gd name="connsiteX11" fmla="*/ 28575 w 533400"/>
                  <a:gd name="connsiteY11" fmla="*/ 485775 h 485775"/>
                  <a:gd name="connsiteX12" fmla="*/ 0 w 533400"/>
                  <a:gd name="connsiteY12" fmla="*/ 457200 h 485775"/>
                  <a:gd name="connsiteX13" fmla="*/ 0 w 533400"/>
                  <a:gd name="connsiteY13" fmla="*/ 228600 h 485775"/>
                  <a:gd name="connsiteX14" fmla="*/ 123825 w 533400"/>
                  <a:gd name="connsiteY14" fmla="*/ 228600 h 485775"/>
                  <a:gd name="connsiteX15" fmla="*/ 371475 w 533400"/>
                  <a:gd name="connsiteY15" fmla="*/ 0 h 485775"/>
                  <a:gd name="connsiteX16" fmla="*/ 409575 w 533400"/>
                  <a:gd name="connsiteY16" fmla="*/ 36195 h 485775"/>
                  <a:gd name="connsiteX17" fmla="*/ 409575 w 533400"/>
                  <a:gd name="connsiteY17" fmla="*/ 38100 h 485775"/>
                  <a:gd name="connsiteX18" fmla="*/ 409575 w 533400"/>
                  <a:gd name="connsiteY18" fmla="*/ 114300 h 485775"/>
                  <a:gd name="connsiteX19" fmla="*/ 504825 w 533400"/>
                  <a:gd name="connsiteY19" fmla="*/ 114300 h 485775"/>
                  <a:gd name="connsiteX20" fmla="*/ 533400 w 533400"/>
                  <a:gd name="connsiteY20" fmla="*/ 142875 h 485775"/>
                  <a:gd name="connsiteX21" fmla="*/ 533400 w 533400"/>
                  <a:gd name="connsiteY21" fmla="*/ 209550 h 485775"/>
                  <a:gd name="connsiteX22" fmla="*/ 0 w 533400"/>
                  <a:gd name="connsiteY22" fmla="*/ 209550 h 485775"/>
                  <a:gd name="connsiteX23" fmla="*/ 0 w 533400"/>
                  <a:gd name="connsiteY23" fmla="*/ 142875 h 485775"/>
                  <a:gd name="connsiteX24" fmla="*/ 28575 w 533400"/>
                  <a:gd name="connsiteY24" fmla="*/ 114300 h 485775"/>
                  <a:gd name="connsiteX25" fmla="*/ 123825 w 533400"/>
                  <a:gd name="connsiteY25" fmla="*/ 114300 h 485775"/>
                  <a:gd name="connsiteX26" fmla="*/ 123825 w 533400"/>
                  <a:gd name="connsiteY26" fmla="*/ 38100 h 485775"/>
                  <a:gd name="connsiteX27" fmla="*/ 160020 w 533400"/>
                  <a:gd name="connsiteY27" fmla="*/ 0 h 485775"/>
                  <a:gd name="connsiteX28" fmla="*/ 161925 w 533400"/>
                  <a:gd name="connsiteY28" fmla="*/ 0 h 485775"/>
                  <a:gd name="connsiteX29" fmla="*/ 371475 w 533400"/>
                  <a:gd name="connsiteY29" fmla="*/ 0 h 485775"/>
                  <a:gd name="connsiteX30" fmla="*/ 371475 w 533400"/>
                  <a:gd name="connsiteY30" fmla="*/ 19050 h 485775"/>
                  <a:gd name="connsiteX31" fmla="*/ 161925 w 533400"/>
                  <a:gd name="connsiteY31" fmla="*/ 19050 h 485775"/>
                  <a:gd name="connsiteX32" fmla="*/ 142970 w 533400"/>
                  <a:gd name="connsiteY32" fmla="*/ 36671 h 485775"/>
                  <a:gd name="connsiteX33" fmla="*/ 142875 w 533400"/>
                  <a:gd name="connsiteY33" fmla="*/ 38100 h 485775"/>
                  <a:gd name="connsiteX34" fmla="*/ 142875 w 533400"/>
                  <a:gd name="connsiteY34" fmla="*/ 114300 h 485775"/>
                  <a:gd name="connsiteX35" fmla="*/ 390525 w 533400"/>
                  <a:gd name="connsiteY35" fmla="*/ 114300 h 485775"/>
                  <a:gd name="connsiteX36" fmla="*/ 390525 w 533400"/>
                  <a:gd name="connsiteY36" fmla="*/ 38100 h 485775"/>
                  <a:gd name="connsiteX37" fmla="*/ 374333 w 533400"/>
                  <a:gd name="connsiteY37" fmla="*/ 19241 h 485775"/>
                  <a:gd name="connsiteX38" fmla="*/ 372904 w 533400"/>
                  <a:gd name="connsiteY38" fmla="*/ 19050 h 485775"/>
                  <a:gd name="connsiteX39" fmla="*/ 371475 w 533400"/>
                  <a:gd name="connsiteY39" fmla="*/ 19050 h 485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533400" h="485775">
                    <a:moveTo>
                      <a:pt x="123825" y="228600"/>
                    </a:moveTo>
                    <a:lnTo>
                      <a:pt x="123825" y="276225"/>
                    </a:lnTo>
                    <a:lnTo>
                      <a:pt x="142875" y="276225"/>
                    </a:lnTo>
                    <a:lnTo>
                      <a:pt x="142875" y="228600"/>
                    </a:lnTo>
                    <a:lnTo>
                      <a:pt x="390525" y="228600"/>
                    </a:lnTo>
                    <a:lnTo>
                      <a:pt x="390525" y="276225"/>
                    </a:lnTo>
                    <a:lnTo>
                      <a:pt x="409575" y="276225"/>
                    </a:lnTo>
                    <a:lnTo>
                      <a:pt x="409575" y="228600"/>
                    </a:lnTo>
                    <a:lnTo>
                      <a:pt x="533400" y="228600"/>
                    </a:lnTo>
                    <a:lnTo>
                      <a:pt x="533400" y="457200"/>
                    </a:lnTo>
                    <a:cubicBezTo>
                      <a:pt x="533400" y="473012"/>
                      <a:pt x="520637" y="485775"/>
                      <a:pt x="504825" y="485775"/>
                    </a:cubicBezTo>
                    <a:lnTo>
                      <a:pt x="28575" y="485775"/>
                    </a:lnTo>
                    <a:cubicBezTo>
                      <a:pt x="12763" y="485775"/>
                      <a:pt x="0" y="473012"/>
                      <a:pt x="0" y="457200"/>
                    </a:cubicBezTo>
                    <a:lnTo>
                      <a:pt x="0" y="228600"/>
                    </a:lnTo>
                    <a:lnTo>
                      <a:pt x="123825" y="228600"/>
                    </a:lnTo>
                    <a:close/>
                    <a:moveTo>
                      <a:pt x="371475" y="0"/>
                    </a:moveTo>
                    <a:cubicBezTo>
                      <a:pt x="391859" y="0"/>
                      <a:pt x="408527" y="16002"/>
                      <a:pt x="409575" y="36195"/>
                    </a:cubicBezTo>
                    <a:lnTo>
                      <a:pt x="409575" y="38100"/>
                    </a:lnTo>
                    <a:lnTo>
                      <a:pt x="409575" y="114300"/>
                    </a:lnTo>
                    <a:lnTo>
                      <a:pt x="504825" y="114300"/>
                    </a:lnTo>
                    <a:cubicBezTo>
                      <a:pt x="520637" y="114300"/>
                      <a:pt x="533400" y="127064"/>
                      <a:pt x="533400" y="142875"/>
                    </a:cubicBezTo>
                    <a:lnTo>
                      <a:pt x="533400" y="209550"/>
                    </a:lnTo>
                    <a:lnTo>
                      <a:pt x="0" y="209550"/>
                    </a:lnTo>
                    <a:lnTo>
                      <a:pt x="0" y="142875"/>
                    </a:lnTo>
                    <a:cubicBezTo>
                      <a:pt x="0" y="127064"/>
                      <a:pt x="12763" y="114300"/>
                      <a:pt x="28575" y="114300"/>
                    </a:cubicBezTo>
                    <a:lnTo>
                      <a:pt x="123825" y="114300"/>
                    </a:lnTo>
                    <a:lnTo>
                      <a:pt x="123825" y="38100"/>
                    </a:lnTo>
                    <a:cubicBezTo>
                      <a:pt x="123825" y="17716"/>
                      <a:pt x="139828" y="1048"/>
                      <a:pt x="160020" y="0"/>
                    </a:cubicBezTo>
                    <a:lnTo>
                      <a:pt x="161925" y="0"/>
                    </a:lnTo>
                    <a:lnTo>
                      <a:pt x="371475" y="0"/>
                    </a:lnTo>
                    <a:close/>
                    <a:moveTo>
                      <a:pt x="371475" y="19050"/>
                    </a:moveTo>
                    <a:lnTo>
                      <a:pt x="161925" y="19050"/>
                    </a:lnTo>
                    <a:cubicBezTo>
                      <a:pt x="151923" y="19050"/>
                      <a:pt x="143637" y="26861"/>
                      <a:pt x="142970" y="36671"/>
                    </a:cubicBezTo>
                    <a:lnTo>
                      <a:pt x="142875" y="38100"/>
                    </a:lnTo>
                    <a:lnTo>
                      <a:pt x="142875" y="114300"/>
                    </a:lnTo>
                    <a:lnTo>
                      <a:pt x="390525" y="114300"/>
                    </a:lnTo>
                    <a:lnTo>
                      <a:pt x="390525" y="38100"/>
                    </a:lnTo>
                    <a:cubicBezTo>
                      <a:pt x="390525" y="28575"/>
                      <a:pt x="383477" y="20669"/>
                      <a:pt x="374333" y="19241"/>
                    </a:cubicBezTo>
                    <a:lnTo>
                      <a:pt x="372904" y="19050"/>
                    </a:lnTo>
                    <a:lnTo>
                      <a:pt x="371475" y="1905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lIns="91440" tIns="45720" rIns="91440" bIns="45720" anchor="ctr"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</p:grpSp>
        <p:grpSp>
          <p:nvGrpSpPr>
            <p:cNvPr id="166" name="iṣlïḋe">
              <a:extLst>
                <a:ext uri="{FF2B5EF4-FFF2-40B4-BE49-F238E27FC236}">
                  <a16:creationId xmlns:a16="http://schemas.microsoft.com/office/drawing/2014/main" id="{4EEDB7DB-21F8-49D1-B5E2-ED702170951D}"/>
                </a:ext>
              </a:extLst>
            </p:cNvPr>
            <p:cNvGrpSpPr/>
            <p:nvPr/>
          </p:nvGrpSpPr>
          <p:grpSpPr>
            <a:xfrm>
              <a:off x="6984614" y="3155569"/>
              <a:ext cx="1654667" cy="1165376"/>
              <a:chOff x="1141744" y="2846312"/>
              <a:chExt cx="1654667" cy="1165376"/>
            </a:xfrm>
          </p:grpSpPr>
          <p:sp>
            <p:nvSpPr>
              <p:cNvPr id="175" name="ïśļíḓè">
                <a:extLst>
                  <a:ext uri="{FF2B5EF4-FFF2-40B4-BE49-F238E27FC236}">
                    <a16:creationId xmlns:a16="http://schemas.microsoft.com/office/drawing/2014/main" id="{81D93633-6EB6-4B90-A127-F64FF502FA00}"/>
                  </a:ext>
                </a:extLst>
              </p:cNvPr>
              <p:cNvSpPr/>
              <p:nvPr/>
            </p:nvSpPr>
            <p:spPr bwMode="auto">
              <a:xfrm>
                <a:off x="1531555" y="3899617"/>
                <a:ext cx="775562" cy="112071"/>
              </a:xfrm>
              <a:custGeom>
                <a:avLst/>
                <a:gdLst>
                  <a:gd name="T0" fmla="+- 0 10800 961"/>
                  <a:gd name="T1" fmla="*/ T0 w 19679"/>
                  <a:gd name="T2" fmla="+- 0 10800 961"/>
                  <a:gd name="T3" fmla="*/ 10800 h 19679"/>
                  <a:gd name="T4" fmla="+- 0 10800 961"/>
                  <a:gd name="T5" fmla="*/ T4 w 19679"/>
                  <a:gd name="T6" fmla="+- 0 10800 961"/>
                  <a:gd name="T7" fmla="*/ 10800 h 19679"/>
                  <a:gd name="T8" fmla="+- 0 10800 961"/>
                  <a:gd name="T9" fmla="*/ T8 w 19679"/>
                  <a:gd name="T10" fmla="+- 0 10800 961"/>
                  <a:gd name="T11" fmla="*/ 10800 h 19679"/>
                  <a:gd name="T12" fmla="+- 0 10800 961"/>
                  <a:gd name="T13" fmla="*/ T12 w 19679"/>
                  <a:gd name="T14" fmla="+- 0 10800 961"/>
                  <a:gd name="T15" fmla="*/ 10800 h 19679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19679" h="19679">
                    <a:moveTo>
                      <a:pt x="16796" y="2881"/>
                    </a:moveTo>
                    <a:cubicBezTo>
                      <a:pt x="20639" y="6724"/>
                      <a:pt x="20639" y="12953"/>
                      <a:pt x="16796" y="16796"/>
                    </a:cubicBezTo>
                    <a:cubicBezTo>
                      <a:pt x="12953" y="20638"/>
                      <a:pt x="6724" y="20638"/>
                      <a:pt x="2881" y="16796"/>
                    </a:cubicBezTo>
                    <a:cubicBezTo>
                      <a:pt x="-961" y="12953"/>
                      <a:pt x="-961" y="6724"/>
                      <a:pt x="2881" y="2881"/>
                    </a:cubicBezTo>
                    <a:cubicBezTo>
                      <a:pt x="6724" y="-961"/>
                      <a:pt x="12953" y="-961"/>
                      <a:pt x="16796" y="2881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76" name="îṧḷïḑê">
                <a:extLst>
                  <a:ext uri="{FF2B5EF4-FFF2-40B4-BE49-F238E27FC236}">
                    <a16:creationId xmlns:a16="http://schemas.microsoft.com/office/drawing/2014/main" id="{93986F14-389E-4ED7-A9C8-3477AC43778B}"/>
                  </a:ext>
                </a:extLst>
              </p:cNvPr>
              <p:cNvSpPr/>
              <p:nvPr/>
            </p:nvSpPr>
            <p:spPr bwMode="auto">
              <a:xfrm>
                <a:off x="1141744" y="2846312"/>
                <a:ext cx="1165373" cy="1165376"/>
              </a:xfrm>
              <a:custGeom>
                <a:avLst/>
                <a:gdLst>
                  <a:gd name="T0" fmla="+- 0 11026 981"/>
                  <a:gd name="T1" fmla="*/ T0 w 20090"/>
                  <a:gd name="T2" fmla="*/ 10297 h 20595"/>
                  <a:gd name="T3" fmla="+- 0 11026 981"/>
                  <a:gd name="T4" fmla="*/ T3 w 20090"/>
                  <a:gd name="T5" fmla="*/ 10297 h 20595"/>
                  <a:gd name="T6" fmla="+- 0 11026 981"/>
                  <a:gd name="T7" fmla="*/ T6 w 20090"/>
                  <a:gd name="T8" fmla="*/ 10297 h 20595"/>
                  <a:gd name="T9" fmla="+- 0 11026 981"/>
                  <a:gd name="T10" fmla="*/ T9 w 20090"/>
                  <a:gd name="T11" fmla="*/ 10297 h 205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</a:cxnLst>
                <a:rect l="0" t="0" r="r" b="b"/>
                <a:pathLst>
                  <a:path w="20090" h="20595">
                    <a:moveTo>
                      <a:pt x="10048" y="0"/>
                    </a:moveTo>
                    <a:cubicBezTo>
                      <a:pt x="7476" y="0"/>
                      <a:pt x="4905" y="1002"/>
                      <a:pt x="2943" y="3012"/>
                    </a:cubicBezTo>
                    <a:cubicBezTo>
                      <a:pt x="-981" y="7034"/>
                      <a:pt x="-981" y="13557"/>
                      <a:pt x="2943" y="17578"/>
                    </a:cubicBezTo>
                    <a:cubicBezTo>
                      <a:pt x="6867" y="21599"/>
                      <a:pt x="13229" y="21599"/>
                      <a:pt x="17153" y="17578"/>
                    </a:cubicBezTo>
                    <a:cubicBezTo>
                      <a:pt x="19748" y="14919"/>
                      <a:pt x="20618" y="11168"/>
                      <a:pt x="19782" y="7768"/>
                    </a:cubicBezTo>
                    <a:cubicBezTo>
                      <a:pt x="18191" y="8614"/>
                      <a:pt x="16192" y="8372"/>
                      <a:pt x="14857" y="7004"/>
                    </a:cubicBezTo>
                    <a:cubicBezTo>
                      <a:pt x="13287" y="5395"/>
                      <a:pt x="13228" y="2841"/>
                      <a:pt x="14647" y="1140"/>
                    </a:cubicBezTo>
                    <a:cubicBezTo>
                      <a:pt x="13208" y="380"/>
                      <a:pt x="11629" y="0"/>
                      <a:pt x="10048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77" name="í$1iḋe">
                <a:extLst>
                  <a:ext uri="{FF2B5EF4-FFF2-40B4-BE49-F238E27FC236}">
                    <a16:creationId xmlns:a16="http://schemas.microsoft.com/office/drawing/2014/main" id="{466710D2-8720-4C0C-8E07-8ADE5786EB2F}"/>
                  </a:ext>
                </a:extLst>
              </p:cNvPr>
              <p:cNvSpPr/>
              <p:nvPr/>
            </p:nvSpPr>
            <p:spPr bwMode="auto">
              <a:xfrm>
                <a:off x="1919336" y="2903160"/>
                <a:ext cx="877075" cy="343522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0" y="0"/>
                    </a:moveTo>
                    <a:lnTo>
                      <a:pt x="21600" y="0"/>
                    </a:lnTo>
                    <a:lnTo>
                      <a:pt x="21600" y="21599"/>
                    </a:lnTo>
                    <a:lnTo>
                      <a:pt x="0" y="21599"/>
                    </a:lnTo>
                    <a:close/>
                  </a:path>
                </a:pathLst>
              </a:cu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lIns="91440" tIns="45720" rIns="91440" bIns="45720" anchor="ctr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l">
                  <a:buSzTx/>
                  <a:buFontTx/>
                  <a:buNone/>
                </a:pPr>
                <a:r>
                  <a:rPr lang="en-US" altLang="zh-CN" sz="1800" b="1" i="1" dirty="0"/>
                  <a:t>Text</a:t>
                </a:r>
                <a:endParaRPr lang="zh-CN" altLang="en-US" sz="1800" b="1" i="1" dirty="0"/>
              </a:p>
            </p:txBody>
          </p:sp>
          <p:sp>
            <p:nvSpPr>
              <p:cNvPr id="178" name="ïsļídè">
                <a:extLst>
                  <a:ext uri="{FF2B5EF4-FFF2-40B4-BE49-F238E27FC236}">
                    <a16:creationId xmlns:a16="http://schemas.microsoft.com/office/drawing/2014/main" id="{22D0CA44-447D-464A-B652-5BAABF517188}"/>
                  </a:ext>
                </a:extLst>
              </p:cNvPr>
              <p:cNvSpPr/>
              <p:nvPr/>
            </p:nvSpPr>
            <p:spPr bwMode="auto">
              <a:xfrm>
                <a:off x="1545361" y="3253127"/>
                <a:ext cx="358139" cy="351743"/>
              </a:xfrm>
              <a:custGeom>
                <a:avLst/>
                <a:gdLst>
                  <a:gd name="connsiteX0" fmla="*/ 342900 w 533400"/>
                  <a:gd name="connsiteY0" fmla="*/ 276225 h 523875"/>
                  <a:gd name="connsiteX1" fmla="*/ 371475 w 533400"/>
                  <a:gd name="connsiteY1" fmla="*/ 304800 h 523875"/>
                  <a:gd name="connsiteX2" fmla="*/ 371475 w 533400"/>
                  <a:gd name="connsiteY2" fmla="*/ 495300 h 523875"/>
                  <a:gd name="connsiteX3" fmla="*/ 342900 w 533400"/>
                  <a:gd name="connsiteY3" fmla="*/ 523875 h 523875"/>
                  <a:gd name="connsiteX4" fmla="*/ 190500 w 533400"/>
                  <a:gd name="connsiteY4" fmla="*/ 523875 h 523875"/>
                  <a:gd name="connsiteX5" fmla="*/ 161925 w 533400"/>
                  <a:gd name="connsiteY5" fmla="*/ 495300 h 523875"/>
                  <a:gd name="connsiteX6" fmla="*/ 161925 w 533400"/>
                  <a:gd name="connsiteY6" fmla="*/ 304800 h 523875"/>
                  <a:gd name="connsiteX7" fmla="*/ 190500 w 533400"/>
                  <a:gd name="connsiteY7" fmla="*/ 276225 h 523875"/>
                  <a:gd name="connsiteX8" fmla="*/ 342900 w 533400"/>
                  <a:gd name="connsiteY8" fmla="*/ 276225 h 523875"/>
                  <a:gd name="connsiteX9" fmla="*/ 142875 w 533400"/>
                  <a:gd name="connsiteY9" fmla="*/ 114300 h 523875"/>
                  <a:gd name="connsiteX10" fmla="*/ 179070 w 533400"/>
                  <a:gd name="connsiteY10" fmla="*/ 152400 h 523875"/>
                  <a:gd name="connsiteX11" fmla="*/ 180975 w 533400"/>
                  <a:gd name="connsiteY11" fmla="*/ 152400 h 523875"/>
                  <a:gd name="connsiteX12" fmla="*/ 352425 w 533400"/>
                  <a:gd name="connsiteY12" fmla="*/ 152400 h 523875"/>
                  <a:gd name="connsiteX13" fmla="*/ 390525 w 533400"/>
                  <a:gd name="connsiteY13" fmla="*/ 116205 h 523875"/>
                  <a:gd name="connsiteX14" fmla="*/ 390525 w 533400"/>
                  <a:gd name="connsiteY14" fmla="*/ 114300 h 523875"/>
                  <a:gd name="connsiteX15" fmla="*/ 504825 w 533400"/>
                  <a:gd name="connsiteY15" fmla="*/ 114300 h 523875"/>
                  <a:gd name="connsiteX16" fmla="*/ 533400 w 533400"/>
                  <a:gd name="connsiteY16" fmla="*/ 142875 h 523875"/>
                  <a:gd name="connsiteX17" fmla="*/ 533400 w 533400"/>
                  <a:gd name="connsiteY17" fmla="*/ 381000 h 523875"/>
                  <a:gd name="connsiteX18" fmla="*/ 504825 w 533400"/>
                  <a:gd name="connsiteY18" fmla="*/ 409575 h 523875"/>
                  <a:gd name="connsiteX19" fmla="*/ 390525 w 533400"/>
                  <a:gd name="connsiteY19" fmla="*/ 409575 h 523875"/>
                  <a:gd name="connsiteX20" fmla="*/ 390525 w 533400"/>
                  <a:gd name="connsiteY20" fmla="*/ 295275 h 523875"/>
                  <a:gd name="connsiteX21" fmla="*/ 354330 w 533400"/>
                  <a:gd name="connsiteY21" fmla="*/ 257175 h 523875"/>
                  <a:gd name="connsiteX22" fmla="*/ 352425 w 533400"/>
                  <a:gd name="connsiteY22" fmla="*/ 257175 h 523875"/>
                  <a:gd name="connsiteX23" fmla="*/ 180975 w 533400"/>
                  <a:gd name="connsiteY23" fmla="*/ 257175 h 523875"/>
                  <a:gd name="connsiteX24" fmla="*/ 142875 w 533400"/>
                  <a:gd name="connsiteY24" fmla="*/ 293370 h 523875"/>
                  <a:gd name="connsiteX25" fmla="*/ 142875 w 533400"/>
                  <a:gd name="connsiteY25" fmla="*/ 295275 h 523875"/>
                  <a:gd name="connsiteX26" fmla="*/ 142875 w 533400"/>
                  <a:gd name="connsiteY26" fmla="*/ 409575 h 523875"/>
                  <a:gd name="connsiteX27" fmla="*/ 28575 w 533400"/>
                  <a:gd name="connsiteY27" fmla="*/ 409575 h 523875"/>
                  <a:gd name="connsiteX28" fmla="*/ 0 w 533400"/>
                  <a:gd name="connsiteY28" fmla="*/ 381000 h 523875"/>
                  <a:gd name="connsiteX29" fmla="*/ 0 w 533400"/>
                  <a:gd name="connsiteY29" fmla="*/ 200787 h 523875"/>
                  <a:gd name="connsiteX30" fmla="*/ 10287 w 533400"/>
                  <a:gd name="connsiteY30" fmla="*/ 174784 h 523875"/>
                  <a:gd name="connsiteX31" fmla="*/ 55436 w 533400"/>
                  <a:gd name="connsiteY31" fmla="*/ 126397 h 523875"/>
                  <a:gd name="connsiteX32" fmla="*/ 83248 w 533400"/>
                  <a:gd name="connsiteY32" fmla="*/ 114300 h 523875"/>
                  <a:gd name="connsiteX33" fmla="*/ 142875 w 533400"/>
                  <a:gd name="connsiteY33" fmla="*/ 114300 h 523875"/>
                  <a:gd name="connsiteX34" fmla="*/ 461963 w 533400"/>
                  <a:gd name="connsiteY34" fmla="*/ 171450 h 523875"/>
                  <a:gd name="connsiteX35" fmla="*/ 447675 w 533400"/>
                  <a:gd name="connsiteY35" fmla="*/ 185738 h 523875"/>
                  <a:gd name="connsiteX36" fmla="*/ 461963 w 533400"/>
                  <a:gd name="connsiteY36" fmla="*/ 200025 h 523875"/>
                  <a:gd name="connsiteX37" fmla="*/ 476250 w 533400"/>
                  <a:gd name="connsiteY37" fmla="*/ 185738 h 523875"/>
                  <a:gd name="connsiteX38" fmla="*/ 461963 w 533400"/>
                  <a:gd name="connsiteY38" fmla="*/ 171450 h 523875"/>
                  <a:gd name="connsiteX39" fmla="*/ 342900 w 533400"/>
                  <a:gd name="connsiteY39" fmla="*/ 0 h 523875"/>
                  <a:gd name="connsiteX40" fmla="*/ 371475 w 533400"/>
                  <a:gd name="connsiteY40" fmla="*/ 28575 h 523875"/>
                  <a:gd name="connsiteX41" fmla="*/ 371475 w 533400"/>
                  <a:gd name="connsiteY41" fmla="*/ 104775 h 523875"/>
                  <a:gd name="connsiteX42" fmla="*/ 342900 w 533400"/>
                  <a:gd name="connsiteY42" fmla="*/ 133350 h 523875"/>
                  <a:gd name="connsiteX43" fmla="*/ 190500 w 533400"/>
                  <a:gd name="connsiteY43" fmla="*/ 133350 h 523875"/>
                  <a:gd name="connsiteX44" fmla="*/ 161925 w 533400"/>
                  <a:gd name="connsiteY44" fmla="*/ 104775 h 523875"/>
                  <a:gd name="connsiteX45" fmla="*/ 161925 w 533400"/>
                  <a:gd name="connsiteY45" fmla="*/ 28575 h 523875"/>
                  <a:gd name="connsiteX46" fmla="*/ 190500 w 533400"/>
                  <a:gd name="connsiteY46" fmla="*/ 0 h 523875"/>
                  <a:gd name="connsiteX47" fmla="*/ 342900 w 533400"/>
                  <a:gd name="connsiteY47" fmla="*/ 0 h 523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533400" h="523875">
                    <a:moveTo>
                      <a:pt x="342900" y="276225"/>
                    </a:moveTo>
                    <a:cubicBezTo>
                      <a:pt x="358711" y="276225"/>
                      <a:pt x="371475" y="288989"/>
                      <a:pt x="371475" y="304800"/>
                    </a:cubicBezTo>
                    <a:lnTo>
                      <a:pt x="371475" y="495300"/>
                    </a:lnTo>
                    <a:cubicBezTo>
                      <a:pt x="371475" y="511112"/>
                      <a:pt x="358711" y="523875"/>
                      <a:pt x="342900" y="523875"/>
                    </a:cubicBezTo>
                    <a:lnTo>
                      <a:pt x="190500" y="523875"/>
                    </a:lnTo>
                    <a:cubicBezTo>
                      <a:pt x="174689" y="523875"/>
                      <a:pt x="161925" y="511112"/>
                      <a:pt x="161925" y="495300"/>
                    </a:cubicBezTo>
                    <a:lnTo>
                      <a:pt x="161925" y="304800"/>
                    </a:lnTo>
                    <a:cubicBezTo>
                      <a:pt x="161925" y="288989"/>
                      <a:pt x="174689" y="276225"/>
                      <a:pt x="190500" y="276225"/>
                    </a:cubicBezTo>
                    <a:lnTo>
                      <a:pt x="342900" y="276225"/>
                    </a:lnTo>
                    <a:close/>
                    <a:moveTo>
                      <a:pt x="142875" y="114300"/>
                    </a:moveTo>
                    <a:cubicBezTo>
                      <a:pt x="142875" y="134684"/>
                      <a:pt x="158877" y="151352"/>
                      <a:pt x="179070" y="152400"/>
                    </a:cubicBezTo>
                    <a:lnTo>
                      <a:pt x="180975" y="152400"/>
                    </a:lnTo>
                    <a:lnTo>
                      <a:pt x="352425" y="152400"/>
                    </a:lnTo>
                    <a:cubicBezTo>
                      <a:pt x="372809" y="152400"/>
                      <a:pt x="389477" y="136398"/>
                      <a:pt x="390525" y="116205"/>
                    </a:cubicBezTo>
                    <a:lnTo>
                      <a:pt x="390525" y="114300"/>
                    </a:lnTo>
                    <a:lnTo>
                      <a:pt x="504825" y="114300"/>
                    </a:lnTo>
                    <a:cubicBezTo>
                      <a:pt x="520636" y="114300"/>
                      <a:pt x="533400" y="127064"/>
                      <a:pt x="533400" y="142875"/>
                    </a:cubicBezTo>
                    <a:lnTo>
                      <a:pt x="533400" y="381000"/>
                    </a:lnTo>
                    <a:cubicBezTo>
                      <a:pt x="533400" y="396812"/>
                      <a:pt x="520636" y="409575"/>
                      <a:pt x="504825" y="409575"/>
                    </a:cubicBezTo>
                    <a:lnTo>
                      <a:pt x="390525" y="409575"/>
                    </a:lnTo>
                    <a:lnTo>
                      <a:pt x="390525" y="295275"/>
                    </a:lnTo>
                    <a:cubicBezTo>
                      <a:pt x="390525" y="274892"/>
                      <a:pt x="374523" y="258223"/>
                      <a:pt x="354330" y="257175"/>
                    </a:cubicBezTo>
                    <a:lnTo>
                      <a:pt x="352425" y="257175"/>
                    </a:lnTo>
                    <a:lnTo>
                      <a:pt x="180975" y="257175"/>
                    </a:lnTo>
                    <a:cubicBezTo>
                      <a:pt x="160591" y="257175"/>
                      <a:pt x="143923" y="273177"/>
                      <a:pt x="142875" y="293370"/>
                    </a:cubicBezTo>
                    <a:lnTo>
                      <a:pt x="142875" y="295275"/>
                    </a:lnTo>
                    <a:lnTo>
                      <a:pt x="142875" y="409575"/>
                    </a:lnTo>
                    <a:lnTo>
                      <a:pt x="28575" y="409575"/>
                    </a:lnTo>
                    <a:cubicBezTo>
                      <a:pt x="12763" y="409575"/>
                      <a:pt x="0" y="396812"/>
                      <a:pt x="0" y="381000"/>
                    </a:cubicBezTo>
                    <a:lnTo>
                      <a:pt x="0" y="200787"/>
                    </a:lnTo>
                    <a:cubicBezTo>
                      <a:pt x="0" y="191167"/>
                      <a:pt x="3620" y="181832"/>
                      <a:pt x="10287" y="174784"/>
                    </a:cubicBezTo>
                    <a:lnTo>
                      <a:pt x="55436" y="126397"/>
                    </a:lnTo>
                    <a:cubicBezTo>
                      <a:pt x="62675" y="118682"/>
                      <a:pt x="72771" y="114300"/>
                      <a:pt x="83248" y="114300"/>
                    </a:cubicBezTo>
                    <a:lnTo>
                      <a:pt x="142875" y="114300"/>
                    </a:lnTo>
                    <a:close/>
                    <a:moveTo>
                      <a:pt x="461963" y="171450"/>
                    </a:moveTo>
                    <a:cubicBezTo>
                      <a:pt x="454057" y="171450"/>
                      <a:pt x="447675" y="177832"/>
                      <a:pt x="447675" y="185738"/>
                    </a:cubicBezTo>
                    <a:cubicBezTo>
                      <a:pt x="447675" y="193643"/>
                      <a:pt x="454057" y="200025"/>
                      <a:pt x="461963" y="200025"/>
                    </a:cubicBezTo>
                    <a:cubicBezTo>
                      <a:pt x="469868" y="200025"/>
                      <a:pt x="476250" y="193643"/>
                      <a:pt x="476250" y="185738"/>
                    </a:cubicBezTo>
                    <a:cubicBezTo>
                      <a:pt x="476250" y="177832"/>
                      <a:pt x="469868" y="171450"/>
                      <a:pt x="461963" y="171450"/>
                    </a:cubicBezTo>
                    <a:close/>
                    <a:moveTo>
                      <a:pt x="342900" y="0"/>
                    </a:moveTo>
                    <a:cubicBezTo>
                      <a:pt x="358711" y="0"/>
                      <a:pt x="371475" y="12763"/>
                      <a:pt x="371475" y="28575"/>
                    </a:cubicBezTo>
                    <a:lnTo>
                      <a:pt x="371475" y="104775"/>
                    </a:lnTo>
                    <a:cubicBezTo>
                      <a:pt x="371475" y="120587"/>
                      <a:pt x="358711" y="133350"/>
                      <a:pt x="342900" y="133350"/>
                    </a:cubicBezTo>
                    <a:lnTo>
                      <a:pt x="190500" y="133350"/>
                    </a:lnTo>
                    <a:cubicBezTo>
                      <a:pt x="174689" y="133350"/>
                      <a:pt x="161925" y="120587"/>
                      <a:pt x="161925" y="104775"/>
                    </a:cubicBezTo>
                    <a:lnTo>
                      <a:pt x="161925" y="28575"/>
                    </a:lnTo>
                    <a:cubicBezTo>
                      <a:pt x="161925" y="12763"/>
                      <a:pt x="174689" y="0"/>
                      <a:pt x="190500" y="0"/>
                    </a:cubicBezTo>
                    <a:lnTo>
                      <a:pt x="34290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lIns="91440" tIns="45720" rIns="91440" bIns="45720" anchor="ctr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</p:grpSp>
        <p:grpSp>
          <p:nvGrpSpPr>
            <p:cNvPr id="167" name="íṣḻíḑé">
              <a:extLst>
                <a:ext uri="{FF2B5EF4-FFF2-40B4-BE49-F238E27FC236}">
                  <a16:creationId xmlns:a16="http://schemas.microsoft.com/office/drawing/2014/main" id="{437C8DFC-6A55-4712-875C-EFF79C2FDCC1}"/>
                </a:ext>
              </a:extLst>
            </p:cNvPr>
            <p:cNvGrpSpPr/>
            <p:nvPr/>
          </p:nvGrpSpPr>
          <p:grpSpPr>
            <a:xfrm>
              <a:off x="9813920" y="3155569"/>
              <a:ext cx="1654667" cy="1165376"/>
              <a:chOff x="1141744" y="2846312"/>
              <a:chExt cx="1654667" cy="1165376"/>
            </a:xfrm>
          </p:grpSpPr>
          <p:sp>
            <p:nvSpPr>
              <p:cNvPr id="171" name="íṣḻíḑé">
                <a:extLst>
                  <a:ext uri="{FF2B5EF4-FFF2-40B4-BE49-F238E27FC236}">
                    <a16:creationId xmlns:a16="http://schemas.microsoft.com/office/drawing/2014/main" id="{971DB7DA-135D-4CB3-AFEB-302B080F6FF2}"/>
                  </a:ext>
                </a:extLst>
              </p:cNvPr>
              <p:cNvSpPr/>
              <p:nvPr/>
            </p:nvSpPr>
            <p:spPr bwMode="auto">
              <a:xfrm>
                <a:off x="1531555" y="3899617"/>
                <a:ext cx="775562" cy="112071"/>
              </a:xfrm>
              <a:custGeom>
                <a:avLst/>
                <a:gdLst>
                  <a:gd name="T0" fmla="+- 0 10800 961"/>
                  <a:gd name="T1" fmla="*/ T0 w 19679"/>
                  <a:gd name="T2" fmla="+- 0 10800 961"/>
                  <a:gd name="T3" fmla="*/ 10800 h 19679"/>
                  <a:gd name="T4" fmla="+- 0 10800 961"/>
                  <a:gd name="T5" fmla="*/ T4 w 19679"/>
                  <a:gd name="T6" fmla="+- 0 10800 961"/>
                  <a:gd name="T7" fmla="*/ 10800 h 19679"/>
                  <a:gd name="T8" fmla="+- 0 10800 961"/>
                  <a:gd name="T9" fmla="*/ T8 w 19679"/>
                  <a:gd name="T10" fmla="+- 0 10800 961"/>
                  <a:gd name="T11" fmla="*/ 10800 h 19679"/>
                  <a:gd name="T12" fmla="+- 0 10800 961"/>
                  <a:gd name="T13" fmla="*/ T12 w 19679"/>
                  <a:gd name="T14" fmla="+- 0 10800 961"/>
                  <a:gd name="T15" fmla="*/ 10800 h 19679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19679" h="19679">
                    <a:moveTo>
                      <a:pt x="16796" y="2881"/>
                    </a:moveTo>
                    <a:cubicBezTo>
                      <a:pt x="20639" y="6724"/>
                      <a:pt x="20639" y="12953"/>
                      <a:pt x="16796" y="16796"/>
                    </a:cubicBezTo>
                    <a:cubicBezTo>
                      <a:pt x="12953" y="20638"/>
                      <a:pt x="6724" y="20638"/>
                      <a:pt x="2881" y="16796"/>
                    </a:cubicBezTo>
                    <a:cubicBezTo>
                      <a:pt x="-961" y="12953"/>
                      <a:pt x="-961" y="6724"/>
                      <a:pt x="2881" y="2881"/>
                    </a:cubicBezTo>
                    <a:cubicBezTo>
                      <a:pt x="6724" y="-961"/>
                      <a:pt x="12953" y="-961"/>
                      <a:pt x="16796" y="2881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72" name="ïṣļïḑê">
                <a:extLst>
                  <a:ext uri="{FF2B5EF4-FFF2-40B4-BE49-F238E27FC236}">
                    <a16:creationId xmlns:a16="http://schemas.microsoft.com/office/drawing/2014/main" id="{ECD08CF8-9B17-40AE-9716-15BE92AAC6FB}"/>
                  </a:ext>
                </a:extLst>
              </p:cNvPr>
              <p:cNvSpPr/>
              <p:nvPr/>
            </p:nvSpPr>
            <p:spPr bwMode="auto">
              <a:xfrm>
                <a:off x="1141744" y="2846312"/>
                <a:ext cx="1165373" cy="1165376"/>
              </a:xfrm>
              <a:custGeom>
                <a:avLst/>
                <a:gdLst>
                  <a:gd name="T0" fmla="+- 0 11026 981"/>
                  <a:gd name="T1" fmla="*/ T0 w 20090"/>
                  <a:gd name="T2" fmla="*/ 10297 h 20595"/>
                  <a:gd name="T3" fmla="+- 0 11026 981"/>
                  <a:gd name="T4" fmla="*/ T3 w 20090"/>
                  <a:gd name="T5" fmla="*/ 10297 h 20595"/>
                  <a:gd name="T6" fmla="+- 0 11026 981"/>
                  <a:gd name="T7" fmla="*/ T6 w 20090"/>
                  <a:gd name="T8" fmla="*/ 10297 h 20595"/>
                  <a:gd name="T9" fmla="+- 0 11026 981"/>
                  <a:gd name="T10" fmla="*/ T9 w 20090"/>
                  <a:gd name="T11" fmla="*/ 10297 h 205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</a:cxnLst>
                <a:rect l="0" t="0" r="r" b="b"/>
                <a:pathLst>
                  <a:path w="20090" h="20595">
                    <a:moveTo>
                      <a:pt x="10048" y="0"/>
                    </a:moveTo>
                    <a:cubicBezTo>
                      <a:pt x="7476" y="0"/>
                      <a:pt x="4905" y="1002"/>
                      <a:pt x="2943" y="3012"/>
                    </a:cubicBezTo>
                    <a:cubicBezTo>
                      <a:pt x="-981" y="7034"/>
                      <a:pt x="-981" y="13557"/>
                      <a:pt x="2943" y="17578"/>
                    </a:cubicBezTo>
                    <a:cubicBezTo>
                      <a:pt x="6867" y="21599"/>
                      <a:pt x="13229" y="21599"/>
                      <a:pt x="17153" y="17578"/>
                    </a:cubicBezTo>
                    <a:cubicBezTo>
                      <a:pt x="19748" y="14919"/>
                      <a:pt x="20618" y="11168"/>
                      <a:pt x="19782" y="7768"/>
                    </a:cubicBezTo>
                    <a:cubicBezTo>
                      <a:pt x="18191" y="8614"/>
                      <a:pt x="16192" y="8372"/>
                      <a:pt x="14857" y="7004"/>
                    </a:cubicBezTo>
                    <a:cubicBezTo>
                      <a:pt x="13287" y="5395"/>
                      <a:pt x="13228" y="2841"/>
                      <a:pt x="14647" y="1140"/>
                    </a:cubicBezTo>
                    <a:cubicBezTo>
                      <a:pt x="13208" y="380"/>
                      <a:pt x="11629" y="0"/>
                      <a:pt x="1004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73" name="íslîḋe">
                <a:extLst>
                  <a:ext uri="{FF2B5EF4-FFF2-40B4-BE49-F238E27FC236}">
                    <a16:creationId xmlns:a16="http://schemas.microsoft.com/office/drawing/2014/main" id="{772360C1-BC34-4776-8B75-14475EB925B8}"/>
                  </a:ext>
                </a:extLst>
              </p:cNvPr>
              <p:cNvSpPr/>
              <p:nvPr/>
            </p:nvSpPr>
            <p:spPr bwMode="auto">
              <a:xfrm>
                <a:off x="1919336" y="2903160"/>
                <a:ext cx="877075" cy="343522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0" y="0"/>
                    </a:moveTo>
                    <a:lnTo>
                      <a:pt x="21600" y="0"/>
                    </a:lnTo>
                    <a:lnTo>
                      <a:pt x="21600" y="21599"/>
                    </a:lnTo>
                    <a:lnTo>
                      <a:pt x="0" y="21599"/>
                    </a:lnTo>
                    <a:close/>
                  </a:path>
                </a:pathLst>
              </a:cu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lIns="91440" tIns="45720" rIns="91440" bIns="45720" anchor="ctr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l">
                  <a:buSzTx/>
                  <a:buFontTx/>
                  <a:buNone/>
                </a:pPr>
                <a:r>
                  <a:rPr lang="en-US" altLang="zh-CN" sz="1800" b="1" i="1" dirty="0"/>
                  <a:t>Text</a:t>
                </a:r>
                <a:endParaRPr lang="zh-CN" altLang="en-US" sz="1800" b="1" i="1" dirty="0"/>
              </a:p>
            </p:txBody>
          </p:sp>
          <p:sp>
            <p:nvSpPr>
              <p:cNvPr id="174" name="iṧľide">
                <a:extLst>
                  <a:ext uri="{FF2B5EF4-FFF2-40B4-BE49-F238E27FC236}">
                    <a16:creationId xmlns:a16="http://schemas.microsoft.com/office/drawing/2014/main" id="{BC13BF07-C847-41F4-B5EE-546E46F28FF7}"/>
                  </a:ext>
                </a:extLst>
              </p:cNvPr>
              <p:cNvSpPr/>
              <p:nvPr/>
            </p:nvSpPr>
            <p:spPr bwMode="auto">
              <a:xfrm>
                <a:off x="1545361" y="3294696"/>
                <a:ext cx="358139" cy="268604"/>
              </a:xfrm>
              <a:custGeom>
                <a:avLst/>
                <a:gdLst>
                  <a:gd name="connsiteX0" fmla="*/ 504825 w 533400"/>
                  <a:gd name="connsiteY0" fmla="*/ 0 h 400050"/>
                  <a:gd name="connsiteX1" fmla="*/ 533400 w 533400"/>
                  <a:gd name="connsiteY1" fmla="*/ 28575 h 400050"/>
                  <a:gd name="connsiteX2" fmla="*/ 533400 w 533400"/>
                  <a:gd name="connsiteY2" fmla="*/ 371475 h 400050"/>
                  <a:gd name="connsiteX3" fmla="*/ 504825 w 533400"/>
                  <a:gd name="connsiteY3" fmla="*/ 400050 h 400050"/>
                  <a:gd name="connsiteX4" fmla="*/ 28575 w 533400"/>
                  <a:gd name="connsiteY4" fmla="*/ 400050 h 400050"/>
                  <a:gd name="connsiteX5" fmla="*/ 0 w 533400"/>
                  <a:gd name="connsiteY5" fmla="*/ 371475 h 400050"/>
                  <a:gd name="connsiteX6" fmla="*/ 0 w 533400"/>
                  <a:gd name="connsiteY6" fmla="*/ 28575 h 400050"/>
                  <a:gd name="connsiteX7" fmla="*/ 28575 w 533400"/>
                  <a:gd name="connsiteY7" fmla="*/ 0 h 400050"/>
                  <a:gd name="connsiteX8" fmla="*/ 504825 w 533400"/>
                  <a:gd name="connsiteY8" fmla="*/ 0 h 400050"/>
                  <a:gd name="connsiteX9" fmla="*/ 390811 w 533400"/>
                  <a:gd name="connsiteY9" fmla="*/ 198025 h 400050"/>
                  <a:gd name="connsiteX10" fmla="*/ 350806 w 533400"/>
                  <a:gd name="connsiteY10" fmla="*/ 203549 h 400050"/>
                  <a:gd name="connsiteX11" fmla="*/ 350806 w 533400"/>
                  <a:gd name="connsiteY11" fmla="*/ 203549 h 400050"/>
                  <a:gd name="connsiteX12" fmla="*/ 266510 w 533400"/>
                  <a:gd name="connsiteY12" fmla="*/ 314992 h 400050"/>
                  <a:gd name="connsiteX13" fmla="*/ 264033 w 533400"/>
                  <a:gd name="connsiteY13" fmla="*/ 317849 h 400050"/>
                  <a:gd name="connsiteX14" fmla="*/ 223647 w 533400"/>
                  <a:gd name="connsiteY14" fmla="*/ 318135 h 400050"/>
                  <a:gd name="connsiteX15" fmla="*/ 223647 w 533400"/>
                  <a:gd name="connsiteY15" fmla="*/ 318135 h 400050"/>
                  <a:gd name="connsiteX16" fmla="*/ 161544 w 533400"/>
                  <a:gd name="connsiteY16" fmla="*/ 256794 h 400050"/>
                  <a:gd name="connsiteX17" fmla="*/ 159639 w 533400"/>
                  <a:gd name="connsiteY17" fmla="*/ 255079 h 400050"/>
                  <a:gd name="connsiteX18" fmla="*/ 119444 w 533400"/>
                  <a:gd name="connsiteY18" fmla="*/ 258985 h 400050"/>
                  <a:gd name="connsiteX19" fmla="*/ 119444 w 533400"/>
                  <a:gd name="connsiteY19" fmla="*/ 258985 h 400050"/>
                  <a:gd name="connsiteX20" fmla="*/ 31909 w 533400"/>
                  <a:gd name="connsiteY20" fmla="*/ 365474 h 400050"/>
                  <a:gd name="connsiteX21" fmla="*/ 29718 w 533400"/>
                  <a:gd name="connsiteY21" fmla="*/ 371475 h 400050"/>
                  <a:gd name="connsiteX22" fmla="*/ 39243 w 533400"/>
                  <a:gd name="connsiteY22" fmla="*/ 381000 h 400050"/>
                  <a:gd name="connsiteX23" fmla="*/ 39243 w 533400"/>
                  <a:gd name="connsiteY23" fmla="*/ 381000 h 400050"/>
                  <a:gd name="connsiteX24" fmla="*/ 496634 w 533400"/>
                  <a:gd name="connsiteY24" fmla="*/ 381000 h 400050"/>
                  <a:gd name="connsiteX25" fmla="*/ 501872 w 533400"/>
                  <a:gd name="connsiteY25" fmla="*/ 379381 h 400050"/>
                  <a:gd name="connsiteX26" fmla="*/ 504539 w 533400"/>
                  <a:gd name="connsiteY26" fmla="*/ 366141 h 400050"/>
                  <a:gd name="connsiteX27" fmla="*/ 504539 w 533400"/>
                  <a:gd name="connsiteY27" fmla="*/ 366141 h 400050"/>
                  <a:gd name="connsiteX28" fmla="*/ 397383 w 533400"/>
                  <a:gd name="connsiteY28" fmla="*/ 204883 h 400050"/>
                  <a:gd name="connsiteX29" fmla="*/ 390811 w 533400"/>
                  <a:gd name="connsiteY29" fmla="*/ 198025 h 400050"/>
                  <a:gd name="connsiteX30" fmla="*/ 95250 w 533400"/>
                  <a:gd name="connsiteY30" fmla="*/ 57150 h 400050"/>
                  <a:gd name="connsiteX31" fmla="*/ 57150 w 533400"/>
                  <a:gd name="connsiteY31" fmla="*/ 95250 h 400050"/>
                  <a:gd name="connsiteX32" fmla="*/ 95250 w 533400"/>
                  <a:gd name="connsiteY32" fmla="*/ 133350 h 400050"/>
                  <a:gd name="connsiteX33" fmla="*/ 133350 w 533400"/>
                  <a:gd name="connsiteY33" fmla="*/ 95250 h 400050"/>
                  <a:gd name="connsiteX34" fmla="*/ 95250 w 533400"/>
                  <a:gd name="connsiteY34" fmla="*/ 57150 h 400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533400" h="400050">
                    <a:moveTo>
                      <a:pt x="504825" y="0"/>
                    </a:moveTo>
                    <a:cubicBezTo>
                      <a:pt x="520637" y="0"/>
                      <a:pt x="533400" y="12764"/>
                      <a:pt x="533400" y="28575"/>
                    </a:cubicBezTo>
                    <a:lnTo>
                      <a:pt x="533400" y="371475"/>
                    </a:lnTo>
                    <a:cubicBezTo>
                      <a:pt x="533400" y="387287"/>
                      <a:pt x="520637" y="400050"/>
                      <a:pt x="504825" y="400050"/>
                    </a:cubicBezTo>
                    <a:lnTo>
                      <a:pt x="28575" y="400050"/>
                    </a:lnTo>
                    <a:cubicBezTo>
                      <a:pt x="12763" y="400050"/>
                      <a:pt x="0" y="387287"/>
                      <a:pt x="0" y="371475"/>
                    </a:cubicBezTo>
                    <a:lnTo>
                      <a:pt x="0" y="28575"/>
                    </a:lnTo>
                    <a:cubicBezTo>
                      <a:pt x="0" y="12764"/>
                      <a:pt x="12763" y="0"/>
                      <a:pt x="28575" y="0"/>
                    </a:cubicBezTo>
                    <a:lnTo>
                      <a:pt x="504825" y="0"/>
                    </a:lnTo>
                    <a:close/>
                    <a:moveTo>
                      <a:pt x="390811" y="198025"/>
                    </a:moveTo>
                    <a:cubicBezTo>
                      <a:pt x="378238" y="188500"/>
                      <a:pt x="360331" y="190976"/>
                      <a:pt x="350806" y="203549"/>
                    </a:cubicBezTo>
                    <a:lnTo>
                      <a:pt x="350806" y="203549"/>
                    </a:lnTo>
                    <a:lnTo>
                      <a:pt x="266510" y="314992"/>
                    </a:lnTo>
                    <a:cubicBezTo>
                      <a:pt x="265747" y="316040"/>
                      <a:pt x="264890" y="316897"/>
                      <a:pt x="264033" y="317849"/>
                    </a:cubicBezTo>
                    <a:cubicBezTo>
                      <a:pt x="252984" y="329089"/>
                      <a:pt x="234887" y="329184"/>
                      <a:pt x="223647" y="318135"/>
                    </a:cubicBezTo>
                    <a:lnTo>
                      <a:pt x="223647" y="318135"/>
                    </a:lnTo>
                    <a:lnTo>
                      <a:pt x="161544" y="256794"/>
                    </a:lnTo>
                    <a:cubicBezTo>
                      <a:pt x="160877" y="256223"/>
                      <a:pt x="160306" y="255556"/>
                      <a:pt x="159639" y="255079"/>
                    </a:cubicBezTo>
                    <a:cubicBezTo>
                      <a:pt x="147447" y="245078"/>
                      <a:pt x="129445" y="246793"/>
                      <a:pt x="119444" y="258985"/>
                    </a:cubicBezTo>
                    <a:lnTo>
                      <a:pt x="119444" y="258985"/>
                    </a:lnTo>
                    <a:lnTo>
                      <a:pt x="31909" y="365474"/>
                    </a:lnTo>
                    <a:cubicBezTo>
                      <a:pt x="30480" y="367189"/>
                      <a:pt x="29718" y="369284"/>
                      <a:pt x="29718" y="371475"/>
                    </a:cubicBezTo>
                    <a:cubicBezTo>
                      <a:pt x="29718" y="376714"/>
                      <a:pt x="34004" y="381000"/>
                      <a:pt x="39243" y="381000"/>
                    </a:cubicBezTo>
                    <a:lnTo>
                      <a:pt x="39243" y="381000"/>
                    </a:lnTo>
                    <a:lnTo>
                      <a:pt x="496634" y="381000"/>
                    </a:lnTo>
                    <a:cubicBezTo>
                      <a:pt x="498538" y="381000"/>
                      <a:pt x="500348" y="380429"/>
                      <a:pt x="501872" y="379381"/>
                    </a:cubicBezTo>
                    <a:cubicBezTo>
                      <a:pt x="506254" y="376428"/>
                      <a:pt x="507397" y="370523"/>
                      <a:pt x="504539" y="366141"/>
                    </a:cubicBezTo>
                    <a:lnTo>
                      <a:pt x="504539" y="366141"/>
                    </a:lnTo>
                    <a:lnTo>
                      <a:pt x="397383" y="204883"/>
                    </a:lnTo>
                    <a:cubicBezTo>
                      <a:pt x="395573" y="202311"/>
                      <a:pt x="393382" y="199930"/>
                      <a:pt x="390811" y="198025"/>
                    </a:cubicBezTo>
                    <a:close/>
                    <a:moveTo>
                      <a:pt x="95250" y="57150"/>
                    </a:moveTo>
                    <a:cubicBezTo>
                      <a:pt x="74200" y="57150"/>
                      <a:pt x="57150" y="74200"/>
                      <a:pt x="57150" y="95250"/>
                    </a:cubicBezTo>
                    <a:cubicBezTo>
                      <a:pt x="57150" y="116300"/>
                      <a:pt x="74200" y="133350"/>
                      <a:pt x="95250" y="133350"/>
                    </a:cubicBezTo>
                    <a:cubicBezTo>
                      <a:pt x="116300" y="133350"/>
                      <a:pt x="133350" y="116300"/>
                      <a:pt x="133350" y="95250"/>
                    </a:cubicBezTo>
                    <a:cubicBezTo>
                      <a:pt x="133350" y="74200"/>
                      <a:pt x="116300" y="57150"/>
                      <a:pt x="95250" y="5715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lIns="91440" tIns="45720" rIns="91440" bIns="45720" anchor="ctr">
                <a:normAutofit fontScale="77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</p:grpSp>
        <p:cxnSp>
          <p:nvCxnSpPr>
            <p:cNvPr id="168" name="îṡlíde">
              <a:extLst>
                <a:ext uri="{FF2B5EF4-FFF2-40B4-BE49-F238E27FC236}">
                  <a16:creationId xmlns:a16="http://schemas.microsoft.com/office/drawing/2014/main" id="{87A62DAE-2A02-455E-8BCC-B3471005AA87}"/>
                </a:ext>
              </a:extLst>
            </p:cNvPr>
            <p:cNvCxnSpPr>
              <a:cxnSpLocks/>
            </p:cNvCxnSpPr>
            <p:nvPr/>
          </p:nvCxnSpPr>
          <p:spPr>
            <a:xfrm>
              <a:off x="3260344" y="2664000"/>
              <a:ext cx="0" cy="3479625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íṡliḑe">
              <a:extLst>
                <a:ext uri="{FF2B5EF4-FFF2-40B4-BE49-F238E27FC236}">
                  <a16:creationId xmlns:a16="http://schemas.microsoft.com/office/drawing/2014/main" id="{84F345D4-1BAA-4F6F-9AEA-504D844B86A1}"/>
                </a:ext>
              </a:extLst>
            </p:cNvPr>
            <p:cNvCxnSpPr>
              <a:cxnSpLocks/>
            </p:cNvCxnSpPr>
            <p:nvPr/>
          </p:nvCxnSpPr>
          <p:spPr>
            <a:xfrm>
              <a:off x="6089651" y="2664000"/>
              <a:ext cx="0" cy="3479625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ïşļîḍé">
              <a:extLst>
                <a:ext uri="{FF2B5EF4-FFF2-40B4-BE49-F238E27FC236}">
                  <a16:creationId xmlns:a16="http://schemas.microsoft.com/office/drawing/2014/main" id="{2A8C50D2-163E-4547-B239-419B2C4CD60C}"/>
                </a:ext>
              </a:extLst>
            </p:cNvPr>
            <p:cNvCxnSpPr>
              <a:cxnSpLocks/>
            </p:cNvCxnSpPr>
            <p:nvPr/>
          </p:nvCxnSpPr>
          <p:spPr>
            <a:xfrm>
              <a:off x="8918959" y="2664000"/>
              <a:ext cx="0" cy="3479625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14920960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şļîd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ṧľîḋê">
            <a:extLst>
              <a:ext uri="{FF2B5EF4-FFF2-40B4-BE49-F238E27FC236}">
                <a16:creationId xmlns:a16="http://schemas.microsoft.com/office/drawing/2014/main" id="{E4D13071-7055-411C-8D8B-1C7262BB07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íSľïḓe">
            <a:extLst>
              <a:ext uri="{FF2B5EF4-FFF2-40B4-BE49-F238E27FC236}">
                <a16:creationId xmlns:a16="http://schemas.microsoft.com/office/drawing/2014/main" id="{CDA535E2-D8FB-4015-9855-4D2A664443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íṥļíḍe">
            <a:extLst>
              <a:ext uri="{FF2B5EF4-FFF2-40B4-BE49-F238E27FC236}">
                <a16:creationId xmlns:a16="http://schemas.microsoft.com/office/drawing/2014/main" id="{5352289F-E2B5-437D-86C5-35429FB73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grpSp>
        <p:nvGrpSpPr>
          <p:cNvPr id="38" name="î$ľiḑè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4154E290-784E-4378-A203-400F70C4C264}"/>
              </a:ext>
            </a:extLst>
          </p:cNvPr>
          <p:cNvGrpSpPr>
            <a:grpSpLocks noChangeAspect="1"/>
          </p:cNvGrpSpPr>
          <p:nvPr/>
        </p:nvGrpSpPr>
        <p:grpSpPr>
          <a:xfrm>
            <a:off x="669925" y="1825076"/>
            <a:ext cx="10848975" cy="3587327"/>
            <a:chOff x="669925" y="1825076"/>
            <a:chExt cx="10848975" cy="3587327"/>
          </a:xfrm>
        </p:grpSpPr>
        <p:grpSp>
          <p:nvGrpSpPr>
            <p:cNvPr id="39" name="îṥľïḓe">
              <a:extLst>
                <a:ext uri="{FF2B5EF4-FFF2-40B4-BE49-F238E27FC236}">
                  <a16:creationId xmlns:a16="http://schemas.microsoft.com/office/drawing/2014/main" id="{A797F3F7-915A-4A41-A2F2-318C5B5778FA}"/>
                </a:ext>
              </a:extLst>
            </p:cNvPr>
            <p:cNvGrpSpPr/>
            <p:nvPr/>
          </p:nvGrpSpPr>
          <p:grpSpPr>
            <a:xfrm>
              <a:off x="1047976" y="1996877"/>
              <a:ext cx="5427623" cy="3415526"/>
              <a:chOff x="1161641" y="1610835"/>
              <a:chExt cx="6502124" cy="4091694"/>
            </a:xfrm>
            <a:solidFill>
              <a:schemeClr val="bg1">
                <a:lumMod val="85000"/>
              </a:schemeClr>
            </a:solidFill>
          </p:grpSpPr>
          <p:sp>
            <p:nvSpPr>
              <p:cNvPr id="69" name="îšlidè">
                <a:extLst>
                  <a:ext uri="{FF2B5EF4-FFF2-40B4-BE49-F238E27FC236}">
                    <a16:creationId xmlns:a16="http://schemas.microsoft.com/office/drawing/2014/main" id="{34B63BD4-0433-4DC1-BF99-A451F4B6B3D2}"/>
                  </a:ext>
                </a:extLst>
              </p:cNvPr>
              <p:cNvSpPr/>
              <p:nvPr/>
            </p:nvSpPr>
            <p:spPr>
              <a:xfrm rot="1582721">
                <a:off x="5618765" y="1610835"/>
                <a:ext cx="2045000" cy="3067492"/>
              </a:xfrm>
              <a:custGeom>
                <a:avLst/>
                <a:gdLst/>
                <a:ahLst/>
                <a:cxnLst/>
                <a:rect l="l" t="t" r="r" b="b"/>
                <a:pathLst>
                  <a:path w="130629" h="195943">
                    <a:moveTo>
                      <a:pt x="65315" y="36739"/>
                    </a:moveTo>
                    <a:cubicBezTo>
                      <a:pt x="69567" y="36739"/>
                      <a:pt x="73798" y="37419"/>
                      <a:pt x="78007" y="38780"/>
                    </a:cubicBezTo>
                    <a:cubicBezTo>
                      <a:pt x="82217" y="40141"/>
                      <a:pt x="85917" y="42437"/>
                      <a:pt x="89106" y="45669"/>
                    </a:cubicBezTo>
                    <a:cubicBezTo>
                      <a:pt x="92295" y="48901"/>
                      <a:pt x="93890" y="52728"/>
                      <a:pt x="93890" y="57150"/>
                    </a:cubicBezTo>
                    <a:cubicBezTo>
                      <a:pt x="93890" y="58255"/>
                      <a:pt x="93486" y="59212"/>
                      <a:pt x="92678" y="60020"/>
                    </a:cubicBezTo>
                    <a:cubicBezTo>
                      <a:pt x="91870" y="60828"/>
                      <a:pt x="90913" y="61232"/>
                      <a:pt x="89807" y="61232"/>
                    </a:cubicBezTo>
                    <a:cubicBezTo>
                      <a:pt x="88702" y="61232"/>
                      <a:pt x="87745" y="60828"/>
                      <a:pt x="86937" y="60020"/>
                    </a:cubicBezTo>
                    <a:cubicBezTo>
                      <a:pt x="86129" y="59212"/>
                      <a:pt x="85725" y="58255"/>
                      <a:pt x="85725" y="57150"/>
                    </a:cubicBezTo>
                    <a:cubicBezTo>
                      <a:pt x="85725" y="53238"/>
                      <a:pt x="83429" y="50219"/>
                      <a:pt x="78837" y="48093"/>
                    </a:cubicBezTo>
                    <a:cubicBezTo>
                      <a:pt x="74244" y="45966"/>
                      <a:pt x="69737" y="44903"/>
                      <a:pt x="65315" y="44903"/>
                    </a:cubicBezTo>
                    <a:cubicBezTo>
                      <a:pt x="64209" y="44903"/>
                      <a:pt x="63252" y="44499"/>
                      <a:pt x="62444" y="43692"/>
                    </a:cubicBezTo>
                    <a:cubicBezTo>
                      <a:pt x="61636" y="42884"/>
                      <a:pt x="61232" y="41927"/>
                      <a:pt x="61232" y="40821"/>
                    </a:cubicBezTo>
                    <a:cubicBezTo>
                      <a:pt x="61232" y="39716"/>
                      <a:pt x="61636" y="38759"/>
                      <a:pt x="62444" y="37951"/>
                    </a:cubicBezTo>
                    <a:cubicBezTo>
                      <a:pt x="63252" y="37143"/>
                      <a:pt x="64209" y="36739"/>
                      <a:pt x="65315" y="36739"/>
                    </a:cubicBezTo>
                    <a:close/>
                    <a:moveTo>
                      <a:pt x="65315" y="16328"/>
                    </a:moveTo>
                    <a:cubicBezTo>
                      <a:pt x="59446" y="16328"/>
                      <a:pt x="53642" y="17285"/>
                      <a:pt x="47902" y="19199"/>
                    </a:cubicBezTo>
                    <a:cubicBezTo>
                      <a:pt x="42161" y="21112"/>
                      <a:pt x="36931" y="23749"/>
                      <a:pt x="32211" y="27108"/>
                    </a:cubicBezTo>
                    <a:cubicBezTo>
                      <a:pt x="27491" y="30467"/>
                      <a:pt x="23664" y="34783"/>
                      <a:pt x="20730" y="40056"/>
                    </a:cubicBezTo>
                    <a:cubicBezTo>
                      <a:pt x="17796" y="45329"/>
                      <a:pt x="16329" y="51027"/>
                      <a:pt x="16329" y="57150"/>
                    </a:cubicBezTo>
                    <a:cubicBezTo>
                      <a:pt x="16329" y="65739"/>
                      <a:pt x="19220" y="73393"/>
                      <a:pt x="25003" y="80112"/>
                    </a:cubicBezTo>
                    <a:cubicBezTo>
                      <a:pt x="25854" y="81047"/>
                      <a:pt x="27151" y="82451"/>
                      <a:pt x="28894" y="84322"/>
                    </a:cubicBezTo>
                    <a:cubicBezTo>
                      <a:pt x="30638" y="86193"/>
                      <a:pt x="31935" y="87596"/>
                      <a:pt x="32785" y="88531"/>
                    </a:cubicBezTo>
                    <a:cubicBezTo>
                      <a:pt x="43671" y="101543"/>
                      <a:pt x="49666" y="114215"/>
                      <a:pt x="50772" y="126546"/>
                    </a:cubicBezTo>
                    <a:lnTo>
                      <a:pt x="79857" y="126546"/>
                    </a:lnTo>
                    <a:cubicBezTo>
                      <a:pt x="80963" y="114215"/>
                      <a:pt x="86958" y="101543"/>
                      <a:pt x="97844" y="88531"/>
                    </a:cubicBezTo>
                    <a:cubicBezTo>
                      <a:pt x="98695" y="87596"/>
                      <a:pt x="99991" y="86193"/>
                      <a:pt x="101735" y="84322"/>
                    </a:cubicBezTo>
                    <a:cubicBezTo>
                      <a:pt x="103478" y="82451"/>
                      <a:pt x="104775" y="81047"/>
                      <a:pt x="105626" y="80112"/>
                    </a:cubicBezTo>
                    <a:cubicBezTo>
                      <a:pt x="111409" y="73393"/>
                      <a:pt x="114300" y="65739"/>
                      <a:pt x="114300" y="57150"/>
                    </a:cubicBezTo>
                    <a:cubicBezTo>
                      <a:pt x="114300" y="51027"/>
                      <a:pt x="112833" y="45329"/>
                      <a:pt x="109899" y="40056"/>
                    </a:cubicBezTo>
                    <a:cubicBezTo>
                      <a:pt x="106965" y="34783"/>
                      <a:pt x="103138" y="30467"/>
                      <a:pt x="98418" y="27108"/>
                    </a:cubicBezTo>
                    <a:cubicBezTo>
                      <a:pt x="93698" y="23749"/>
                      <a:pt x="88468" y="21112"/>
                      <a:pt x="82727" y="19199"/>
                    </a:cubicBezTo>
                    <a:cubicBezTo>
                      <a:pt x="76987" y="17285"/>
                      <a:pt x="71183" y="16328"/>
                      <a:pt x="65315" y="16328"/>
                    </a:cubicBezTo>
                    <a:close/>
                    <a:moveTo>
                      <a:pt x="65315" y="0"/>
                    </a:moveTo>
                    <a:cubicBezTo>
                      <a:pt x="73394" y="0"/>
                      <a:pt x="81324" y="1382"/>
                      <a:pt x="89106" y="4146"/>
                    </a:cubicBezTo>
                    <a:cubicBezTo>
                      <a:pt x="96887" y="6910"/>
                      <a:pt x="103861" y="10694"/>
                      <a:pt x="110027" y="15499"/>
                    </a:cubicBezTo>
                    <a:cubicBezTo>
                      <a:pt x="116192" y="20304"/>
                      <a:pt x="121168" y="26342"/>
                      <a:pt x="124952" y="33614"/>
                    </a:cubicBezTo>
                    <a:cubicBezTo>
                      <a:pt x="128737" y="40885"/>
                      <a:pt x="130629" y="48730"/>
                      <a:pt x="130629" y="57150"/>
                    </a:cubicBezTo>
                    <a:cubicBezTo>
                      <a:pt x="130629" y="70332"/>
                      <a:pt x="126249" y="81728"/>
                      <a:pt x="117489" y="91338"/>
                    </a:cubicBezTo>
                    <a:cubicBezTo>
                      <a:pt x="113662" y="95505"/>
                      <a:pt x="110495" y="99204"/>
                      <a:pt x="107986" y="102436"/>
                    </a:cubicBezTo>
                    <a:cubicBezTo>
                      <a:pt x="105477" y="105668"/>
                      <a:pt x="102947" y="109729"/>
                      <a:pt x="100395" y="114619"/>
                    </a:cubicBezTo>
                    <a:cubicBezTo>
                      <a:pt x="97844" y="119509"/>
                      <a:pt x="96398" y="124080"/>
                      <a:pt x="96058" y="128332"/>
                    </a:cubicBezTo>
                    <a:cubicBezTo>
                      <a:pt x="100055" y="130713"/>
                      <a:pt x="102054" y="134200"/>
                      <a:pt x="102054" y="138793"/>
                    </a:cubicBezTo>
                    <a:cubicBezTo>
                      <a:pt x="102054" y="141939"/>
                      <a:pt x="100991" y="144661"/>
                      <a:pt x="98865" y="146957"/>
                    </a:cubicBezTo>
                    <a:cubicBezTo>
                      <a:pt x="100991" y="149253"/>
                      <a:pt x="102054" y="151975"/>
                      <a:pt x="102054" y="155121"/>
                    </a:cubicBezTo>
                    <a:cubicBezTo>
                      <a:pt x="102054" y="159544"/>
                      <a:pt x="100140" y="162988"/>
                      <a:pt x="96313" y="165454"/>
                    </a:cubicBezTo>
                    <a:cubicBezTo>
                      <a:pt x="97419" y="167410"/>
                      <a:pt x="97972" y="169409"/>
                      <a:pt x="97972" y="171450"/>
                    </a:cubicBezTo>
                    <a:cubicBezTo>
                      <a:pt x="97972" y="175362"/>
                      <a:pt x="96632" y="178381"/>
                      <a:pt x="93953" y="180507"/>
                    </a:cubicBezTo>
                    <a:cubicBezTo>
                      <a:pt x="91274" y="182633"/>
                      <a:pt x="87979" y="183696"/>
                      <a:pt x="84067" y="183696"/>
                    </a:cubicBezTo>
                    <a:cubicBezTo>
                      <a:pt x="82366" y="187438"/>
                      <a:pt x="79815" y="190415"/>
                      <a:pt x="76413" y="192626"/>
                    </a:cubicBezTo>
                    <a:cubicBezTo>
                      <a:pt x="73011" y="194837"/>
                      <a:pt x="69312" y="195943"/>
                      <a:pt x="65315" y="195943"/>
                    </a:cubicBezTo>
                    <a:cubicBezTo>
                      <a:pt x="61317" y="195943"/>
                      <a:pt x="57618" y="194837"/>
                      <a:pt x="54216" y="192626"/>
                    </a:cubicBezTo>
                    <a:cubicBezTo>
                      <a:pt x="50814" y="190415"/>
                      <a:pt x="48263" y="187438"/>
                      <a:pt x="46562" y="183696"/>
                    </a:cubicBezTo>
                    <a:cubicBezTo>
                      <a:pt x="42650" y="183696"/>
                      <a:pt x="39355" y="182633"/>
                      <a:pt x="36676" y="180507"/>
                    </a:cubicBezTo>
                    <a:cubicBezTo>
                      <a:pt x="33997" y="178381"/>
                      <a:pt x="32657" y="175362"/>
                      <a:pt x="32657" y="171450"/>
                    </a:cubicBezTo>
                    <a:cubicBezTo>
                      <a:pt x="32657" y="169409"/>
                      <a:pt x="33210" y="167410"/>
                      <a:pt x="34316" y="165454"/>
                    </a:cubicBezTo>
                    <a:cubicBezTo>
                      <a:pt x="30489" y="162988"/>
                      <a:pt x="28575" y="159544"/>
                      <a:pt x="28575" y="155121"/>
                    </a:cubicBezTo>
                    <a:cubicBezTo>
                      <a:pt x="28575" y="151975"/>
                      <a:pt x="29638" y="149253"/>
                      <a:pt x="31764" y="146957"/>
                    </a:cubicBezTo>
                    <a:cubicBezTo>
                      <a:pt x="29638" y="144661"/>
                      <a:pt x="28575" y="141939"/>
                      <a:pt x="28575" y="138793"/>
                    </a:cubicBezTo>
                    <a:cubicBezTo>
                      <a:pt x="28575" y="134200"/>
                      <a:pt x="30574" y="130713"/>
                      <a:pt x="34571" y="128332"/>
                    </a:cubicBezTo>
                    <a:cubicBezTo>
                      <a:pt x="34231" y="124080"/>
                      <a:pt x="32785" y="119509"/>
                      <a:pt x="30234" y="114619"/>
                    </a:cubicBezTo>
                    <a:cubicBezTo>
                      <a:pt x="27682" y="109729"/>
                      <a:pt x="25152" y="105668"/>
                      <a:pt x="22643" y="102436"/>
                    </a:cubicBezTo>
                    <a:cubicBezTo>
                      <a:pt x="20135" y="99204"/>
                      <a:pt x="16967" y="95505"/>
                      <a:pt x="13140" y="91338"/>
                    </a:cubicBezTo>
                    <a:cubicBezTo>
                      <a:pt x="4380" y="81728"/>
                      <a:pt x="0" y="70332"/>
                      <a:pt x="0" y="57150"/>
                    </a:cubicBezTo>
                    <a:cubicBezTo>
                      <a:pt x="0" y="48730"/>
                      <a:pt x="1892" y="40885"/>
                      <a:pt x="5677" y="33614"/>
                    </a:cubicBezTo>
                    <a:cubicBezTo>
                      <a:pt x="9461" y="26342"/>
                      <a:pt x="14437" y="20304"/>
                      <a:pt x="20602" y="15499"/>
                    </a:cubicBezTo>
                    <a:cubicBezTo>
                      <a:pt x="26768" y="10694"/>
                      <a:pt x="33742" y="6910"/>
                      <a:pt x="41523" y="4146"/>
                    </a:cubicBezTo>
                    <a:cubicBezTo>
                      <a:pt x="49305" y="1382"/>
                      <a:pt x="57235" y="0"/>
                      <a:pt x="65315" y="0"/>
                    </a:cubicBezTo>
                    <a:close/>
                  </a:path>
                </a:pathLst>
              </a:custGeom>
              <a:grpFill/>
              <a:ln w="57150">
                <a:noFill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70" name="ïš1íḓé">
                <a:extLst>
                  <a:ext uri="{FF2B5EF4-FFF2-40B4-BE49-F238E27FC236}">
                    <a16:creationId xmlns:a16="http://schemas.microsoft.com/office/drawing/2014/main" id="{B616B3D8-8DE7-47B4-8BC6-0DD17A416712}"/>
                  </a:ext>
                </a:extLst>
              </p:cNvPr>
              <p:cNvSpPr/>
              <p:nvPr/>
            </p:nvSpPr>
            <p:spPr bwMode="auto">
              <a:xfrm>
                <a:off x="1161641" y="4477423"/>
                <a:ext cx="4886699" cy="1225106"/>
              </a:xfrm>
              <a:custGeom>
                <a:avLst/>
                <a:gdLst>
                  <a:gd name="T0" fmla="*/ 229 w 695"/>
                  <a:gd name="T1" fmla="*/ 157 h 174"/>
                  <a:gd name="T2" fmla="*/ 338 w 695"/>
                  <a:gd name="T3" fmla="*/ 173 h 174"/>
                  <a:gd name="T4" fmla="*/ 395 w 695"/>
                  <a:gd name="T5" fmla="*/ 157 h 174"/>
                  <a:gd name="T6" fmla="*/ 273 w 695"/>
                  <a:gd name="T7" fmla="*/ 86 h 174"/>
                  <a:gd name="T8" fmla="*/ 273 w 695"/>
                  <a:gd name="T9" fmla="*/ 72 h 174"/>
                  <a:gd name="T10" fmla="*/ 355 w 695"/>
                  <a:gd name="T11" fmla="*/ 82 h 174"/>
                  <a:gd name="T12" fmla="*/ 493 w 695"/>
                  <a:gd name="T13" fmla="*/ 99 h 174"/>
                  <a:gd name="T14" fmla="*/ 563 w 695"/>
                  <a:gd name="T15" fmla="*/ 86 h 174"/>
                  <a:gd name="T16" fmla="*/ 534 w 695"/>
                  <a:gd name="T17" fmla="*/ 47 h 174"/>
                  <a:gd name="T18" fmla="*/ 569 w 695"/>
                  <a:gd name="T19" fmla="*/ 32 h 174"/>
                  <a:gd name="T20" fmla="*/ 656 w 695"/>
                  <a:gd name="T21" fmla="*/ 39 h 174"/>
                  <a:gd name="T22" fmla="*/ 653 w 695"/>
                  <a:gd name="T23" fmla="*/ 8 h 174"/>
                  <a:gd name="T24" fmla="*/ 656 w 695"/>
                  <a:gd name="T25" fmla="*/ 4 h 174"/>
                  <a:gd name="T26" fmla="*/ 677 w 695"/>
                  <a:gd name="T27" fmla="*/ 3 h 174"/>
                  <a:gd name="T28" fmla="*/ 689 w 695"/>
                  <a:gd name="T29" fmla="*/ 2 h 174"/>
                  <a:gd name="T30" fmla="*/ 656 w 695"/>
                  <a:gd name="T31" fmla="*/ 1 h 174"/>
                  <a:gd name="T32" fmla="*/ 645 w 695"/>
                  <a:gd name="T33" fmla="*/ 8 h 174"/>
                  <a:gd name="T34" fmla="*/ 652 w 695"/>
                  <a:gd name="T35" fmla="*/ 28 h 174"/>
                  <a:gd name="T36" fmla="*/ 633 w 695"/>
                  <a:gd name="T37" fmla="*/ 32 h 174"/>
                  <a:gd name="T38" fmla="*/ 631 w 695"/>
                  <a:gd name="T39" fmla="*/ 31 h 174"/>
                  <a:gd name="T40" fmla="*/ 623 w 695"/>
                  <a:gd name="T41" fmla="*/ 29 h 174"/>
                  <a:gd name="T42" fmla="*/ 588 w 695"/>
                  <a:gd name="T43" fmla="*/ 27 h 174"/>
                  <a:gd name="T44" fmla="*/ 573 w 695"/>
                  <a:gd name="T45" fmla="*/ 24 h 174"/>
                  <a:gd name="T46" fmla="*/ 562 w 695"/>
                  <a:gd name="T47" fmla="*/ 22 h 174"/>
                  <a:gd name="T48" fmla="*/ 532 w 695"/>
                  <a:gd name="T49" fmla="*/ 21 h 174"/>
                  <a:gd name="T50" fmla="*/ 498 w 695"/>
                  <a:gd name="T51" fmla="*/ 36 h 174"/>
                  <a:gd name="T52" fmla="*/ 500 w 695"/>
                  <a:gd name="T53" fmla="*/ 43 h 174"/>
                  <a:gd name="T54" fmla="*/ 516 w 695"/>
                  <a:gd name="T55" fmla="*/ 47 h 174"/>
                  <a:gd name="T56" fmla="*/ 509 w 695"/>
                  <a:gd name="T57" fmla="*/ 51 h 174"/>
                  <a:gd name="T58" fmla="*/ 529 w 695"/>
                  <a:gd name="T59" fmla="*/ 74 h 174"/>
                  <a:gd name="T60" fmla="*/ 535 w 695"/>
                  <a:gd name="T61" fmla="*/ 83 h 174"/>
                  <a:gd name="T62" fmla="*/ 515 w 695"/>
                  <a:gd name="T63" fmla="*/ 91 h 174"/>
                  <a:gd name="T64" fmla="*/ 466 w 695"/>
                  <a:gd name="T65" fmla="*/ 86 h 174"/>
                  <a:gd name="T66" fmla="*/ 444 w 695"/>
                  <a:gd name="T67" fmla="*/ 84 h 174"/>
                  <a:gd name="T68" fmla="*/ 435 w 695"/>
                  <a:gd name="T69" fmla="*/ 82 h 174"/>
                  <a:gd name="T70" fmla="*/ 418 w 695"/>
                  <a:gd name="T71" fmla="*/ 82 h 174"/>
                  <a:gd name="T72" fmla="*/ 383 w 695"/>
                  <a:gd name="T73" fmla="*/ 77 h 174"/>
                  <a:gd name="T74" fmla="*/ 346 w 695"/>
                  <a:gd name="T75" fmla="*/ 71 h 174"/>
                  <a:gd name="T76" fmla="*/ 307 w 695"/>
                  <a:gd name="T77" fmla="*/ 68 h 174"/>
                  <a:gd name="T78" fmla="*/ 240 w 695"/>
                  <a:gd name="T79" fmla="*/ 69 h 174"/>
                  <a:gd name="T80" fmla="*/ 241 w 695"/>
                  <a:gd name="T81" fmla="*/ 78 h 174"/>
                  <a:gd name="T82" fmla="*/ 247 w 695"/>
                  <a:gd name="T83" fmla="*/ 84 h 174"/>
                  <a:gd name="T84" fmla="*/ 245 w 695"/>
                  <a:gd name="T85" fmla="*/ 86 h 174"/>
                  <a:gd name="T86" fmla="*/ 269 w 695"/>
                  <a:gd name="T87" fmla="*/ 98 h 174"/>
                  <a:gd name="T88" fmla="*/ 293 w 695"/>
                  <a:gd name="T89" fmla="*/ 111 h 174"/>
                  <a:gd name="T90" fmla="*/ 308 w 695"/>
                  <a:gd name="T91" fmla="*/ 118 h 174"/>
                  <a:gd name="T92" fmla="*/ 332 w 695"/>
                  <a:gd name="T93" fmla="*/ 128 h 174"/>
                  <a:gd name="T94" fmla="*/ 352 w 695"/>
                  <a:gd name="T95" fmla="*/ 144 h 174"/>
                  <a:gd name="T96" fmla="*/ 371 w 695"/>
                  <a:gd name="T97" fmla="*/ 156 h 174"/>
                  <a:gd name="T98" fmla="*/ 370 w 695"/>
                  <a:gd name="T99" fmla="*/ 167 h 174"/>
                  <a:gd name="T100" fmla="*/ 281 w 695"/>
                  <a:gd name="T101" fmla="*/ 157 h 174"/>
                  <a:gd name="T102" fmla="*/ 249 w 695"/>
                  <a:gd name="T103" fmla="*/ 152 h 174"/>
                  <a:gd name="T104" fmla="*/ 160 w 695"/>
                  <a:gd name="T105" fmla="*/ 140 h 174"/>
                  <a:gd name="T106" fmla="*/ 79 w 695"/>
                  <a:gd name="T107" fmla="*/ 123 h 174"/>
                  <a:gd name="T108" fmla="*/ 656 w 695"/>
                  <a:gd name="T109" fmla="*/ 33 h 174"/>
                  <a:gd name="T110" fmla="*/ 648 w 695"/>
                  <a:gd name="T111" fmla="*/ 5 h 174"/>
                  <a:gd name="T112" fmla="*/ 655 w 695"/>
                  <a:gd name="T113" fmla="*/ 33 h 174"/>
                  <a:gd name="T114" fmla="*/ 648 w 695"/>
                  <a:gd name="T115" fmla="*/ 37 h 174"/>
                  <a:gd name="T116" fmla="*/ 535 w 695"/>
                  <a:gd name="T117" fmla="*/ 92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95" h="174">
                    <a:moveTo>
                      <a:pt x="78" y="130"/>
                    </a:moveTo>
                    <a:cubicBezTo>
                      <a:pt x="88" y="132"/>
                      <a:pt x="101" y="134"/>
                      <a:pt x="109" y="136"/>
                    </a:cubicBezTo>
                    <a:cubicBezTo>
                      <a:pt x="147" y="143"/>
                      <a:pt x="179" y="151"/>
                      <a:pt x="220" y="157"/>
                    </a:cubicBezTo>
                    <a:cubicBezTo>
                      <a:pt x="219" y="157"/>
                      <a:pt x="222" y="157"/>
                      <a:pt x="225" y="157"/>
                    </a:cubicBezTo>
                    <a:cubicBezTo>
                      <a:pt x="224" y="157"/>
                      <a:pt x="224" y="157"/>
                      <a:pt x="224" y="157"/>
                    </a:cubicBezTo>
                    <a:cubicBezTo>
                      <a:pt x="229" y="157"/>
                      <a:pt x="229" y="157"/>
                      <a:pt x="229" y="157"/>
                    </a:cubicBezTo>
                    <a:cubicBezTo>
                      <a:pt x="232" y="157"/>
                      <a:pt x="229" y="158"/>
                      <a:pt x="226" y="158"/>
                    </a:cubicBezTo>
                    <a:cubicBezTo>
                      <a:pt x="242" y="160"/>
                      <a:pt x="257" y="162"/>
                      <a:pt x="272" y="165"/>
                    </a:cubicBezTo>
                    <a:cubicBezTo>
                      <a:pt x="275" y="164"/>
                      <a:pt x="280" y="166"/>
                      <a:pt x="283" y="165"/>
                    </a:cubicBezTo>
                    <a:cubicBezTo>
                      <a:pt x="283" y="166"/>
                      <a:pt x="283" y="166"/>
                      <a:pt x="282" y="166"/>
                    </a:cubicBezTo>
                    <a:cubicBezTo>
                      <a:pt x="294" y="167"/>
                      <a:pt x="295" y="167"/>
                      <a:pt x="303" y="169"/>
                    </a:cubicBezTo>
                    <a:cubicBezTo>
                      <a:pt x="314" y="171"/>
                      <a:pt x="325" y="172"/>
                      <a:pt x="338" y="173"/>
                    </a:cubicBezTo>
                    <a:cubicBezTo>
                      <a:pt x="346" y="174"/>
                      <a:pt x="351" y="174"/>
                      <a:pt x="366" y="173"/>
                    </a:cubicBezTo>
                    <a:cubicBezTo>
                      <a:pt x="367" y="173"/>
                      <a:pt x="372" y="173"/>
                      <a:pt x="375" y="172"/>
                    </a:cubicBezTo>
                    <a:cubicBezTo>
                      <a:pt x="379" y="171"/>
                      <a:pt x="379" y="171"/>
                      <a:pt x="379" y="171"/>
                    </a:cubicBezTo>
                    <a:cubicBezTo>
                      <a:pt x="396" y="166"/>
                      <a:pt x="387" y="169"/>
                      <a:pt x="391" y="167"/>
                    </a:cubicBezTo>
                    <a:cubicBezTo>
                      <a:pt x="398" y="163"/>
                      <a:pt x="396" y="163"/>
                      <a:pt x="397" y="161"/>
                    </a:cubicBezTo>
                    <a:cubicBezTo>
                      <a:pt x="397" y="160"/>
                      <a:pt x="396" y="158"/>
                      <a:pt x="395" y="157"/>
                    </a:cubicBezTo>
                    <a:cubicBezTo>
                      <a:pt x="389" y="149"/>
                      <a:pt x="378" y="143"/>
                      <a:pt x="368" y="136"/>
                    </a:cubicBezTo>
                    <a:cubicBezTo>
                      <a:pt x="347" y="123"/>
                      <a:pt x="322" y="111"/>
                      <a:pt x="300" y="97"/>
                    </a:cubicBezTo>
                    <a:cubicBezTo>
                      <a:pt x="292" y="96"/>
                      <a:pt x="289" y="93"/>
                      <a:pt x="282" y="92"/>
                    </a:cubicBezTo>
                    <a:cubicBezTo>
                      <a:pt x="283" y="91"/>
                      <a:pt x="283" y="91"/>
                      <a:pt x="283" y="91"/>
                    </a:cubicBezTo>
                    <a:cubicBezTo>
                      <a:pt x="278" y="90"/>
                      <a:pt x="279" y="89"/>
                      <a:pt x="277" y="86"/>
                    </a:cubicBezTo>
                    <a:cubicBezTo>
                      <a:pt x="276" y="86"/>
                      <a:pt x="275" y="85"/>
                      <a:pt x="273" y="86"/>
                    </a:cubicBezTo>
                    <a:cubicBezTo>
                      <a:pt x="270" y="85"/>
                      <a:pt x="274" y="83"/>
                      <a:pt x="271" y="82"/>
                    </a:cubicBezTo>
                    <a:cubicBezTo>
                      <a:pt x="272" y="82"/>
                      <a:pt x="270" y="83"/>
                      <a:pt x="270" y="82"/>
                    </a:cubicBezTo>
                    <a:cubicBezTo>
                      <a:pt x="262" y="79"/>
                      <a:pt x="272" y="82"/>
                      <a:pt x="269" y="77"/>
                    </a:cubicBezTo>
                    <a:cubicBezTo>
                      <a:pt x="267" y="76"/>
                      <a:pt x="264" y="74"/>
                      <a:pt x="262" y="72"/>
                    </a:cubicBezTo>
                    <a:cubicBezTo>
                      <a:pt x="265" y="72"/>
                      <a:pt x="269" y="72"/>
                      <a:pt x="272" y="73"/>
                    </a:cubicBezTo>
                    <a:cubicBezTo>
                      <a:pt x="270" y="73"/>
                      <a:pt x="271" y="72"/>
                      <a:pt x="273" y="72"/>
                    </a:cubicBezTo>
                    <a:cubicBezTo>
                      <a:pt x="273" y="74"/>
                      <a:pt x="281" y="72"/>
                      <a:pt x="284" y="73"/>
                    </a:cubicBezTo>
                    <a:cubicBezTo>
                      <a:pt x="283" y="73"/>
                      <a:pt x="281" y="73"/>
                      <a:pt x="280" y="73"/>
                    </a:cubicBezTo>
                    <a:cubicBezTo>
                      <a:pt x="288" y="75"/>
                      <a:pt x="297" y="75"/>
                      <a:pt x="304" y="76"/>
                    </a:cubicBezTo>
                    <a:cubicBezTo>
                      <a:pt x="314" y="76"/>
                      <a:pt x="320" y="79"/>
                      <a:pt x="327" y="78"/>
                    </a:cubicBezTo>
                    <a:cubicBezTo>
                      <a:pt x="325" y="79"/>
                      <a:pt x="330" y="79"/>
                      <a:pt x="331" y="80"/>
                    </a:cubicBezTo>
                    <a:cubicBezTo>
                      <a:pt x="341" y="79"/>
                      <a:pt x="345" y="82"/>
                      <a:pt x="355" y="82"/>
                    </a:cubicBezTo>
                    <a:cubicBezTo>
                      <a:pt x="354" y="82"/>
                      <a:pt x="354" y="82"/>
                      <a:pt x="354" y="82"/>
                    </a:cubicBezTo>
                    <a:cubicBezTo>
                      <a:pt x="376" y="85"/>
                      <a:pt x="398" y="88"/>
                      <a:pt x="422" y="90"/>
                    </a:cubicBezTo>
                    <a:cubicBezTo>
                      <a:pt x="436" y="92"/>
                      <a:pt x="446" y="95"/>
                      <a:pt x="463" y="96"/>
                    </a:cubicBezTo>
                    <a:cubicBezTo>
                      <a:pt x="466" y="96"/>
                      <a:pt x="464" y="96"/>
                      <a:pt x="467" y="96"/>
                    </a:cubicBezTo>
                    <a:cubicBezTo>
                      <a:pt x="470" y="96"/>
                      <a:pt x="466" y="96"/>
                      <a:pt x="467" y="96"/>
                    </a:cubicBezTo>
                    <a:cubicBezTo>
                      <a:pt x="475" y="97"/>
                      <a:pt x="483" y="98"/>
                      <a:pt x="493" y="99"/>
                    </a:cubicBezTo>
                    <a:cubicBezTo>
                      <a:pt x="494" y="99"/>
                      <a:pt x="497" y="99"/>
                      <a:pt x="497" y="99"/>
                    </a:cubicBezTo>
                    <a:cubicBezTo>
                      <a:pt x="501" y="100"/>
                      <a:pt x="508" y="100"/>
                      <a:pt x="516" y="100"/>
                    </a:cubicBezTo>
                    <a:cubicBezTo>
                      <a:pt x="520" y="100"/>
                      <a:pt x="524" y="100"/>
                      <a:pt x="530" y="100"/>
                    </a:cubicBezTo>
                    <a:cubicBezTo>
                      <a:pt x="534" y="101"/>
                      <a:pt x="558" y="94"/>
                      <a:pt x="557" y="93"/>
                    </a:cubicBezTo>
                    <a:cubicBezTo>
                      <a:pt x="549" y="96"/>
                      <a:pt x="562" y="89"/>
                      <a:pt x="560" y="87"/>
                    </a:cubicBezTo>
                    <a:cubicBezTo>
                      <a:pt x="561" y="86"/>
                      <a:pt x="562" y="86"/>
                      <a:pt x="563" y="86"/>
                    </a:cubicBezTo>
                    <a:cubicBezTo>
                      <a:pt x="564" y="83"/>
                      <a:pt x="563" y="81"/>
                      <a:pt x="563" y="77"/>
                    </a:cubicBezTo>
                    <a:cubicBezTo>
                      <a:pt x="562" y="76"/>
                      <a:pt x="559" y="76"/>
                      <a:pt x="559" y="74"/>
                    </a:cubicBezTo>
                    <a:cubicBezTo>
                      <a:pt x="561" y="72"/>
                      <a:pt x="557" y="70"/>
                      <a:pt x="557" y="68"/>
                    </a:cubicBezTo>
                    <a:cubicBezTo>
                      <a:pt x="554" y="69"/>
                      <a:pt x="551" y="68"/>
                      <a:pt x="550" y="66"/>
                    </a:cubicBezTo>
                    <a:cubicBezTo>
                      <a:pt x="554" y="65"/>
                      <a:pt x="554" y="65"/>
                      <a:pt x="554" y="65"/>
                    </a:cubicBezTo>
                    <a:cubicBezTo>
                      <a:pt x="548" y="61"/>
                      <a:pt x="545" y="52"/>
                      <a:pt x="534" y="47"/>
                    </a:cubicBezTo>
                    <a:cubicBezTo>
                      <a:pt x="536" y="46"/>
                      <a:pt x="536" y="46"/>
                      <a:pt x="536" y="46"/>
                    </a:cubicBezTo>
                    <a:cubicBezTo>
                      <a:pt x="528" y="41"/>
                      <a:pt x="524" y="34"/>
                      <a:pt x="521" y="29"/>
                    </a:cubicBezTo>
                    <a:cubicBezTo>
                      <a:pt x="521" y="29"/>
                      <a:pt x="520" y="30"/>
                      <a:pt x="527" y="30"/>
                    </a:cubicBezTo>
                    <a:cubicBezTo>
                      <a:pt x="534" y="29"/>
                      <a:pt x="537" y="29"/>
                      <a:pt x="543" y="29"/>
                    </a:cubicBezTo>
                    <a:cubicBezTo>
                      <a:pt x="546" y="29"/>
                      <a:pt x="546" y="30"/>
                      <a:pt x="547" y="30"/>
                    </a:cubicBezTo>
                    <a:cubicBezTo>
                      <a:pt x="555" y="31"/>
                      <a:pt x="560" y="33"/>
                      <a:pt x="569" y="32"/>
                    </a:cubicBezTo>
                    <a:cubicBezTo>
                      <a:pt x="568" y="33"/>
                      <a:pt x="568" y="33"/>
                      <a:pt x="568" y="33"/>
                    </a:cubicBezTo>
                    <a:cubicBezTo>
                      <a:pt x="575" y="33"/>
                      <a:pt x="586" y="34"/>
                      <a:pt x="592" y="35"/>
                    </a:cubicBezTo>
                    <a:cubicBezTo>
                      <a:pt x="595" y="35"/>
                      <a:pt x="603" y="36"/>
                      <a:pt x="601" y="35"/>
                    </a:cubicBezTo>
                    <a:cubicBezTo>
                      <a:pt x="604" y="35"/>
                      <a:pt x="600" y="36"/>
                      <a:pt x="605" y="36"/>
                    </a:cubicBezTo>
                    <a:cubicBezTo>
                      <a:pt x="600" y="36"/>
                      <a:pt x="600" y="36"/>
                      <a:pt x="600" y="36"/>
                    </a:cubicBezTo>
                    <a:cubicBezTo>
                      <a:pt x="618" y="38"/>
                      <a:pt x="625" y="42"/>
                      <a:pt x="656" y="39"/>
                    </a:cubicBezTo>
                    <a:cubicBezTo>
                      <a:pt x="672" y="35"/>
                      <a:pt x="667" y="30"/>
                      <a:pt x="667" y="26"/>
                    </a:cubicBezTo>
                    <a:cubicBezTo>
                      <a:pt x="665" y="25"/>
                      <a:pt x="664" y="21"/>
                      <a:pt x="659" y="21"/>
                    </a:cubicBezTo>
                    <a:cubicBezTo>
                      <a:pt x="661" y="20"/>
                      <a:pt x="661" y="20"/>
                      <a:pt x="661" y="20"/>
                    </a:cubicBezTo>
                    <a:cubicBezTo>
                      <a:pt x="659" y="18"/>
                      <a:pt x="657" y="14"/>
                      <a:pt x="655" y="11"/>
                    </a:cubicBezTo>
                    <a:cubicBezTo>
                      <a:pt x="655" y="9"/>
                      <a:pt x="653" y="10"/>
                      <a:pt x="651" y="8"/>
                    </a:cubicBezTo>
                    <a:cubicBezTo>
                      <a:pt x="653" y="8"/>
                      <a:pt x="653" y="8"/>
                      <a:pt x="653" y="8"/>
                    </a:cubicBezTo>
                    <a:cubicBezTo>
                      <a:pt x="651" y="6"/>
                      <a:pt x="649" y="6"/>
                      <a:pt x="647" y="6"/>
                    </a:cubicBezTo>
                    <a:cubicBezTo>
                      <a:pt x="648" y="5"/>
                      <a:pt x="648" y="5"/>
                      <a:pt x="648" y="5"/>
                    </a:cubicBezTo>
                    <a:cubicBezTo>
                      <a:pt x="649" y="5"/>
                      <a:pt x="650" y="4"/>
                      <a:pt x="651" y="4"/>
                    </a:cubicBezTo>
                    <a:cubicBezTo>
                      <a:pt x="652" y="5"/>
                      <a:pt x="653" y="5"/>
                      <a:pt x="654" y="5"/>
                    </a:cubicBezTo>
                    <a:cubicBezTo>
                      <a:pt x="653" y="5"/>
                      <a:pt x="654" y="5"/>
                      <a:pt x="654" y="4"/>
                    </a:cubicBezTo>
                    <a:cubicBezTo>
                      <a:pt x="655" y="4"/>
                      <a:pt x="655" y="4"/>
                      <a:pt x="656" y="4"/>
                    </a:cubicBezTo>
                    <a:cubicBezTo>
                      <a:pt x="662" y="4"/>
                      <a:pt x="666" y="4"/>
                      <a:pt x="668" y="3"/>
                    </a:cubicBezTo>
                    <a:cubicBezTo>
                      <a:pt x="666" y="4"/>
                      <a:pt x="671" y="4"/>
                      <a:pt x="667" y="4"/>
                    </a:cubicBezTo>
                    <a:cubicBezTo>
                      <a:pt x="671" y="4"/>
                      <a:pt x="674" y="4"/>
                      <a:pt x="677" y="4"/>
                    </a:cubicBezTo>
                    <a:cubicBezTo>
                      <a:pt x="676" y="4"/>
                      <a:pt x="675" y="4"/>
                      <a:pt x="674" y="4"/>
                    </a:cubicBezTo>
                    <a:cubicBezTo>
                      <a:pt x="678" y="3"/>
                      <a:pt x="682" y="3"/>
                      <a:pt x="682" y="3"/>
                    </a:cubicBezTo>
                    <a:cubicBezTo>
                      <a:pt x="680" y="3"/>
                      <a:pt x="679" y="3"/>
                      <a:pt x="677" y="3"/>
                    </a:cubicBezTo>
                    <a:cubicBezTo>
                      <a:pt x="679" y="2"/>
                      <a:pt x="687" y="2"/>
                      <a:pt x="687" y="3"/>
                    </a:cubicBezTo>
                    <a:cubicBezTo>
                      <a:pt x="687" y="4"/>
                      <a:pt x="681" y="4"/>
                      <a:pt x="683" y="4"/>
                    </a:cubicBezTo>
                    <a:cubicBezTo>
                      <a:pt x="695" y="4"/>
                      <a:pt x="695" y="4"/>
                      <a:pt x="695" y="4"/>
                    </a:cubicBezTo>
                    <a:cubicBezTo>
                      <a:pt x="692" y="4"/>
                      <a:pt x="691" y="3"/>
                      <a:pt x="693" y="3"/>
                    </a:cubicBezTo>
                    <a:cubicBezTo>
                      <a:pt x="688" y="3"/>
                      <a:pt x="688" y="3"/>
                      <a:pt x="688" y="3"/>
                    </a:cubicBezTo>
                    <a:cubicBezTo>
                      <a:pt x="689" y="2"/>
                      <a:pt x="689" y="2"/>
                      <a:pt x="689" y="2"/>
                    </a:cubicBezTo>
                    <a:cubicBezTo>
                      <a:pt x="682" y="2"/>
                      <a:pt x="677" y="1"/>
                      <a:pt x="668" y="1"/>
                    </a:cubicBezTo>
                    <a:cubicBezTo>
                      <a:pt x="670" y="2"/>
                      <a:pt x="670" y="2"/>
                      <a:pt x="670" y="2"/>
                    </a:cubicBezTo>
                    <a:cubicBezTo>
                      <a:pt x="665" y="2"/>
                      <a:pt x="659" y="3"/>
                      <a:pt x="655" y="3"/>
                    </a:cubicBezTo>
                    <a:cubicBezTo>
                      <a:pt x="658" y="2"/>
                      <a:pt x="656" y="2"/>
                      <a:pt x="657" y="2"/>
                    </a:cubicBezTo>
                    <a:cubicBezTo>
                      <a:pt x="655" y="2"/>
                      <a:pt x="654" y="2"/>
                      <a:pt x="652" y="2"/>
                    </a:cubicBezTo>
                    <a:cubicBezTo>
                      <a:pt x="656" y="1"/>
                      <a:pt x="656" y="1"/>
                      <a:pt x="656" y="1"/>
                    </a:cubicBezTo>
                    <a:cubicBezTo>
                      <a:pt x="655" y="1"/>
                      <a:pt x="654" y="2"/>
                      <a:pt x="652" y="2"/>
                    </a:cubicBezTo>
                    <a:cubicBezTo>
                      <a:pt x="649" y="3"/>
                      <a:pt x="655" y="0"/>
                      <a:pt x="645" y="4"/>
                    </a:cubicBezTo>
                    <a:cubicBezTo>
                      <a:pt x="644" y="4"/>
                      <a:pt x="644" y="4"/>
                      <a:pt x="644" y="4"/>
                    </a:cubicBezTo>
                    <a:cubicBezTo>
                      <a:pt x="644" y="6"/>
                      <a:pt x="643" y="7"/>
                      <a:pt x="643" y="7"/>
                    </a:cubicBezTo>
                    <a:cubicBezTo>
                      <a:pt x="643" y="7"/>
                      <a:pt x="643" y="7"/>
                      <a:pt x="643" y="7"/>
                    </a:cubicBezTo>
                    <a:cubicBezTo>
                      <a:pt x="641" y="10"/>
                      <a:pt x="645" y="6"/>
                      <a:pt x="645" y="8"/>
                    </a:cubicBezTo>
                    <a:cubicBezTo>
                      <a:pt x="644" y="9"/>
                      <a:pt x="641" y="9"/>
                      <a:pt x="640" y="11"/>
                    </a:cubicBezTo>
                    <a:cubicBezTo>
                      <a:pt x="640" y="13"/>
                      <a:pt x="645" y="16"/>
                      <a:pt x="644" y="19"/>
                    </a:cubicBezTo>
                    <a:cubicBezTo>
                      <a:pt x="647" y="21"/>
                      <a:pt x="650" y="23"/>
                      <a:pt x="653" y="24"/>
                    </a:cubicBezTo>
                    <a:cubicBezTo>
                      <a:pt x="654" y="25"/>
                      <a:pt x="649" y="25"/>
                      <a:pt x="652" y="26"/>
                    </a:cubicBezTo>
                    <a:cubicBezTo>
                      <a:pt x="650" y="26"/>
                      <a:pt x="649" y="26"/>
                      <a:pt x="648" y="27"/>
                    </a:cubicBezTo>
                    <a:cubicBezTo>
                      <a:pt x="650" y="27"/>
                      <a:pt x="650" y="30"/>
                      <a:pt x="652" y="28"/>
                    </a:cubicBezTo>
                    <a:cubicBezTo>
                      <a:pt x="653" y="30"/>
                      <a:pt x="654" y="32"/>
                      <a:pt x="653" y="33"/>
                    </a:cubicBezTo>
                    <a:cubicBezTo>
                      <a:pt x="652" y="33"/>
                      <a:pt x="650" y="33"/>
                      <a:pt x="649" y="33"/>
                    </a:cubicBezTo>
                    <a:cubicBezTo>
                      <a:pt x="648" y="34"/>
                      <a:pt x="650" y="34"/>
                      <a:pt x="646" y="34"/>
                    </a:cubicBezTo>
                    <a:cubicBezTo>
                      <a:pt x="638" y="35"/>
                      <a:pt x="640" y="33"/>
                      <a:pt x="639" y="32"/>
                    </a:cubicBezTo>
                    <a:cubicBezTo>
                      <a:pt x="643" y="32"/>
                      <a:pt x="643" y="32"/>
                      <a:pt x="643" y="32"/>
                    </a:cubicBezTo>
                    <a:cubicBezTo>
                      <a:pt x="640" y="32"/>
                      <a:pt x="637" y="32"/>
                      <a:pt x="633" y="32"/>
                    </a:cubicBezTo>
                    <a:cubicBezTo>
                      <a:pt x="635" y="30"/>
                      <a:pt x="640" y="32"/>
                      <a:pt x="643" y="32"/>
                    </a:cubicBezTo>
                    <a:cubicBezTo>
                      <a:pt x="642" y="30"/>
                      <a:pt x="642" y="30"/>
                      <a:pt x="642" y="30"/>
                    </a:cubicBezTo>
                    <a:cubicBezTo>
                      <a:pt x="636" y="29"/>
                      <a:pt x="638" y="31"/>
                      <a:pt x="632" y="30"/>
                    </a:cubicBezTo>
                    <a:cubicBezTo>
                      <a:pt x="634" y="30"/>
                      <a:pt x="634" y="30"/>
                      <a:pt x="634" y="30"/>
                    </a:cubicBezTo>
                    <a:cubicBezTo>
                      <a:pt x="629" y="29"/>
                      <a:pt x="629" y="29"/>
                      <a:pt x="629" y="29"/>
                    </a:cubicBezTo>
                    <a:cubicBezTo>
                      <a:pt x="628" y="30"/>
                      <a:pt x="627" y="31"/>
                      <a:pt x="631" y="31"/>
                    </a:cubicBezTo>
                    <a:cubicBezTo>
                      <a:pt x="626" y="32"/>
                      <a:pt x="627" y="31"/>
                      <a:pt x="621" y="30"/>
                    </a:cubicBezTo>
                    <a:cubicBezTo>
                      <a:pt x="618" y="31"/>
                      <a:pt x="624" y="31"/>
                      <a:pt x="622" y="31"/>
                    </a:cubicBezTo>
                    <a:cubicBezTo>
                      <a:pt x="621" y="32"/>
                      <a:pt x="617" y="32"/>
                      <a:pt x="614" y="31"/>
                    </a:cubicBezTo>
                    <a:cubicBezTo>
                      <a:pt x="609" y="31"/>
                      <a:pt x="614" y="30"/>
                      <a:pt x="613" y="30"/>
                    </a:cubicBezTo>
                    <a:cubicBezTo>
                      <a:pt x="614" y="30"/>
                      <a:pt x="618" y="30"/>
                      <a:pt x="616" y="30"/>
                    </a:cubicBezTo>
                    <a:cubicBezTo>
                      <a:pt x="624" y="30"/>
                      <a:pt x="618" y="29"/>
                      <a:pt x="623" y="29"/>
                    </a:cubicBezTo>
                    <a:cubicBezTo>
                      <a:pt x="619" y="27"/>
                      <a:pt x="617" y="28"/>
                      <a:pt x="615" y="28"/>
                    </a:cubicBezTo>
                    <a:cubicBezTo>
                      <a:pt x="616" y="29"/>
                      <a:pt x="612" y="29"/>
                      <a:pt x="613" y="29"/>
                    </a:cubicBezTo>
                    <a:cubicBezTo>
                      <a:pt x="600" y="30"/>
                      <a:pt x="611" y="27"/>
                      <a:pt x="603" y="27"/>
                    </a:cubicBezTo>
                    <a:cubicBezTo>
                      <a:pt x="602" y="28"/>
                      <a:pt x="589" y="27"/>
                      <a:pt x="591" y="29"/>
                    </a:cubicBezTo>
                    <a:cubicBezTo>
                      <a:pt x="589" y="29"/>
                      <a:pt x="586" y="29"/>
                      <a:pt x="585" y="29"/>
                    </a:cubicBezTo>
                    <a:cubicBezTo>
                      <a:pt x="589" y="28"/>
                      <a:pt x="583" y="28"/>
                      <a:pt x="588" y="27"/>
                    </a:cubicBezTo>
                    <a:cubicBezTo>
                      <a:pt x="586" y="27"/>
                      <a:pt x="586" y="27"/>
                      <a:pt x="586" y="27"/>
                    </a:cubicBezTo>
                    <a:cubicBezTo>
                      <a:pt x="592" y="27"/>
                      <a:pt x="592" y="27"/>
                      <a:pt x="592" y="27"/>
                    </a:cubicBezTo>
                    <a:cubicBezTo>
                      <a:pt x="590" y="26"/>
                      <a:pt x="587" y="24"/>
                      <a:pt x="586" y="24"/>
                    </a:cubicBezTo>
                    <a:cubicBezTo>
                      <a:pt x="581" y="24"/>
                      <a:pt x="586" y="25"/>
                      <a:pt x="580" y="24"/>
                    </a:cubicBezTo>
                    <a:cubicBezTo>
                      <a:pt x="583" y="24"/>
                      <a:pt x="581" y="23"/>
                      <a:pt x="579" y="23"/>
                    </a:cubicBezTo>
                    <a:cubicBezTo>
                      <a:pt x="582" y="24"/>
                      <a:pt x="576" y="24"/>
                      <a:pt x="573" y="24"/>
                    </a:cubicBezTo>
                    <a:cubicBezTo>
                      <a:pt x="569" y="24"/>
                      <a:pt x="567" y="23"/>
                      <a:pt x="568" y="23"/>
                    </a:cubicBezTo>
                    <a:cubicBezTo>
                      <a:pt x="574" y="22"/>
                      <a:pt x="574" y="22"/>
                      <a:pt x="574" y="22"/>
                    </a:cubicBezTo>
                    <a:cubicBezTo>
                      <a:pt x="570" y="23"/>
                      <a:pt x="573" y="22"/>
                      <a:pt x="570" y="22"/>
                    </a:cubicBezTo>
                    <a:cubicBezTo>
                      <a:pt x="568" y="22"/>
                      <a:pt x="564" y="23"/>
                      <a:pt x="562" y="23"/>
                    </a:cubicBezTo>
                    <a:cubicBezTo>
                      <a:pt x="558" y="23"/>
                      <a:pt x="558" y="22"/>
                      <a:pt x="556" y="22"/>
                    </a:cubicBezTo>
                    <a:cubicBezTo>
                      <a:pt x="562" y="22"/>
                      <a:pt x="562" y="22"/>
                      <a:pt x="562" y="22"/>
                    </a:cubicBezTo>
                    <a:cubicBezTo>
                      <a:pt x="556" y="22"/>
                      <a:pt x="564" y="21"/>
                      <a:pt x="556" y="21"/>
                    </a:cubicBezTo>
                    <a:cubicBezTo>
                      <a:pt x="553" y="21"/>
                      <a:pt x="553" y="21"/>
                      <a:pt x="553" y="21"/>
                    </a:cubicBezTo>
                    <a:cubicBezTo>
                      <a:pt x="552" y="21"/>
                      <a:pt x="552" y="21"/>
                      <a:pt x="554" y="20"/>
                    </a:cubicBezTo>
                    <a:cubicBezTo>
                      <a:pt x="552" y="21"/>
                      <a:pt x="548" y="21"/>
                      <a:pt x="546" y="21"/>
                    </a:cubicBezTo>
                    <a:cubicBezTo>
                      <a:pt x="546" y="20"/>
                      <a:pt x="546" y="20"/>
                      <a:pt x="546" y="20"/>
                    </a:cubicBezTo>
                    <a:cubicBezTo>
                      <a:pt x="543" y="20"/>
                      <a:pt x="536" y="21"/>
                      <a:pt x="532" y="21"/>
                    </a:cubicBezTo>
                    <a:cubicBezTo>
                      <a:pt x="534" y="22"/>
                      <a:pt x="538" y="20"/>
                      <a:pt x="543" y="21"/>
                    </a:cubicBezTo>
                    <a:cubicBezTo>
                      <a:pt x="545" y="22"/>
                      <a:pt x="536" y="22"/>
                      <a:pt x="534" y="22"/>
                    </a:cubicBezTo>
                    <a:cubicBezTo>
                      <a:pt x="537" y="21"/>
                      <a:pt x="523" y="22"/>
                      <a:pt x="513" y="25"/>
                    </a:cubicBezTo>
                    <a:cubicBezTo>
                      <a:pt x="507" y="26"/>
                      <a:pt x="500" y="29"/>
                      <a:pt x="500" y="29"/>
                    </a:cubicBezTo>
                    <a:cubicBezTo>
                      <a:pt x="501" y="30"/>
                      <a:pt x="501" y="30"/>
                      <a:pt x="501" y="30"/>
                    </a:cubicBezTo>
                    <a:cubicBezTo>
                      <a:pt x="493" y="32"/>
                      <a:pt x="499" y="34"/>
                      <a:pt x="498" y="36"/>
                    </a:cubicBezTo>
                    <a:cubicBezTo>
                      <a:pt x="496" y="35"/>
                      <a:pt x="494" y="35"/>
                      <a:pt x="494" y="37"/>
                    </a:cubicBezTo>
                    <a:cubicBezTo>
                      <a:pt x="497" y="35"/>
                      <a:pt x="499" y="38"/>
                      <a:pt x="501" y="37"/>
                    </a:cubicBezTo>
                    <a:cubicBezTo>
                      <a:pt x="501" y="39"/>
                      <a:pt x="496" y="37"/>
                      <a:pt x="494" y="38"/>
                    </a:cubicBezTo>
                    <a:cubicBezTo>
                      <a:pt x="497" y="39"/>
                      <a:pt x="494" y="41"/>
                      <a:pt x="498" y="41"/>
                    </a:cubicBezTo>
                    <a:cubicBezTo>
                      <a:pt x="498" y="40"/>
                      <a:pt x="500" y="41"/>
                      <a:pt x="502" y="41"/>
                    </a:cubicBezTo>
                    <a:cubicBezTo>
                      <a:pt x="503" y="43"/>
                      <a:pt x="500" y="41"/>
                      <a:pt x="500" y="43"/>
                    </a:cubicBezTo>
                    <a:cubicBezTo>
                      <a:pt x="501" y="43"/>
                      <a:pt x="504" y="44"/>
                      <a:pt x="504" y="42"/>
                    </a:cubicBezTo>
                    <a:cubicBezTo>
                      <a:pt x="504" y="43"/>
                      <a:pt x="509" y="44"/>
                      <a:pt x="507" y="45"/>
                    </a:cubicBezTo>
                    <a:cubicBezTo>
                      <a:pt x="506" y="46"/>
                      <a:pt x="505" y="44"/>
                      <a:pt x="504" y="45"/>
                    </a:cubicBezTo>
                    <a:cubicBezTo>
                      <a:pt x="505" y="47"/>
                      <a:pt x="510" y="45"/>
                      <a:pt x="513" y="47"/>
                    </a:cubicBezTo>
                    <a:cubicBezTo>
                      <a:pt x="513" y="45"/>
                      <a:pt x="518" y="45"/>
                      <a:pt x="520" y="46"/>
                    </a:cubicBezTo>
                    <a:cubicBezTo>
                      <a:pt x="521" y="49"/>
                      <a:pt x="518" y="45"/>
                      <a:pt x="516" y="47"/>
                    </a:cubicBezTo>
                    <a:cubicBezTo>
                      <a:pt x="517" y="48"/>
                      <a:pt x="517" y="48"/>
                      <a:pt x="517" y="48"/>
                    </a:cubicBezTo>
                    <a:cubicBezTo>
                      <a:pt x="515" y="50"/>
                      <a:pt x="508" y="46"/>
                      <a:pt x="506" y="48"/>
                    </a:cubicBezTo>
                    <a:cubicBezTo>
                      <a:pt x="509" y="49"/>
                      <a:pt x="509" y="49"/>
                      <a:pt x="509" y="49"/>
                    </a:cubicBezTo>
                    <a:cubicBezTo>
                      <a:pt x="507" y="49"/>
                      <a:pt x="505" y="49"/>
                      <a:pt x="504" y="50"/>
                    </a:cubicBezTo>
                    <a:cubicBezTo>
                      <a:pt x="507" y="50"/>
                      <a:pt x="507" y="52"/>
                      <a:pt x="508" y="52"/>
                    </a:cubicBezTo>
                    <a:cubicBezTo>
                      <a:pt x="511" y="52"/>
                      <a:pt x="507" y="52"/>
                      <a:pt x="509" y="51"/>
                    </a:cubicBezTo>
                    <a:cubicBezTo>
                      <a:pt x="510" y="52"/>
                      <a:pt x="514" y="52"/>
                      <a:pt x="515" y="54"/>
                    </a:cubicBezTo>
                    <a:cubicBezTo>
                      <a:pt x="512" y="53"/>
                      <a:pt x="512" y="55"/>
                      <a:pt x="510" y="55"/>
                    </a:cubicBezTo>
                    <a:cubicBezTo>
                      <a:pt x="510" y="56"/>
                      <a:pt x="513" y="55"/>
                      <a:pt x="513" y="56"/>
                    </a:cubicBezTo>
                    <a:cubicBezTo>
                      <a:pt x="512" y="56"/>
                      <a:pt x="512" y="56"/>
                      <a:pt x="512" y="56"/>
                    </a:cubicBezTo>
                    <a:cubicBezTo>
                      <a:pt x="516" y="61"/>
                      <a:pt x="521" y="66"/>
                      <a:pt x="530" y="69"/>
                    </a:cubicBezTo>
                    <a:cubicBezTo>
                      <a:pt x="528" y="70"/>
                      <a:pt x="529" y="72"/>
                      <a:pt x="529" y="74"/>
                    </a:cubicBezTo>
                    <a:cubicBezTo>
                      <a:pt x="529" y="73"/>
                      <a:pt x="531" y="74"/>
                      <a:pt x="532" y="74"/>
                    </a:cubicBezTo>
                    <a:cubicBezTo>
                      <a:pt x="530" y="76"/>
                      <a:pt x="530" y="76"/>
                      <a:pt x="530" y="76"/>
                    </a:cubicBezTo>
                    <a:cubicBezTo>
                      <a:pt x="530" y="78"/>
                      <a:pt x="533" y="79"/>
                      <a:pt x="535" y="80"/>
                    </a:cubicBezTo>
                    <a:cubicBezTo>
                      <a:pt x="535" y="80"/>
                      <a:pt x="534" y="80"/>
                      <a:pt x="534" y="80"/>
                    </a:cubicBezTo>
                    <a:cubicBezTo>
                      <a:pt x="533" y="82"/>
                      <a:pt x="536" y="81"/>
                      <a:pt x="537" y="82"/>
                    </a:cubicBezTo>
                    <a:cubicBezTo>
                      <a:pt x="535" y="83"/>
                      <a:pt x="535" y="83"/>
                      <a:pt x="535" y="83"/>
                    </a:cubicBezTo>
                    <a:cubicBezTo>
                      <a:pt x="537" y="83"/>
                      <a:pt x="537" y="83"/>
                      <a:pt x="537" y="83"/>
                    </a:cubicBezTo>
                    <a:cubicBezTo>
                      <a:pt x="538" y="84"/>
                      <a:pt x="538" y="86"/>
                      <a:pt x="535" y="86"/>
                    </a:cubicBezTo>
                    <a:cubicBezTo>
                      <a:pt x="536" y="86"/>
                      <a:pt x="536" y="87"/>
                      <a:pt x="537" y="86"/>
                    </a:cubicBezTo>
                    <a:cubicBezTo>
                      <a:pt x="536" y="87"/>
                      <a:pt x="535" y="90"/>
                      <a:pt x="535" y="91"/>
                    </a:cubicBezTo>
                    <a:cubicBezTo>
                      <a:pt x="530" y="91"/>
                      <a:pt x="523" y="91"/>
                      <a:pt x="518" y="91"/>
                    </a:cubicBezTo>
                    <a:cubicBezTo>
                      <a:pt x="516" y="91"/>
                      <a:pt x="516" y="91"/>
                      <a:pt x="515" y="91"/>
                    </a:cubicBezTo>
                    <a:cubicBezTo>
                      <a:pt x="510" y="89"/>
                      <a:pt x="499" y="90"/>
                      <a:pt x="493" y="88"/>
                    </a:cubicBezTo>
                    <a:cubicBezTo>
                      <a:pt x="494" y="89"/>
                      <a:pt x="489" y="90"/>
                      <a:pt x="485" y="90"/>
                    </a:cubicBezTo>
                    <a:cubicBezTo>
                      <a:pt x="479" y="90"/>
                      <a:pt x="486" y="88"/>
                      <a:pt x="483" y="87"/>
                    </a:cubicBezTo>
                    <a:cubicBezTo>
                      <a:pt x="480" y="87"/>
                      <a:pt x="476" y="87"/>
                      <a:pt x="475" y="87"/>
                    </a:cubicBezTo>
                    <a:cubicBezTo>
                      <a:pt x="475" y="87"/>
                      <a:pt x="475" y="87"/>
                      <a:pt x="475" y="87"/>
                    </a:cubicBezTo>
                    <a:cubicBezTo>
                      <a:pt x="472" y="87"/>
                      <a:pt x="468" y="87"/>
                      <a:pt x="466" y="86"/>
                    </a:cubicBezTo>
                    <a:cubicBezTo>
                      <a:pt x="466" y="86"/>
                      <a:pt x="466" y="86"/>
                      <a:pt x="466" y="86"/>
                    </a:cubicBezTo>
                    <a:cubicBezTo>
                      <a:pt x="464" y="86"/>
                      <a:pt x="463" y="85"/>
                      <a:pt x="460" y="85"/>
                    </a:cubicBezTo>
                    <a:cubicBezTo>
                      <a:pt x="457" y="85"/>
                      <a:pt x="453" y="84"/>
                      <a:pt x="450" y="85"/>
                    </a:cubicBezTo>
                    <a:cubicBezTo>
                      <a:pt x="450" y="84"/>
                      <a:pt x="450" y="84"/>
                      <a:pt x="450" y="84"/>
                    </a:cubicBezTo>
                    <a:cubicBezTo>
                      <a:pt x="448" y="85"/>
                      <a:pt x="448" y="85"/>
                      <a:pt x="448" y="85"/>
                    </a:cubicBezTo>
                    <a:cubicBezTo>
                      <a:pt x="444" y="84"/>
                      <a:pt x="444" y="84"/>
                      <a:pt x="444" y="84"/>
                    </a:cubicBezTo>
                    <a:cubicBezTo>
                      <a:pt x="446" y="84"/>
                      <a:pt x="447" y="83"/>
                      <a:pt x="448" y="83"/>
                    </a:cubicBezTo>
                    <a:cubicBezTo>
                      <a:pt x="444" y="82"/>
                      <a:pt x="445" y="84"/>
                      <a:pt x="442" y="84"/>
                    </a:cubicBezTo>
                    <a:cubicBezTo>
                      <a:pt x="437" y="84"/>
                      <a:pt x="439" y="83"/>
                      <a:pt x="438" y="83"/>
                    </a:cubicBezTo>
                    <a:cubicBezTo>
                      <a:pt x="440" y="83"/>
                      <a:pt x="440" y="83"/>
                      <a:pt x="441" y="83"/>
                    </a:cubicBezTo>
                    <a:cubicBezTo>
                      <a:pt x="445" y="83"/>
                      <a:pt x="440" y="83"/>
                      <a:pt x="440" y="82"/>
                    </a:cubicBezTo>
                    <a:cubicBezTo>
                      <a:pt x="440" y="82"/>
                      <a:pt x="438" y="83"/>
                      <a:pt x="435" y="82"/>
                    </a:cubicBezTo>
                    <a:cubicBezTo>
                      <a:pt x="433" y="82"/>
                      <a:pt x="428" y="82"/>
                      <a:pt x="430" y="81"/>
                    </a:cubicBezTo>
                    <a:cubicBezTo>
                      <a:pt x="427" y="81"/>
                      <a:pt x="425" y="81"/>
                      <a:pt x="423" y="81"/>
                    </a:cubicBezTo>
                    <a:cubicBezTo>
                      <a:pt x="424" y="81"/>
                      <a:pt x="427" y="82"/>
                      <a:pt x="427" y="82"/>
                    </a:cubicBezTo>
                    <a:cubicBezTo>
                      <a:pt x="425" y="82"/>
                      <a:pt x="421" y="82"/>
                      <a:pt x="421" y="82"/>
                    </a:cubicBezTo>
                    <a:cubicBezTo>
                      <a:pt x="423" y="82"/>
                      <a:pt x="423" y="82"/>
                      <a:pt x="423" y="82"/>
                    </a:cubicBezTo>
                    <a:cubicBezTo>
                      <a:pt x="421" y="82"/>
                      <a:pt x="417" y="81"/>
                      <a:pt x="418" y="82"/>
                    </a:cubicBezTo>
                    <a:cubicBezTo>
                      <a:pt x="417" y="80"/>
                      <a:pt x="417" y="80"/>
                      <a:pt x="417" y="80"/>
                    </a:cubicBezTo>
                    <a:cubicBezTo>
                      <a:pt x="414" y="81"/>
                      <a:pt x="411" y="80"/>
                      <a:pt x="408" y="80"/>
                    </a:cubicBezTo>
                    <a:cubicBezTo>
                      <a:pt x="409" y="79"/>
                      <a:pt x="413" y="79"/>
                      <a:pt x="408" y="78"/>
                    </a:cubicBezTo>
                    <a:cubicBezTo>
                      <a:pt x="402" y="78"/>
                      <a:pt x="402" y="78"/>
                      <a:pt x="402" y="78"/>
                    </a:cubicBezTo>
                    <a:cubicBezTo>
                      <a:pt x="400" y="78"/>
                      <a:pt x="399" y="78"/>
                      <a:pt x="401" y="77"/>
                    </a:cubicBezTo>
                    <a:cubicBezTo>
                      <a:pt x="393" y="76"/>
                      <a:pt x="388" y="78"/>
                      <a:pt x="383" y="77"/>
                    </a:cubicBezTo>
                    <a:cubicBezTo>
                      <a:pt x="387" y="76"/>
                      <a:pt x="385" y="76"/>
                      <a:pt x="383" y="75"/>
                    </a:cubicBezTo>
                    <a:cubicBezTo>
                      <a:pt x="383" y="75"/>
                      <a:pt x="382" y="76"/>
                      <a:pt x="380" y="76"/>
                    </a:cubicBezTo>
                    <a:cubicBezTo>
                      <a:pt x="380" y="76"/>
                      <a:pt x="383" y="75"/>
                      <a:pt x="384" y="76"/>
                    </a:cubicBezTo>
                    <a:cubicBezTo>
                      <a:pt x="384" y="77"/>
                      <a:pt x="381" y="76"/>
                      <a:pt x="379" y="76"/>
                    </a:cubicBezTo>
                    <a:cubicBezTo>
                      <a:pt x="378" y="73"/>
                      <a:pt x="361" y="73"/>
                      <a:pt x="354" y="71"/>
                    </a:cubicBezTo>
                    <a:cubicBezTo>
                      <a:pt x="352" y="72"/>
                      <a:pt x="349" y="71"/>
                      <a:pt x="346" y="71"/>
                    </a:cubicBezTo>
                    <a:cubicBezTo>
                      <a:pt x="349" y="70"/>
                      <a:pt x="340" y="71"/>
                      <a:pt x="339" y="70"/>
                    </a:cubicBezTo>
                    <a:cubicBezTo>
                      <a:pt x="338" y="71"/>
                      <a:pt x="338" y="71"/>
                      <a:pt x="338" y="71"/>
                    </a:cubicBezTo>
                    <a:cubicBezTo>
                      <a:pt x="333" y="70"/>
                      <a:pt x="325" y="71"/>
                      <a:pt x="324" y="70"/>
                    </a:cubicBezTo>
                    <a:cubicBezTo>
                      <a:pt x="321" y="69"/>
                      <a:pt x="327" y="69"/>
                      <a:pt x="329" y="69"/>
                    </a:cubicBezTo>
                    <a:cubicBezTo>
                      <a:pt x="327" y="67"/>
                      <a:pt x="314" y="69"/>
                      <a:pt x="313" y="67"/>
                    </a:cubicBezTo>
                    <a:cubicBezTo>
                      <a:pt x="312" y="67"/>
                      <a:pt x="312" y="68"/>
                      <a:pt x="307" y="68"/>
                    </a:cubicBezTo>
                    <a:cubicBezTo>
                      <a:pt x="305" y="68"/>
                      <a:pt x="299" y="66"/>
                      <a:pt x="300" y="66"/>
                    </a:cubicBezTo>
                    <a:cubicBezTo>
                      <a:pt x="297" y="66"/>
                      <a:pt x="295" y="67"/>
                      <a:pt x="293" y="66"/>
                    </a:cubicBezTo>
                    <a:cubicBezTo>
                      <a:pt x="294" y="66"/>
                      <a:pt x="295" y="66"/>
                      <a:pt x="297" y="66"/>
                    </a:cubicBezTo>
                    <a:cubicBezTo>
                      <a:pt x="292" y="65"/>
                      <a:pt x="287" y="65"/>
                      <a:pt x="282" y="65"/>
                    </a:cubicBezTo>
                    <a:cubicBezTo>
                      <a:pt x="281" y="64"/>
                      <a:pt x="271" y="64"/>
                      <a:pt x="263" y="64"/>
                    </a:cubicBezTo>
                    <a:cubicBezTo>
                      <a:pt x="259" y="65"/>
                      <a:pt x="244" y="65"/>
                      <a:pt x="240" y="69"/>
                    </a:cubicBezTo>
                    <a:cubicBezTo>
                      <a:pt x="240" y="68"/>
                      <a:pt x="238" y="69"/>
                      <a:pt x="237" y="70"/>
                    </a:cubicBezTo>
                    <a:cubicBezTo>
                      <a:pt x="235" y="72"/>
                      <a:pt x="239" y="72"/>
                      <a:pt x="239" y="73"/>
                    </a:cubicBezTo>
                    <a:cubicBezTo>
                      <a:pt x="236" y="73"/>
                      <a:pt x="236" y="73"/>
                      <a:pt x="236" y="73"/>
                    </a:cubicBezTo>
                    <a:cubicBezTo>
                      <a:pt x="233" y="74"/>
                      <a:pt x="237" y="76"/>
                      <a:pt x="236" y="77"/>
                    </a:cubicBezTo>
                    <a:cubicBezTo>
                      <a:pt x="238" y="76"/>
                      <a:pt x="237" y="78"/>
                      <a:pt x="239" y="77"/>
                    </a:cubicBezTo>
                    <a:cubicBezTo>
                      <a:pt x="241" y="78"/>
                      <a:pt x="241" y="78"/>
                      <a:pt x="241" y="78"/>
                    </a:cubicBezTo>
                    <a:cubicBezTo>
                      <a:pt x="243" y="80"/>
                      <a:pt x="242" y="78"/>
                      <a:pt x="245" y="80"/>
                    </a:cubicBezTo>
                    <a:cubicBezTo>
                      <a:pt x="246" y="81"/>
                      <a:pt x="242" y="81"/>
                      <a:pt x="242" y="81"/>
                    </a:cubicBezTo>
                    <a:cubicBezTo>
                      <a:pt x="241" y="82"/>
                      <a:pt x="243" y="82"/>
                      <a:pt x="245" y="83"/>
                    </a:cubicBezTo>
                    <a:cubicBezTo>
                      <a:pt x="245" y="83"/>
                      <a:pt x="245" y="83"/>
                      <a:pt x="246" y="83"/>
                    </a:cubicBezTo>
                    <a:cubicBezTo>
                      <a:pt x="245" y="83"/>
                      <a:pt x="245" y="83"/>
                      <a:pt x="245" y="83"/>
                    </a:cubicBezTo>
                    <a:cubicBezTo>
                      <a:pt x="246" y="84"/>
                      <a:pt x="246" y="84"/>
                      <a:pt x="247" y="84"/>
                    </a:cubicBezTo>
                    <a:cubicBezTo>
                      <a:pt x="247" y="84"/>
                      <a:pt x="247" y="84"/>
                      <a:pt x="247" y="84"/>
                    </a:cubicBezTo>
                    <a:cubicBezTo>
                      <a:pt x="246" y="84"/>
                      <a:pt x="246" y="84"/>
                      <a:pt x="245" y="83"/>
                    </a:cubicBezTo>
                    <a:cubicBezTo>
                      <a:pt x="245" y="84"/>
                      <a:pt x="246" y="84"/>
                      <a:pt x="246" y="84"/>
                    </a:cubicBezTo>
                    <a:cubicBezTo>
                      <a:pt x="246" y="85"/>
                      <a:pt x="246" y="85"/>
                      <a:pt x="246" y="85"/>
                    </a:cubicBezTo>
                    <a:cubicBezTo>
                      <a:pt x="247" y="85"/>
                      <a:pt x="247" y="85"/>
                      <a:pt x="247" y="85"/>
                    </a:cubicBezTo>
                    <a:cubicBezTo>
                      <a:pt x="245" y="86"/>
                      <a:pt x="245" y="86"/>
                      <a:pt x="245" y="86"/>
                    </a:cubicBezTo>
                    <a:cubicBezTo>
                      <a:pt x="245" y="86"/>
                      <a:pt x="250" y="87"/>
                      <a:pt x="251" y="87"/>
                    </a:cubicBezTo>
                    <a:cubicBezTo>
                      <a:pt x="252" y="90"/>
                      <a:pt x="260" y="94"/>
                      <a:pt x="263" y="95"/>
                    </a:cubicBezTo>
                    <a:cubicBezTo>
                      <a:pt x="262" y="95"/>
                      <a:pt x="262" y="95"/>
                      <a:pt x="263" y="95"/>
                    </a:cubicBezTo>
                    <a:cubicBezTo>
                      <a:pt x="265" y="96"/>
                      <a:pt x="268" y="96"/>
                      <a:pt x="267" y="96"/>
                    </a:cubicBezTo>
                    <a:cubicBezTo>
                      <a:pt x="269" y="97"/>
                      <a:pt x="266" y="97"/>
                      <a:pt x="268" y="99"/>
                    </a:cubicBezTo>
                    <a:cubicBezTo>
                      <a:pt x="268" y="99"/>
                      <a:pt x="270" y="98"/>
                      <a:pt x="269" y="98"/>
                    </a:cubicBezTo>
                    <a:cubicBezTo>
                      <a:pt x="270" y="101"/>
                      <a:pt x="279" y="102"/>
                      <a:pt x="281" y="105"/>
                    </a:cubicBezTo>
                    <a:cubicBezTo>
                      <a:pt x="280" y="105"/>
                      <a:pt x="279" y="105"/>
                      <a:pt x="278" y="105"/>
                    </a:cubicBezTo>
                    <a:cubicBezTo>
                      <a:pt x="282" y="106"/>
                      <a:pt x="285" y="108"/>
                      <a:pt x="291" y="109"/>
                    </a:cubicBezTo>
                    <a:cubicBezTo>
                      <a:pt x="289" y="109"/>
                      <a:pt x="289" y="109"/>
                      <a:pt x="287" y="109"/>
                    </a:cubicBezTo>
                    <a:cubicBezTo>
                      <a:pt x="289" y="110"/>
                      <a:pt x="292" y="112"/>
                      <a:pt x="295" y="112"/>
                    </a:cubicBezTo>
                    <a:cubicBezTo>
                      <a:pt x="295" y="111"/>
                      <a:pt x="294" y="112"/>
                      <a:pt x="293" y="111"/>
                    </a:cubicBezTo>
                    <a:cubicBezTo>
                      <a:pt x="293" y="110"/>
                      <a:pt x="298" y="111"/>
                      <a:pt x="299" y="112"/>
                    </a:cubicBezTo>
                    <a:cubicBezTo>
                      <a:pt x="299" y="112"/>
                      <a:pt x="299" y="112"/>
                      <a:pt x="299" y="112"/>
                    </a:cubicBezTo>
                    <a:cubicBezTo>
                      <a:pt x="301" y="113"/>
                      <a:pt x="302" y="113"/>
                      <a:pt x="304" y="114"/>
                    </a:cubicBezTo>
                    <a:cubicBezTo>
                      <a:pt x="304" y="115"/>
                      <a:pt x="302" y="114"/>
                      <a:pt x="302" y="115"/>
                    </a:cubicBezTo>
                    <a:cubicBezTo>
                      <a:pt x="299" y="116"/>
                      <a:pt x="304" y="118"/>
                      <a:pt x="304" y="118"/>
                    </a:cubicBezTo>
                    <a:cubicBezTo>
                      <a:pt x="306" y="118"/>
                      <a:pt x="307" y="119"/>
                      <a:pt x="308" y="118"/>
                    </a:cubicBezTo>
                    <a:cubicBezTo>
                      <a:pt x="310" y="119"/>
                      <a:pt x="307" y="119"/>
                      <a:pt x="308" y="120"/>
                    </a:cubicBezTo>
                    <a:cubicBezTo>
                      <a:pt x="318" y="121"/>
                      <a:pt x="318" y="121"/>
                      <a:pt x="318" y="121"/>
                    </a:cubicBezTo>
                    <a:cubicBezTo>
                      <a:pt x="317" y="121"/>
                      <a:pt x="317" y="123"/>
                      <a:pt x="314" y="122"/>
                    </a:cubicBezTo>
                    <a:cubicBezTo>
                      <a:pt x="318" y="124"/>
                      <a:pt x="324" y="124"/>
                      <a:pt x="328" y="125"/>
                    </a:cubicBezTo>
                    <a:cubicBezTo>
                      <a:pt x="329" y="126"/>
                      <a:pt x="333" y="127"/>
                      <a:pt x="334" y="128"/>
                    </a:cubicBezTo>
                    <a:cubicBezTo>
                      <a:pt x="333" y="129"/>
                      <a:pt x="334" y="127"/>
                      <a:pt x="332" y="128"/>
                    </a:cubicBezTo>
                    <a:cubicBezTo>
                      <a:pt x="332" y="129"/>
                      <a:pt x="332" y="129"/>
                      <a:pt x="332" y="129"/>
                    </a:cubicBezTo>
                    <a:cubicBezTo>
                      <a:pt x="329" y="128"/>
                      <a:pt x="329" y="130"/>
                      <a:pt x="326" y="130"/>
                    </a:cubicBezTo>
                    <a:cubicBezTo>
                      <a:pt x="329" y="131"/>
                      <a:pt x="332" y="133"/>
                      <a:pt x="335" y="135"/>
                    </a:cubicBezTo>
                    <a:cubicBezTo>
                      <a:pt x="336" y="133"/>
                      <a:pt x="340" y="137"/>
                      <a:pt x="343" y="136"/>
                    </a:cubicBezTo>
                    <a:cubicBezTo>
                      <a:pt x="347" y="138"/>
                      <a:pt x="342" y="138"/>
                      <a:pt x="342" y="139"/>
                    </a:cubicBezTo>
                    <a:cubicBezTo>
                      <a:pt x="347" y="140"/>
                      <a:pt x="349" y="143"/>
                      <a:pt x="352" y="144"/>
                    </a:cubicBezTo>
                    <a:cubicBezTo>
                      <a:pt x="352" y="144"/>
                      <a:pt x="352" y="144"/>
                      <a:pt x="351" y="144"/>
                    </a:cubicBezTo>
                    <a:cubicBezTo>
                      <a:pt x="355" y="146"/>
                      <a:pt x="358" y="149"/>
                      <a:pt x="363" y="150"/>
                    </a:cubicBezTo>
                    <a:cubicBezTo>
                      <a:pt x="363" y="150"/>
                      <a:pt x="362" y="150"/>
                      <a:pt x="361" y="150"/>
                    </a:cubicBezTo>
                    <a:cubicBezTo>
                      <a:pt x="362" y="152"/>
                      <a:pt x="366" y="149"/>
                      <a:pt x="367" y="152"/>
                    </a:cubicBezTo>
                    <a:cubicBezTo>
                      <a:pt x="364" y="152"/>
                      <a:pt x="364" y="152"/>
                      <a:pt x="364" y="152"/>
                    </a:cubicBezTo>
                    <a:cubicBezTo>
                      <a:pt x="368" y="153"/>
                      <a:pt x="366" y="155"/>
                      <a:pt x="371" y="156"/>
                    </a:cubicBezTo>
                    <a:cubicBezTo>
                      <a:pt x="370" y="156"/>
                      <a:pt x="369" y="156"/>
                      <a:pt x="368" y="156"/>
                    </a:cubicBezTo>
                    <a:cubicBezTo>
                      <a:pt x="371" y="157"/>
                      <a:pt x="372" y="159"/>
                      <a:pt x="376" y="160"/>
                    </a:cubicBezTo>
                    <a:cubicBezTo>
                      <a:pt x="375" y="160"/>
                      <a:pt x="374" y="160"/>
                      <a:pt x="372" y="160"/>
                    </a:cubicBezTo>
                    <a:cubicBezTo>
                      <a:pt x="372" y="161"/>
                      <a:pt x="377" y="161"/>
                      <a:pt x="376" y="162"/>
                    </a:cubicBezTo>
                    <a:cubicBezTo>
                      <a:pt x="376" y="163"/>
                      <a:pt x="375" y="164"/>
                      <a:pt x="375" y="164"/>
                    </a:cubicBezTo>
                    <a:cubicBezTo>
                      <a:pt x="378" y="164"/>
                      <a:pt x="376" y="167"/>
                      <a:pt x="370" y="167"/>
                    </a:cubicBezTo>
                    <a:cubicBezTo>
                      <a:pt x="370" y="167"/>
                      <a:pt x="368" y="167"/>
                      <a:pt x="365" y="167"/>
                    </a:cubicBezTo>
                    <a:cubicBezTo>
                      <a:pt x="339" y="166"/>
                      <a:pt x="317" y="163"/>
                      <a:pt x="293" y="161"/>
                    </a:cubicBezTo>
                    <a:cubicBezTo>
                      <a:pt x="292" y="159"/>
                      <a:pt x="300" y="161"/>
                      <a:pt x="299" y="160"/>
                    </a:cubicBezTo>
                    <a:cubicBezTo>
                      <a:pt x="297" y="161"/>
                      <a:pt x="295" y="159"/>
                      <a:pt x="288" y="159"/>
                    </a:cubicBezTo>
                    <a:cubicBezTo>
                      <a:pt x="288" y="159"/>
                      <a:pt x="288" y="159"/>
                      <a:pt x="288" y="159"/>
                    </a:cubicBezTo>
                    <a:cubicBezTo>
                      <a:pt x="285" y="158"/>
                      <a:pt x="285" y="157"/>
                      <a:pt x="281" y="157"/>
                    </a:cubicBezTo>
                    <a:cubicBezTo>
                      <a:pt x="280" y="158"/>
                      <a:pt x="280" y="158"/>
                      <a:pt x="280" y="158"/>
                    </a:cubicBezTo>
                    <a:cubicBezTo>
                      <a:pt x="276" y="158"/>
                      <a:pt x="276" y="155"/>
                      <a:pt x="272" y="156"/>
                    </a:cubicBezTo>
                    <a:cubicBezTo>
                      <a:pt x="271" y="155"/>
                      <a:pt x="271" y="155"/>
                      <a:pt x="271" y="155"/>
                    </a:cubicBezTo>
                    <a:cubicBezTo>
                      <a:pt x="265" y="156"/>
                      <a:pt x="267" y="154"/>
                      <a:pt x="261" y="154"/>
                    </a:cubicBezTo>
                    <a:cubicBezTo>
                      <a:pt x="262" y="154"/>
                      <a:pt x="262" y="154"/>
                      <a:pt x="262" y="154"/>
                    </a:cubicBezTo>
                    <a:cubicBezTo>
                      <a:pt x="258" y="153"/>
                      <a:pt x="249" y="154"/>
                      <a:pt x="249" y="152"/>
                    </a:cubicBezTo>
                    <a:cubicBezTo>
                      <a:pt x="244" y="152"/>
                      <a:pt x="239" y="151"/>
                      <a:pt x="236" y="152"/>
                    </a:cubicBezTo>
                    <a:cubicBezTo>
                      <a:pt x="236" y="151"/>
                      <a:pt x="238" y="151"/>
                      <a:pt x="239" y="151"/>
                    </a:cubicBezTo>
                    <a:cubicBezTo>
                      <a:pt x="222" y="149"/>
                      <a:pt x="205" y="145"/>
                      <a:pt x="188" y="144"/>
                    </a:cubicBezTo>
                    <a:cubicBezTo>
                      <a:pt x="188" y="143"/>
                      <a:pt x="189" y="144"/>
                      <a:pt x="190" y="143"/>
                    </a:cubicBezTo>
                    <a:cubicBezTo>
                      <a:pt x="179" y="143"/>
                      <a:pt x="175" y="139"/>
                      <a:pt x="164" y="140"/>
                    </a:cubicBezTo>
                    <a:cubicBezTo>
                      <a:pt x="160" y="140"/>
                      <a:pt x="160" y="140"/>
                      <a:pt x="160" y="140"/>
                    </a:cubicBezTo>
                    <a:cubicBezTo>
                      <a:pt x="159" y="139"/>
                      <a:pt x="160" y="139"/>
                      <a:pt x="159" y="138"/>
                    </a:cubicBezTo>
                    <a:cubicBezTo>
                      <a:pt x="156" y="139"/>
                      <a:pt x="151" y="137"/>
                      <a:pt x="148" y="138"/>
                    </a:cubicBezTo>
                    <a:cubicBezTo>
                      <a:pt x="148" y="137"/>
                      <a:pt x="150" y="137"/>
                      <a:pt x="150" y="137"/>
                    </a:cubicBezTo>
                    <a:cubicBezTo>
                      <a:pt x="147" y="136"/>
                      <a:pt x="139" y="136"/>
                      <a:pt x="136" y="135"/>
                    </a:cubicBezTo>
                    <a:cubicBezTo>
                      <a:pt x="138" y="135"/>
                      <a:pt x="138" y="135"/>
                      <a:pt x="138" y="135"/>
                    </a:cubicBezTo>
                    <a:cubicBezTo>
                      <a:pt x="122" y="130"/>
                      <a:pt x="100" y="124"/>
                      <a:pt x="79" y="123"/>
                    </a:cubicBezTo>
                    <a:cubicBezTo>
                      <a:pt x="74" y="122"/>
                      <a:pt x="80" y="122"/>
                      <a:pt x="78" y="121"/>
                    </a:cubicBezTo>
                    <a:cubicBezTo>
                      <a:pt x="58" y="120"/>
                      <a:pt x="44" y="114"/>
                      <a:pt x="23" y="113"/>
                    </a:cubicBezTo>
                    <a:cubicBezTo>
                      <a:pt x="10" y="111"/>
                      <a:pt x="0" y="113"/>
                      <a:pt x="0" y="113"/>
                    </a:cubicBezTo>
                    <a:cubicBezTo>
                      <a:pt x="31" y="117"/>
                      <a:pt x="53" y="123"/>
                      <a:pt x="78" y="130"/>
                    </a:cubicBezTo>
                    <a:close/>
                    <a:moveTo>
                      <a:pt x="656" y="33"/>
                    </a:moveTo>
                    <a:cubicBezTo>
                      <a:pt x="656" y="33"/>
                      <a:pt x="656" y="33"/>
                      <a:pt x="656" y="33"/>
                    </a:cubicBezTo>
                    <a:moveTo>
                      <a:pt x="655" y="33"/>
                    </a:moveTo>
                    <a:cubicBezTo>
                      <a:pt x="655" y="33"/>
                      <a:pt x="655" y="33"/>
                      <a:pt x="655" y="33"/>
                    </a:cubicBezTo>
                    <a:cubicBezTo>
                      <a:pt x="656" y="33"/>
                      <a:pt x="656" y="33"/>
                      <a:pt x="655" y="33"/>
                    </a:cubicBezTo>
                    <a:close/>
                    <a:moveTo>
                      <a:pt x="650" y="3"/>
                    </a:moveTo>
                    <a:cubicBezTo>
                      <a:pt x="650" y="3"/>
                      <a:pt x="650" y="4"/>
                      <a:pt x="650" y="4"/>
                    </a:cubicBezTo>
                    <a:cubicBezTo>
                      <a:pt x="650" y="4"/>
                      <a:pt x="649" y="4"/>
                      <a:pt x="648" y="5"/>
                    </a:cubicBezTo>
                    <a:cubicBezTo>
                      <a:pt x="648" y="4"/>
                      <a:pt x="648" y="3"/>
                      <a:pt x="650" y="3"/>
                    </a:cubicBezTo>
                    <a:close/>
                    <a:moveTo>
                      <a:pt x="649" y="34"/>
                    </a:moveTo>
                    <a:cubicBezTo>
                      <a:pt x="650" y="34"/>
                      <a:pt x="651" y="34"/>
                      <a:pt x="653" y="34"/>
                    </a:cubicBezTo>
                    <a:cubicBezTo>
                      <a:pt x="653" y="33"/>
                      <a:pt x="653" y="33"/>
                      <a:pt x="653" y="33"/>
                    </a:cubicBezTo>
                    <a:cubicBezTo>
                      <a:pt x="653" y="34"/>
                      <a:pt x="653" y="34"/>
                      <a:pt x="653" y="34"/>
                    </a:cubicBezTo>
                    <a:cubicBezTo>
                      <a:pt x="654" y="34"/>
                      <a:pt x="655" y="33"/>
                      <a:pt x="655" y="33"/>
                    </a:cubicBezTo>
                    <a:cubicBezTo>
                      <a:pt x="654" y="34"/>
                      <a:pt x="654" y="34"/>
                      <a:pt x="653" y="34"/>
                    </a:cubicBezTo>
                    <a:cubicBezTo>
                      <a:pt x="653" y="34"/>
                      <a:pt x="653" y="35"/>
                      <a:pt x="652" y="35"/>
                    </a:cubicBezTo>
                    <a:cubicBezTo>
                      <a:pt x="652" y="35"/>
                      <a:pt x="652" y="35"/>
                      <a:pt x="652" y="35"/>
                    </a:cubicBezTo>
                    <a:cubicBezTo>
                      <a:pt x="652" y="35"/>
                      <a:pt x="651" y="35"/>
                      <a:pt x="650" y="35"/>
                    </a:cubicBezTo>
                    <a:cubicBezTo>
                      <a:pt x="649" y="35"/>
                      <a:pt x="649" y="35"/>
                      <a:pt x="649" y="35"/>
                    </a:cubicBezTo>
                    <a:cubicBezTo>
                      <a:pt x="647" y="36"/>
                      <a:pt x="650" y="36"/>
                      <a:pt x="648" y="37"/>
                    </a:cubicBezTo>
                    <a:cubicBezTo>
                      <a:pt x="646" y="37"/>
                      <a:pt x="644" y="37"/>
                      <a:pt x="643" y="37"/>
                    </a:cubicBezTo>
                    <a:cubicBezTo>
                      <a:pt x="643" y="36"/>
                      <a:pt x="646" y="35"/>
                      <a:pt x="640" y="34"/>
                    </a:cubicBezTo>
                    <a:cubicBezTo>
                      <a:pt x="644" y="33"/>
                      <a:pt x="649" y="35"/>
                      <a:pt x="649" y="34"/>
                    </a:cubicBezTo>
                    <a:close/>
                    <a:moveTo>
                      <a:pt x="539" y="91"/>
                    </a:moveTo>
                    <a:cubicBezTo>
                      <a:pt x="541" y="91"/>
                      <a:pt x="537" y="92"/>
                      <a:pt x="538" y="92"/>
                    </a:cubicBezTo>
                    <a:cubicBezTo>
                      <a:pt x="537" y="92"/>
                      <a:pt x="535" y="93"/>
                      <a:pt x="535" y="92"/>
                    </a:cubicBezTo>
                    <a:cubicBezTo>
                      <a:pt x="538" y="92"/>
                      <a:pt x="539" y="91"/>
                      <a:pt x="539" y="9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</p:grpSp>
        <p:sp>
          <p:nvSpPr>
            <p:cNvPr id="40" name="îSlíḋê">
              <a:extLst>
                <a:ext uri="{FF2B5EF4-FFF2-40B4-BE49-F238E27FC236}">
                  <a16:creationId xmlns:a16="http://schemas.microsoft.com/office/drawing/2014/main" id="{072EEBA1-948E-4DC5-B0C3-09CE26D909DE}"/>
                </a:ext>
              </a:extLst>
            </p:cNvPr>
            <p:cNvSpPr/>
            <p:nvPr/>
          </p:nvSpPr>
          <p:spPr>
            <a:xfrm>
              <a:off x="669925" y="2211349"/>
              <a:ext cx="3447888" cy="73795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lc="http://schemas.openxmlformats.org/drawingml/2006/lockedCanvas" xmlns:a16="http://schemas.microsoft.com/office/drawing/2014/main" xmlns:p14="http://schemas.microsoft.com/office/powerpoint/2010/main" xmlns:ma14="http://schemas.microsoft.com/office/mac/drawingml/2011/main" xmlns:a14="http://schemas.microsoft.com/office/drawing/2010/main" xmlns="" val="1"/>
              </a:ext>
            </a:extLst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r>
                <a:rPr lang="en-US" altLang="zh-CN" sz="1200" dirty="0">
                  <a:solidFill>
                    <a:schemeClr val="tx1"/>
                  </a:solidFill>
                </a:rPr>
                <a:t>Copy paste fonts. Choose the only option to retain text…...</a:t>
              </a:r>
              <a:endParaRPr lang="zh-CN" alt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41" name="išļíḋê">
              <a:extLst>
                <a:ext uri="{FF2B5EF4-FFF2-40B4-BE49-F238E27FC236}">
                  <a16:creationId xmlns:a16="http://schemas.microsoft.com/office/drawing/2014/main" id="{A1978845-C76E-4628-AB71-3B711D7E3059}"/>
                </a:ext>
              </a:extLst>
            </p:cNvPr>
            <p:cNvSpPr/>
            <p:nvPr/>
          </p:nvSpPr>
          <p:spPr>
            <a:xfrm>
              <a:off x="669925" y="1825076"/>
              <a:ext cx="3464695" cy="37373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lc="http://schemas.openxmlformats.org/drawingml/2006/lockedCanvas" xmlns:a16="http://schemas.microsoft.com/office/drawing/2014/main" xmlns:p14="http://schemas.microsoft.com/office/powerpoint/2010/main" xmlns:ma14="http://schemas.microsoft.com/office/mac/drawingml/2011/main" xmlns:a14="http://schemas.microsoft.com/office/drawing/2010/main" xmlns="" val="1"/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 altLang="zh-CN" b="1" dirty="0"/>
                <a:t>Text here</a:t>
              </a:r>
              <a:endParaRPr lang="zh-CN" altLang="en-US" b="1" dirty="0"/>
            </a:p>
          </p:txBody>
        </p:sp>
        <p:grpSp>
          <p:nvGrpSpPr>
            <p:cNvPr id="42" name="íšlidé">
              <a:extLst>
                <a:ext uri="{FF2B5EF4-FFF2-40B4-BE49-F238E27FC236}">
                  <a16:creationId xmlns:a16="http://schemas.microsoft.com/office/drawing/2014/main" id="{C45F9906-2B1D-4A2E-8D1C-1AFF3F6A5393}"/>
                </a:ext>
              </a:extLst>
            </p:cNvPr>
            <p:cNvGrpSpPr/>
            <p:nvPr/>
          </p:nvGrpSpPr>
          <p:grpSpPr>
            <a:xfrm>
              <a:off x="3227749" y="3071763"/>
              <a:ext cx="1462846" cy="890064"/>
              <a:chOff x="2169960" y="3071763"/>
              <a:chExt cx="1462846" cy="890064"/>
            </a:xfrm>
          </p:grpSpPr>
          <p:sp>
            <p:nvSpPr>
              <p:cNvPr id="66" name="íṥlíḋê">
                <a:extLst>
                  <a:ext uri="{FF2B5EF4-FFF2-40B4-BE49-F238E27FC236}">
                    <a16:creationId xmlns:a16="http://schemas.microsoft.com/office/drawing/2014/main" id="{D10C985D-1177-4B4F-B437-973E98C3F909}"/>
                  </a:ext>
                </a:extLst>
              </p:cNvPr>
              <p:cNvSpPr/>
              <p:nvPr/>
            </p:nvSpPr>
            <p:spPr>
              <a:xfrm>
                <a:off x="2169960" y="3071763"/>
                <a:ext cx="890064" cy="890064"/>
              </a:xfrm>
              <a:prstGeom prst="ellipse">
                <a:avLst/>
              </a:prstGeom>
              <a:solidFill>
                <a:schemeClr val="accent1">
                  <a:lumMod val="100000"/>
                </a:schemeClr>
              </a:solidFill>
              <a:ln w="9525">
                <a:noFill/>
                <a:miter lim="400000"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67" name="ïsľíḓè">
                <a:extLst>
                  <a:ext uri="{FF2B5EF4-FFF2-40B4-BE49-F238E27FC236}">
                    <a16:creationId xmlns:a16="http://schemas.microsoft.com/office/drawing/2014/main" id="{547322F8-628C-492B-9AFD-88EED26ED528}"/>
                  </a:ext>
                </a:extLst>
              </p:cNvPr>
              <p:cNvSpPr/>
              <p:nvPr/>
            </p:nvSpPr>
            <p:spPr>
              <a:xfrm>
                <a:off x="2336042" y="3295410"/>
                <a:ext cx="557897" cy="444251"/>
              </a:xfrm>
              <a:custGeom>
                <a:avLst/>
                <a:gdLst>
                  <a:gd name="connsiteX0" fmla="*/ 485775 w 514350"/>
                  <a:gd name="connsiteY0" fmla="*/ 0 h 409575"/>
                  <a:gd name="connsiteX1" fmla="*/ 514350 w 514350"/>
                  <a:gd name="connsiteY1" fmla="*/ 28575 h 409575"/>
                  <a:gd name="connsiteX2" fmla="*/ 514350 w 514350"/>
                  <a:gd name="connsiteY2" fmla="*/ 323850 h 409575"/>
                  <a:gd name="connsiteX3" fmla="*/ 485775 w 514350"/>
                  <a:gd name="connsiteY3" fmla="*/ 352425 h 409575"/>
                  <a:gd name="connsiteX4" fmla="*/ 191167 w 514350"/>
                  <a:gd name="connsiteY4" fmla="*/ 352425 h 409575"/>
                  <a:gd name="connsiteX5" fmla="*/ 114395 w 514350"/>
                  <a:gd name="connsiteY5" fmla="*/ 409575 h 409575"/>
                  <a:gd name="connsiteX6" fmla="*/ 114395 w 514350"/>
                  <a:gd name="connsiteY6" fmla="*/ 352425 h 409575"/>
                  <a:gd name="connsiteX7" fmla="*/ 28575 w 514350"/>
                  <a:gd name="connsiteY7" fmla="*/ 352425 h 409575"/>
                  <a:gd name="connsiteX8" fmla="*/ 0 w 514350"/>
                  <a:gd name="connsiteY8" fmla="*/ 323850 h 409575"/>
                  <a:gd name="connsiteX9" fmla="*/ 0 w 514350"/>
                  <a:gd name="connsiteY9" fmla="*/ 28575 h 409575"/>
                  <a:gd name="connsiteX10" fmla="*/ 28575 w 514350"/>
                  <a:gd name="connsiteY10" fmla="*/ 0 h 409575"/>
                  <a:gd name="connsiteX11" fmla="*/ 485775 w 514350"/>
                  <a:gd name="connsiteY11" fmla="*/ 0 h 409575"/>
                  <a:gd name="connsiteX12" fmla="*/ 123825 w 514350"/>
                  <a:gd name="connsiteY12" fmla="*/ 142875 h 409575"/>
                  <a:gd name="connsiteX13" fmla="*/ 90488 w 514350"/>
                  <a:gd name="connsiteY13" fmla="*/ 176213 h 409575"/>
                  <a:gd name="connsiteX14" fmla="*/ 123825 w 514350"/>
                  <a:gd name="connsiteY14" fmla="*/ 209550 h 409575"/>
                  <a:gd name="connsiteX15" fmla="*/ 157163 w 514350"/>
                  <a:gd name="connsiteY15" fmla="*/ 176213 h 409575"/>
                  <a:gd name="connsiteX16" fmla="*/ 123825 w 514350"/>
                  <a:gd name="connsiteY16" fmla="*/ 142875 h 409575"/>
                  <a:gd name="connsiteX17" fmla="*/ 257175 w 514350"/>
                  <a:gd name="connsiteY17" fmla="*/ 142875 h 409575"/>
                  <a:gd name="connsiteX18" fmla="*/ 223838 w 514350"/>
                  <a:gd name="connsiteY18" fmla="*/ 176213 h 409575"/>
                  <a:gd name="connsiteX19" fmla="*/ 257175 w 514350"/>
                  <a:gd name="connsiteY19" fmla="*/ 209550 h 409575"/>
                  <a:gd name="connsiteX20" fmla="*/ 290513 w 514350"/>
                  <a:gd name="connsiteY20" fmla="*/ 176213 h 409575"/>
                  <a:gd name="connsiteX21" fmla="*/ 257175 w 514350"/>
                  <a:gd name="connsiteY21" fmla="*/ 142875 h 409575"/>
                  <a:gd name="connsiteX22" fmla="*/ 390525 w 514350"/>
                  <a:gd name="connsiteY22" fmla="*/ 142875 h 409575"/>
                  <a:gd name="connsiteX23" fmla="*/ 357188 w 514350"/>
                  <a:gd name="connsiteY23" fmla="*/ 176213 h 409575"/>
                  <a:gd name="connsiteX24" fmla="*/ 390525 w 514350"/>
                  <a:gd name="connsiteY24" fmla="*/ 209550 h 409575"/>
                  <a:gd name="connsiteX25" fmla="*/ 423863 w 514350"/>
                  <a:gd name="connsiteY25" fmla="*/ 176213 h 409575"/>
                  <a:gd name="connsiteX26" fmla="*/ 390525 w 514350"/>
                  <a:gd name="connsiteY26" fmla="*/ 142875 h 409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4350" h="409575">
                    <a:moveTo>
                      <a:pt x="485775" y="0"/>
                    </a:moveTo>
                    <a:cubicBezTo>
                      <a:pt x="501586" y="0"/>
                      <a:pt x="514350" y="12764"/>
                      <a:pt x="514350" y="28575"/>
                    </a:cubicBezTo>
                    <a:lnTo>
                      <a:pt x="514350" y="323850"/>
                    </a:lnTo>
                    <a:cubicBezTo>
                      <a:pt x="514350" y="339662"/>
                      <a:pt x="501586" y="352425"/>
                      <a:pt x="485775" y="352425"/>
                    </a:cubicBezTo>
                    <a:lnTo>
                      <a:pt x="191167" y="352425"/>
                    </a:lnTo>
                    <a:lnTo>
                      <a:pt x="114395" y="409575"/>
                    </a:lnTo>
                    <a:lnTo>
                      <a:pt x="114395" y="352425"/>
                    </a:lnTo>
                    <a:lnTo>
                      <a:pt x="28575" y="352425"/>
                    </a:lnTo>
                    <a:cubicBezTo>
                      <a:pt x="12764" y="352425"/>
                      <a:pt x="0" y="339662"/>
                      <a:pt x="0" y="323850"/>
                    </a:cubicBezTo>
                    <a:lnTo>
                      <a:pt x="0" y="28575"/>
                    </a:lnTo>
                    <a:cubicBezTo>
                      <a:pt x="0" y="12764"/>
                      <a:pt x="12764" y="0"/>
                      <a:pt x="28575" y="0"/>
                    </a:cubicBezTo>
                    <a:lnTo>
                      <a:pt x="485775" y="0"/>
                    </a:lnTo>
                    <a:close/>
                    <a:moveTo>
                      <a:pt x="123825" y="142875"/>
                    </a:moveTo>
                    <a:cubicBezTo>
                      <a:pt x="105442" y="142875"/>
                      <a:pt x="90488" y="157829"/>
                      <a:pt x="90488" y="176213"/>
                    </a:cubicBezTo>
                    <a:cubicBezTo>
                      <a:pt x="90488" y="194596"/>
                      <a:pt x="105442" y="209550"/>
                      <a:pt x="123825" y="209550"/>
                    </a:cubicBezTo>
                    <a:cubicBezTo>
                      <a:pt x="142208" y="209550"/>
                      <a:pt x="157163" y="194596"/>
                      <a:pt x="157163" y="176213"/>
                    </a:cubicBezTo>
                    <a:cubicBezTo>
                      <a:pt x="157163" y="157829"/>
                      <a:pt x="142208" y="142875"/>
                      <a:pt x="123825" y="142875"/>
                    </a:cubicBezTo>
                    <a:close/>
                    <a:moveTo>
                      <a:pt x="257175" y="142875"/>
                    </a:moveTo>
                    <a:cubicBezTo>
                      <a:pt x="238792" y="142875"/>
                      <a:pt x="223838" y="157829"/>
                      <a:pt x="223838" y="176213"/>
                    </a:cubicBezTo>
                    <a:cubicBezTo>
                      <a:pt x="223838" y="194596"/>
                      <a:pt x="238792" y="209550"/>
                      <a:pt x="257175" y="209550"/>
                    </a:cubicBezTo>
                    <a:cubicBezTo>
                      <a:pt x="275558" y="209550"/>
                      <a:pt x="290513" y="194596"/>
                      <a:pt x="290513" y="176213"/>
                    </a:cubicBezTo>
                    <a:cubicBezTo>
                      <a:pt x="290513" y="157829"/>
                      <a:pt x="275558" y="142875"/>
                      <a:pt x="257175" y="142875"/>
                    </a:cubicBezTo>
                    <a:close/>
                    <a:moveTo>
                      <a:pt x="390525" y="142875"/>
                    </a:moveTo>
                    <a:cubicBezTo>
                      <a:pt x="372142" y="142875"/>
                      <a:pt x="357188" y="157829"/>
                      <a:pt x="357188" y="176213"/>
                    </a:cubicBezTo>
                    <a:cubicBezTo>
                      <a:pt x="357188" y="194596"/>
                      <a:pt x="372142" y="209550"/>
                      <a:pt x="390525" y="209550"/>
                    </a:cubicBezTo>
                    <a:cubicBezTo>
                      <a:pt x="408908" y="209550"/>
                      <a:pt x="423863" y="194596"/>
                      <a:pt x="423863" y="176213"/>
                    </a:cubicBezTo>
                    <a:cubicBezTo>
                      <a:pt x="423863" y="157829"/>
                      <a:pt x="408908" y="142875"/>
                      <a:pt x="390525" y="14287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miter lim="400000"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cxnSp>
            <p:nvCxnSpPr>
              <p:cNvPr id="68" name="i$ľïḑé">
                <a:extLst>
                  <a:ext uri="{FF2B5EF4-FFF2-40B4-BE49-F238E27FC236}">
                    <a16:creationId xmlns:a16="http://schemas.microsoft.com/office/drawing/2014/main" id="{87F9680A-F73C-41A7-91B9-539EC7C5A618}"/>
                  </a:ext>
                </a:extLst>
              </p:cNvPr>
              <p:cNvCxnSpPr>
                <a:cxnSpLocks/>
                <a:stCxn id="66" idx="6"/>
              </p:cNvCxnSpPr>
              <p:nvPr/>
            </p:nvCxnSpPr>
            <p:spPr>
              <a:xfrm>
                <a:off x="3060024" y="3516795"/>
                <a:ext cx="572782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3" name="i$líḓê">
              <a:extLst>
                <a:ext uri="{FF2B5EF4-FFF2-40B4-BE49-F238E27FC236}">
                  <a16:creationId xmlns:a16="http://schemas.microsoft.com/office/drawing/2014/main" id="{B8BC72F0-782B-4C75-941D-8CC4C797876B}"/>
                </a:ext>
              </a:extLst>
            </p:cNvPr>
            <p:cNvSpPr/>
            <p:nvPr/>
          </p:nvSpPr>
          <p:spPr bwMode="auto">
            <a:xfrm>
              <a:off x="7332551" y="1961489"/>
              <a:ext cx="4186349" cy="401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1200" dirty="0"/>
                <a:t>Copy paste fonts. Choose the only option to retain text.</a:t>
              </a:r>
            </a:p>
          </p:txBody>
        </p:sp>
        <p:sp>
          <p:nvSpPr>
            <p:cNvPr id="44" name="îsḷíḓe">
              <a:extLst>
                <a:ext uri="{FF2B5EF4-FFF2-40B4-BE49-F238E27FC236}">
                  <a16:creationId xmlns:a16="http://schemas.microsoft.com/office/drawing/2014/main" id="{C30F0D7A-11F9-4D64-9D98-C2AD4A933ECD}"/>
                </a:ext>
              </a:extLst>
            </p:cNvPr>
            <p:cNvSpPr/>
            <p:nvPr/>
          </p:nvSpPr>
          <p:spPr bwMode="auto">
            <a:xfrm>
              <a:off x="7332551" y="2549529"/>
              <a:ext cx="4186349" cy="401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1200" dirty="0"/>
                <a:t>Copy paste fonts. Choose the only option to retain text.</a:t>
              </a:r>
            </a:p>
          </p:txBody>
        </p:sp>
        <p:sp>
          <p:nvSpPr>
            <p:cNvPr id="45" name="iṧḷíďè">
              <a:extLst>
                <a:ext uri="{FF2B5EF4-FFF2-40B4-BE49-F238E27FC236}">
                  <a16:creationId xmlns:a16="http://schemas.microsoft.com/office/drawing/2014/main" id="{10AD500C-2D1D-489D-AB3E-D3231CE57A6E}"/>
                </a:ext>
              </a:extLst>
            </p:cNvPr>
            <p:cNvSpPr/>
            <p:nvPr/>
          </p:nvSpPr>
          <p:spPr bwMode="auto">
            <a:xfrm>
              <a:off x="7332551" y="3137569"/>
              <a:ext cx="4186349" cy="401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1200" dirty="0"/>
                <a:t>Copy paste fonts. Choose the only option to retain text.</a:t>
              </a:r>
            </a:p>
          </p:txBody>
        </p:sp>
        <p:sp>
          <p:nvSpPr>
            <p:cNvPr id="46" name="íśḷiḑe">
              <a:extLst>
                <a:ext uri="{FF2B5EF4-FFF2-40B4-BE49-F238E27FC236}">
                  <a16:creationId xmlns:a16="http://schemas.microsoft.com/office/drawing/2014/main" id="{16E2901F-AEA7-47D6-A089-C6C9BC694425}"/>
                </a:ext>
              </a:extLst>
            </p:cNvPr>
            <p:cNvSpPr/>
            <p:nvPr/>
          </p:nvSpPr>
          <p:spPr bwMode="auto">
            <a:xfrm>
              <a:off x="7332551" y="3725609"/>
              <a:ext cx="4186349" cy="401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1200" dirty="0"/>
                <a:t>Copy paste fonts. Choose the only option to retain text.</a:t>
              </a:r>
            </a:p>
          </p:txBody>
        </p:sp>
        <p:sp>
          <p:nvSpPr>
            <p:cNvPr id="47" name="îŝliḍe">
              <a:extLst>
                <a:ext uri="{FF2B5EF4-FFF2-40B4-BE49-F238E27FC236}">
                  <a16:creationId xmlns:a16="http://schemas.microsoft.com/office/drawing/2014/main" id="{775E02B6-02BF-4E2B-AC4E-65357122EB75}"/>
                </a:ext>
              </a:extLst>
            </p:cNvPr>
            <p:cNvSpPr/>
            <p:nvPr/>
          </p:nvSpPr>
          <p:spPr bwMode="auto">
            <a:xfrm>
              <a:off x="7332551" y="4313649"/>
              <a:ext cx="4186349" cy="401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1200" dirty="0"/>
                <a:t>Copy paste fonts. Choose the only option to retain text.</a:t>
              </a:r>
            </a:p>
          </p:txBody>
        </p:sp>
        <p:sp>
          <p:nvSpPr>
            <p:cNvPr id="48" name="íṣlîďê">
              <a:extLst>
                <a:ext uri="{FF2B5EF4-FFF2-40B4-BE49-F238E27FC236}">
                  <a16:creationId xmlns:a16="http://schemas.microsoft.com/office/drawing/2014/main" id="{99D82066-DDC2-4FB8-B4C6-4DB02F95D828}"/>
                </a:ext>
              </a:extLst>
            </p:cNvPr>
            <p:cNvSpPr/>
            <p:nvPr/>
          </p:nvSpPr>
          <p:spPr bwMode="auto">
            <a:xfrm>
              <a:off x="7332551" y="4901687"/>
              <a:ext cx="4186349" cy="401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1200" dirty="0"/>
                <a:t>Copy paste fonts. Choose the only option to retain text.</a:t>
              </a:r>
            </a:p>
          </p:txBody>
        </p:sp>
        <p:cxnSp>
          <p:nvCxnSpPr>
            <p:cNvPr id="49" name="íşḷíḓe">
              <a:extLst>
                <a:ext uri="{FF2B5EF4-FFF2-40B4-BE49-F238E27FC236}">
                  <a16:creationId xmlns:a16="http://schemas.microsoft.com/office/drawing/2014/main" id="{BB154CBF-7656-4E92-A08E-EE2CBE286B45}"/>
                </a:ext>
              </a:extLst>
            </p:cNvPr>
            <p:cNvCxnSpPr/>
            <p:nvPr/>
          </p:nvCxnSpPr>
          <p:spPr>
            <a:xfrm>
              <a:off x="6972552" y="2456121"/>
              <a:ext cx="4546348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iṡľiḋê">
              <a:extLst>
                <a:ext uri="{FF2B5EF4-FFF2-40B4-BE49-F238E27FC236}">
                  <a16:creationId xmlns:a16="http://schemas.microsoft.com/office/drawing/2014/main" id="{E9AD3B3A-4856-4099-86D0-D8C601D86943}"/>
                </a:ext>
              </a:extLst>
            </p:cNvPr>
            <p:cNvCxnSpPr/>
            <p:nvPr/>
          </p:nvCxnSpPr>
          <p:spPr>
            <a:xfrm>
              <a:off x="6972552" y="3044161"/>
              <a:ext cx="4546348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îṣliḑè">
              <a:extLst>
                <a:ext uri="{FF2B5EF4-FFF2-40B4-BE49-F238E27FC236}">
                  <a16:creationId xmlns:a16="http://schemas.microsoft.com/office/drawing/2014/main" id="{C6DD57C3-45A0-4B18-9F5C-F0A4D3CAE55A}"/>
                </a:ext>
              </a:extLst>
            </p:cNvPr>
            <p:cNvCxnSpPr/>
            <p:nvPr/>
          </p:nvCxnSpPr>
          <p:spPr>
            <a:xfrm>
              <a:off x="6972552" y="3632201"/>
              <a:ext cx="4546348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ïšļiďe">
              <a:extLst>
                <a:ext uri="{FF2B5EF4-FFF2-40B4-BE49-F238E27FC236}">
                  <a16:creationId xmlns:a16="http://schemas.microsoft.com/office/drawing/2014/main" id="{3589F396-117F-4EFA-9F16-FBE8BCF97484}"/>
                </a:ext>
              </a:extLst>
            </p:cNvPr>
            <p:cNvCxnSpPr/>
            <p:nvPr/>
          </p:nvCxnSpPr>
          <p:spPr>
            <a:xfrm>
              <a:off x="6972552" y="4220241"/>
              <a:ext cx="4546348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îṩḷîde">
              <a:extLst>
                <a:ext uri="{FF2B5EF4-FFF2-40B4-BE49-F238E27FC236}">
                  <a16:creationId xmlns:a16="http://schemas.microsoft.com/office/drawing/2014/main" id="{A6F3EC0F-3855-4036-99D2-3406EFF302D7}"/>
                </a:ext>
              </a:extLst>
            </p:cNvPr>
            <p:cNvCxnSpPr/>
            <p:nvPr/>
          </p:nvCxnSpPr>
          <p:spPr>
            <a:xfrm>
              <a:off x="6972552" y="4808280"/>
              <a:ext cx="4546348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ïṡḻïďê">
              <a:extLst>
                <a:ext uri="{FF2B5EF4-FFF2-40B4-BE49-F238E27FC236}">
                  <a16:creationId xmlns:a16="http://schemas.microsoft.com/office/drawing/2014/main" id="{48C868B2-E9DF-45DB-A799-19B714B24172}"/>
                </a:ext>
              </a:extLst>
            </p:cNvPr>
            <p:cNvSpPr/>
            <p:nvPr/>
          </p:nvSpPr>
          <p:spPr>
            <a:xfrm>
              <a:off x="7038975" y="2043564"/>
              <a:ext cx="251816" cy="23707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anchor="ctr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5" name="îşľîďe">
              <a:extLst>
                <a:ext uri="{FF2B5EF4-FFF2-40B4-BE49-F238E27FC236}">
                  <a16:creationId xmlns:a16="http://schemas.microsoft.com/office/drawing/2014/main" id="{B0763ACD-700B-4007-BCF4-5072434CC901}"/>
                </a:ext>
              </a:extLst>
            </p:cNvPr>
            <p:cNvSpPr/>
            <p:nvPr/>
          </p:nvSpPr>
          <p:spPr>
            <a:xfrm>
              <a:off x="7038975" y="3219644"/>
              <a:ext cx="251816" cy="23707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anchor="ctr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6" name="ïṩľiḍé">
              <a:extLst>
                <a:ext uri="{FF2B5EF4-FFF2-40B4-BE49-F238E27FC236}">
                  <a16:creationId xmlns:a16="http://schemas.microsoft.com/office/drawing/2014/main" id="{95E3C039-F3E0-4C65-B298-A7C8CE74A6F5}"/>
                </a:ext>
              </a:extLst>
            </p:cNvPr>
            <p:cNvSpPr/>
            <p:nvPr/>
          </p:nvSpPr>
          <p:spPr>
            <a:xfrm>
              <a:off x="7038975" y="4395724"/>
              <a:ext cx="251816" cy="23707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anchor="ctr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grpSp>
          <p:nvGrpSpPr>
            <p:cNvPr id="57" name="ïś1ïďê">
              <a:extLst>
                <a:ext uri="{FF2B5EF4-FFF2-40B4-BE49-F238E27FC236}">
                  <a16:creationId xmlns:a16="http://schemas.microsoft.com/office/drawing/2014/main" id="{58BBDD01-A537-4444-96F4-AE22D867B871}"/>
                </a:ext>
              </a:extLst>
            </p:cNvPr>
            <p:cNvGrpSpPr/>
            <p:nvPr/>
          </p:nvGrpSpPr>
          <p:grpSpPr>
            <a:xfrm>
              <a:off x="7038975" y="4983764"/>
              <a:ext cx="251816" cy="237074"/>
              <a:chOff x="0" y="0"/>
              <a:chExt cx="767929" cy="767929"/>
            </a:xfrm>
          </p:grpSpPr>
          <p:sp>
            <p:nvSpPr>
              <p:cNvPr id="64" name="iś1îḑè">
                <a:extLst>
                  <a:ext uri="{FF2B5EF4-FFF2-40B4-BE49-F238E27FC236}">
                    <a16:creationId xmlns:a16="http://schemas.microsoft.com/office/drawing/2014/main" id="{1DB52480-0E30-4A5B-AC7D-7105C11C984A}"/>
                  </a:ext>
                </a:extLst>
              </p:cNvPr>
              <p:cNvSpPr/>
              <p:nvPr/>
            </p:nvSpPr>
            <p:spPr>
              <a:xfrm>
                <a:off x="0" y="0"/>
                <a:ext cx="767929" cy="76792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6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65" name="íṥľidê">
                <a:extLst>
                  <a:ext uri="{FF2B5EF4-FFF2-40B4-BE49-F238E27FC236}">
                    <a16:creationId xmlns:a16="http://schemas.microsoft.com/office/drawing/2014/main" id="{8C2AFE44-FA51-40B5-8038-C23B249E2E0E}"/>
                  </a:ext>
                </a:extLst>
              </p:cNvPr>
              <p:cNvSpPr/>
              <p:nvPr/>
            </p:nvSpPr>
            <p:spPr>
              <a:xfrm>
                <a:off x="234638" y="227334"/>
                <a:ext cx="298653" cy="31326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004" h="21302" extrusionOk="0">
                    <a:moveTo>
                      <a:pt x="7816" y="21302"/>
                    </a:moveTo>
                    <a:cubicBezTo>
                      <a:pt x="7132" y="21302"/>
                      <a:pt x="6483" y="20993"/>
                      <a:pt x="6068" y="20461"/>
                    </a:cubicBezTo>
                    <a:lnTo>
                      <a:pt x="445" y="13277"/>
                    </a:lnTo>
                    <a:cubicBezTo>
                      <a:pt x="-287" y="12344"/>
                      <a:pt x="-97" y="11016"/>
                      <a:pt x="870" y="10308"/>
                    </a:cubicBezTo>
                    <a:cubicBezTo>
                      <a:pt x="1838" y="9597"/>
                      <a:pt x="3211" y="9785"/>
                      <a:pt x="3943" y="10719"/>
                    </a:cubicBezTo>
                    <a:lnTo>
                      <a:pt x="7643" y="15442"/>
                    </a:lnTo>
                    <a:lnTo>
                      <a:pt x="16946" y="999"/>
                    </a:lnTo>
                    <a:cubicBezTo>
                      <a:pt x="17586" y="6"/>
                      <a:pt x="18940" y="-298"/>
                      <a:pt x="19969" y="321"/>
                    </a:cubicBezTo>
                    <a:cubicBezTo>
                      <a:pt x="20997" y="939"/>
                      <a:pt x="21313" y="2248"/>
                      <a:pt x="20671" y="3243"/>
                    </a:cubicBezTo>
                    <a:lnTo>
                      <a:pt x="9680" y="20301"/>
                    </a:lnTo>
                    <a:cubicBezTo>
                      <a:pt x="9299" y="20896"/>
                      <a:pt x="8639" y="21267"/>
                      <a:pt x="7917" y="21299"/>
                    </a:cubicBezTo>
                    <a:cubicBezTo>
                      <a:pt x="7882" y="21302"/>
                      <a:pt x="7851" y="21302"/>
                      <a:pt x="7816" y="21302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</p:grpSp>
        <p:grpSp>
          <p:nvGrpSpPr>
            <p:cNvPr id="58" name="iŝļiḑé">
              <a:extLst>
                <a:ext uri="{FF2B5EF4-FFF2-40B4-BE49-F238E27FC236}">
                  <a16:creationId xmlns:a16="http://schemas.microsoft.com/office/drawing/2014/main" id="{37BAE2A8-E2F9-45EE-907A-E1A867234ECF}"/>
                </a:ext>
              </a:extLst>
            </p:cNvPr>
            <p:cNvGrpSpPr/>
            <p:nvPr/>
          </p:nvGrpSpPr>
          <p:grpSpPr>
            <a:xfrm>
              <a:off x="7038975" y="3807684"/>
              <a:ext cx="251816" cy="237074"/>
              <a:chOff x="0" y="0"/>
              <a:chExt cx="767929" cy="767929"/>
            </a:xfrm>
          </p:grpSpPr>
          <p:sp>
            <p:nvSpPr>
              <p:cNvPr id="62" name="ï$ḻíḍè">
                <a:extLst>
                  <a:ext uri="{FF2B5EF4-FFF2-40B4-BE49-F238E27FC236}">
                    <a16:creationId xmlns:a16="http://schemas.microsoft.com/office/drawing/2014/main" id="{8A6F76C4-B5B3-4854-B604-2FB061BEAE65}"/>
                  </a:ext>
                </a:extLst>
              </p:cNvPr>
              <p:cNvSpPr/>
              <p:nvPr/>
            </p:nvSpPr>
            <p:spPr>
              <a:xfrm>
                <a:off x="0" y="0"/>
                <a:ext cx="767929" cy="76792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6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63" name="îṥḻiďé">
                <a:extLst>
                  <a:ext uri="{FF2B5EF4-FFF2-40B4-BE49-F238E27FC236}">
                    <a16:creationId xmlns:a16="http://schemas.microsoft.com/office/drawing/2014/main" id="{2600CB25-760A-4C38-8255-E3BD852C9CA8}"/>
                  </a:ext>
                </a:extLst>
              </p:cNvPr>
              <p:cNvSpPr/>
              <p:nvPr/>
            </p:nvSpPr>
            <p:spPr>
              <a:xfrm>
                <a:off x="234638" y="227334"/>
                <a:ext cx="298653" cy="31326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004" h="21302" extrusionOk="0">
                    <a:moveTo>
                      <a:pt x="7816" y="21302"/>
                    </a:moveTo>
                    <a:cubicBezTo>
                      <a:pt x="7132" y="21302"/>
                      <a:pt x="6483" y="20993"/>
                      <a:pt x="6068" y="20461"/>
                    </a:cubicBezTo>
                    <a:lnTo>
                      <a:pt x="445" y="13277"/>
                    </a:lnTo>
                    <a:cubicBezTo>
                      <a:pt x="-287" y="12344"/>
                      <a:pt x="-97" y="11016"/>
                      <a:pt x="870" y="10308"/>
                    </a:cubicBezTo>
                    <a:cubicBezTo>
                      <a:pt x="1838" y="9597"/>
                      <a:pt x="3211" y="9785"/>
                      <a:pt x="3943" y="10719"/>
                    </a:cubicBezTo>
                    <a:lnTo>
                      <a:pt x="7643" y="15442"/>
                    </a:lnTo>
                    <a:lnTo>
                      <a:pt x="16946" y="999"/>
                    </a:lnTo>
                    <a:cubicBezTo>
                      <a:pt x="17586" y="6"/>
                      <a:pt x="18940" y="-298"/>
                      <a:pt x="19969" y="321"/>
                    </a:cubicBezTo>
                    <a:cubicBezTo>
                      <a:pt x="20997" y="939"/>
                      <a:pt x="21313" y="2248"/>
                      <a:pt x="20671" y="3243"/>
                    </a:cubicBezTo>
                    <a:lnTo>
                      <a:pt x="9680" y="20301"/>
                    </a:lnTo>
                    <a:cubicBezTo>
                      <a:pt x="9299" y="20896"/>
                      <a:pt x="8639" y="21267"/>
                      <a:pt x="7917" y="21299"/>
                    </a:cubicBezTo>
                    <a:cubicBezTo>
                      <a:pt x="7882" y="21302"/>
                      <a:pt x="7851" y="21302"/>
                      <a:pt x="7816" y="21302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</p:grpSp>
        <p:grpSp>
          <p:nvGrpSpPr>
            <p:cNvPr id="59" name="işļïḓé">
              <a:extLst>
                <a:ext uri="{FF2B5EF4-FFF2-40B4-BE49-F238E27FC236}">
                  <a16:creationId xmlns:a16="http://schemas.microsoft.com/office/drawing/2014/main" id="{75CEC95D-523E-4CBF-A433-4075DC27F834}"/>
                </a:ext>
              </a:extLst>
            </p:cNvPr>
            <p:cNvGrpSpPr/>
            <p:nvPr/>
          </p:nvGrpSpPr>
          <p:grpSpPr>
            <a:xfrm>
              <a:off x="7038975" y="2631604"/>
              <a:ext cx="251816" cy="237074"/>
              <a:chOff x="0" y="0"/>
              <a:chExt cx="767929" cy="767929"/>
            </a:xfrm>
          </p:grpSpPr>
          <p:sp>
            <p:nvSpPr>
              <p:cNvPr id="60" name="ïşľiḋè">
                <a:extLst>
                  <a:ext uri="{FF2B5EF4-FFF2-40B4-BE49-F238E27FC236}">
                    <a16:creationId xmlns:a16="http://schemas.microsoft.com/office/drawing/2014/main" id="{3DD6C5E7-F53C-45E2-8D52-5FED925D5257}"/>
                  </a:ext>
                </a:extLst>
              </p:cNvPr>
              <p:cNvSpPr/>
              <p:nvPr/>
            </p:nvSpPr>
            <p:spPr>
              <a:xfrm>
                <a:off x="0" y="0"/>
                <a:ext cx="767929" cy="76792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6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61" name="ïṣlîdê">
                <a:extLst>
                  <a:ext uri="{FF2B5EF4-FFF2-40B4-BE49-F238E27FC236}">
                    <a16:creationId xmlns:a16="http://schemas.microsoft.com/office/drawing/2014/main" id="{DD29EB93-D2FD-4A1C-8BBE-891E6B5E4B66}"/>
                  </a:ext>
                </a:extLst>
              </p:cNvPr>
              <p:cNvSpPr/>
              <p:nvPr/>
            </p:nvSpPr>
            <p:spPr>
              <a:xfrm>
                <a:off x="234638" y="227334"/>
                <a:ext cx="298653" cy="31326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004" h="21302" extrusionOk="0">
                    <a:moveTo>
                      <a:pt x="7816" y="21302"/>
                    </a:moveTo>
                    <a:cubicBezTo>
                      <a:pt x="7132" y="21302"/>
                      <a:pt x="6483" y="20993"/>
                      <a:pt x="6068" y="20461"/>
                    </a:cubicBezTo>
                    <a:lnTo>
                      <a:pt x="445" y="13277"/>
                    </a:lnTo>
                    <a:cubicBezTo>
                      <a:pt x="-287" y="12344"/>
                      <a:pt x="-97" y="11016"/>
                      <a:pt x="870" y="10308"/>
                    </a:cubicBezTo>
                    <a:cubicBezTo>
                      <a:pt x="1838" y="9597"/>
                      <a:pt x="3211" y="9785"/>
                      <a:pt x="3943" y="10719"/>
                    </a:cubicBezTo>
                    <a:lnTo>
                      <a:pt x="7643" y="15442"/>
                    </a:lnTo>
                    <a:lnTo>
                      <a:pt x="16946" y="999"/>
                    </a:lnTo>
                    <a:cubicBezTo>
                      <a:pt x="17586" y="6"/>
                      <a:pt x="18940" y="-298"/>
                      <a:pt x="19969" y="321"/>
                    </a:cubicBezTo>
                    <a:cubicBezTo>
                      <a:pt x="20997" y="939"/>
                      <a:pt x="21313" y="2248"/>
                      <a:pt x="20671" y="3243"/>
                    </a:cubicBezTo>
                    <a:lnTo>
                      <a:pt x="9680" y="20301"/>
                    </a:lnTo>
                    <a:cubicBezTo>
                      <a:pt x="9299" y="20896"/>
                      <a:pt x="8639" y="21267"/>
                      <a:pt x="7917" y="21299"/>
                    </a:cubicBezTo>
                    <a:cubicBezTo>
                      <a:pt x="7882" y="21302"/>
                      <a:pt x="7851" y="21302"/>
                      <a:pt x="7816" y="21302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11401150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ṥḷíd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ŝḻîďe">
            <a:extLst>
              <a:ext uri="{FF2B5EF4-FFF2-40B4-BE49-F238E27FC236}">
                <a16:creationId xmlns:a16="http://schemas.microsoft.com/office/drawing/2014/main" id="{74587818-97FA-4CF2-A501-AF0B92C7E9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í$ḷîde">
            <a:extLst>
              <a:ext uri="{FF2B5EF4-FFF2-40B4-BE49-F238E27FC236}">
                <a16:creationId xmlns:a16="http://schemas.microsoft.com/office/drawing/2014/main" id="{07B7DEC1-AC2E-4495-8322-12DBC1A914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ísḻïḋé">
            <a:extLst>
              <a:ext uri="{FF2B5EF4-FFF2-40B4-BE49-F238E27FC236}">
                <a16:creationId xmlns:a16="http://schemas.microsoft.com/office/drawing/2014/main" id="{BEF31FA6-B7FE-4002-A036-66A5D12D89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grpSp>
        <p:nvGrpSpPr>
          <p:cNvPr id="59" name="iŝ1íḓê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F861429A-44B7-4CDB-AE58-8FF514C8A171}"/>
              </a:ext>
            </a:extLst>
          </p:cNvPr>
          <p:cNvGrpSpPr>
            <a:grpSpLocks noChangeAspect="1"/>
          </p:cNvGrpSpPr>
          <p:nvPr/>
        </p:nvGrpSpPr>
        <p:grpSpPr>
          <a:xfrm>
            <a:off x="671512" y="1130299"/>
            <a:ext cx="10848976" cy="5013326"/>
            <a:chOff x="671512" y="1130299"/>
            <a:chExt cx="10848976" cy="5013326"/>
          </a:xfrm>
        </p:grpSpPr>
        <p:grpSp>
          <p:nvGrpSpPr>
            <p:cNvPr id="60" name="iSľidè">
              <a:extLst>
                <a:ext uri="{FF2B5EF4-FFF2-40B4-BE49-F238E27FC236}">
                  <a16:creationId xmlns:a16="http://schemas.microsoft.com/office/drawing/2014/main" id="{1B8A8B0D-2926-4499-BDA8-2D9E716B443B}"/>
                </a:ext>
              </a:extLst>
            </p:cNvPr>
            <p:cNvGrpSpPr>
              <a:grpSpLocks/>
            </p:cNvGrpSpPr>
            <p:nvPr/>
          </p:nvGrpSpPr>
          <p:grpSpPr>
            <a:xfrm>
              <a:off x="671512" y="2070792"/>
              <a:ext cx="3191361" cy="3191361"/>
              <a:chOff x="4829175" y="2371725"/>
              <a:chExt cx="2533650" cy="2533650"/>
            </a:xfrm>
          </p:grpSpPr>
          <p:sp>
            <p:nvSpPr>
              <p:cNvPr id="75" name="iŝḻïďe">
                <a:extLst>
                  <a:ext uri="{FF2B5EF4-FFF2-40B4-BE49-F238E27FC236}">
                    <a16:creationId xmlns:a16="http://schemas.microsoft.com/office/drawing/2014/main" id="{FEFEBA43-129D-4AAE-8DF2-EE600D5C74FC}"/>
                  </a:ext>
                </a:extLst>
              </p:cNvPr>
              <p:cNvSpPr/>
              <p:nvPr/>
            </p:nvSpPr>
            <p:spPr>
              <a:xfrm>
                <a:off x="4829175" y="2371725"/>
                <a:ext cx="2533650" cy="2533650"/>
              </a:xfrm>
              <a:prstGeom prst="ellipse">
                <a:avLst/>
              </a:prstGeom>
              <a:blipFill>
                <a:blip r:embed="rId3"/>
                <a:stretch>
                  <a:fillRect l="-25099" r="-24901"/>
                </a:stretch>
              </a:blip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77"/>
                <a:endParaRPr/>
              </a:p>
            </p:txBody>
          </p:sp>
          <p:sp>
            <p:nvSpPr>
              <p:cNvPr id="76" name="ïṡ1íďe">
                <a:extLst>
                  <a:ext uri="{FF2B5EF4-FFF2-40B4-BE49-F238E27FC236}">
                    <a16:creationId xmlns:a16="http://schemas.microsoft.com/office/drawing/2014/main" id="{9E8E43D6-6883-4499-B1E6-7A8910F3E0BB}"/>
                  </a:ext>
                </a:extLst>
              </p:cNvPr>
              <p:cNvSpPr/>
              <p:nvPr/>
            </p:nvSpPr>
            <p:spPr>
              <a:xfrm>
                <a:off x="5348432" y="2890982"/>
                <a:ext cx="1495136" cy="1495136"/>
              </a:xfrm>
              <a:prstGeom prst="ellipse">
                <a:avLst/>
              </a:prstGeom>
              <a:solidFill>
                <a:schemeClr val="accent1">
                  <a:alpha val="7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77"/>
                <a:r>
                  <a:rPr lang="en-US" dirty="0"/>
                  <a:t>Text</a:t>
                </a:r>
                <a:endParaRPr dirty="0"/>
              </a:p>
            </p:txBody>
          </p:sp>
        </p:grpSp>
        <p:sp>
          <p:nvSpPr>
            <p:cNvPr id="61" name="îsļiḋe">
              <a:extLst>
                <a:ext uri="{FF2B5EF4-FFF2-40B4-BE49-F238E27FC236}">
                  <a16:creationId xmlns:a16="http://schemas.microsoft.com/office/drawing/2014/main" id="{1FECFE0E-ED4F-4E41-A125-54888BA7E8F5}"/>
                </a:ext>
              </a:extLst>
            </p:cNvPr>
            <p:cNvSpPr/>
            <p:nvPr/>
          </p:nvSpPr>
          <p:spPr>
            <a:xfrm>
              <a:off x="3818849" y="2944679"/>
              <a:ext cx="7701639" cy="1387742"/>
            </a:xfrm>
            <a:custGeom>
              <a:avLst/>
              <a:gdLst>
                <a:gd name="connsiteX0" fmla="*/ 0 w 8051652"/>
                <a:gd name="connsiteY0" fmla="*/ 0 h 1530159"/>
                <a:gd name="connsiteX1" fmla="*/ 8051652 w 8051652"/>
                <a:gd name="connsiteY1" fmla="*/ 0 h 1530159"/>
                <a:gd name="connsiteX2" fmla="*/ 8051652 w 8051652"/>
                <a:gd name="connsiteY2" fmla="*/ 1530159 h 1530159"/>
                <a:gd name="connsiteX3" fmla="*/ 0 w 8051652"/>
                <a:gd name="connsiteY3" fmla="*/ 1530159 h 1530159"/>
                <a:gd name="connsiteX4" fmla="*/ 64523 w 8051652"/>
                <a:gd name="connsiteY4" fmla="*/ 1353871 h 1530159"/>
                <a:gd name="connsiteX5" fmla="*/ 153539 w 8051652"/>
                <a:gd name="connsiteY5" fmla="*/ 765079 h 1530159"/>
                <a:gd name="connsiteX6" fmla="*/ 64523 w 8051652"/>
                <a:gd name="connsiteY6" fmla="*/ 176288 h 1530159"/>
                <a:gd name="connsiteX0" fmla="*/ 0 w 8153252"/>
                <a:gd name="connsiteY0" fmla="*/ 0 h 1530159"/>
                <a:gd name="connsiteX1" fmla="*/ 8051652 w 8153252"/>
                <a:gd name="connsiteY1" fmla="*/ 0 h 1530159"/>
                <a:gd name="connsiteX2" fmla="*/ 8153252 w 8153252"/>
                <a:gd name="connsiteY2" fmla="*/ 1530159 h 1530159"/>
                <a:gd name="connsiteX3" fmla="*/ 0 w 8153252"/>
                <a:gd name="connsiteY3" fmla="*/ 1530159 h 1530159"/>
                <a:gd name="connsiteX4" fmla="*/ 64523 w 8153252"/>
                <a:gd name="connsiteY4" fmla="*/ 1353871 h 1530159"/>
                <a:gd name="connsiteX5" fmla="*/ 153539 w 8153252"/>
                <a:gd name="connsiteY5" fmla="*/ 765079 h 1530159"/>
                <a:gd name="connsiteX6" fmla="*/ 64523 w 8153252"/>
                <a:gd name="connsiteY6" fmla="*/ 176288 h 1530159"/>
                <a:gd name="connsiteX7" fmla="*/ 0 w 8153252"/>
                <a:gd name="connsiteY7" fmla="*/ 0 h 1530159"/>
                <a:gd name="connsiteX0" fmla="*/ 0 w 8162488"/>
                <a:gd name="connsiteY0" fmla="*/ 9237 h 1539396"/>
                <a:gd name="connsiteX1" fmla="*/ 8162488 w 8162488"/>
                <a:gd name="connsiteY1" fmla="*/ 0 h 1539396"/>
                <a:gd name="connsiteX2" fmla="*/ 8153252 w 8162488"/>
                <a:gd name="connsiteY2" fmla="*/ 1539396 h 1539396"/>
                <a:gd name="connsiteX3" fmla="*/ 0 w 8162488"/>
                <a:gd name="connsiteY3" fmla="*/ 1539396 h 1539396"/>
                <a:gd name="connsiteX4" fmla="*/ 64523 w 8162488"/>
                <a:gd name="connsiteY4" fmla="*/ 1363108 h 1539396"/>
                <a:gd name="connsiteX5" fmla="*/ 153539 w 8162488"/>
                <a:gd name="connsiteY5" fmla="*/ 774316 h 1539396"/>
                <a:gd name="connsiteX6" fmla="*/ 64523 w 8162488"/>
                <a:gd name="connsiteY6" fmla="*/ 185525 h 1539396"/>
                <a:gd name="connsiteX7" fmla="*/ 0 w 8162488"/>
                <a:gd name="connsiteY7" fmla="*/ 9237 h 1539396"/>
                <a:gd name="connsiteX0" fmla="*/ 0 w 8319550"/>
                <a:gd name="connsiteY0" fmla="*/ 9237 h 1539396"/>
                <a:gd name="connsiteX1" fmla="*/ 8162488 w 8319550"/>
                <a:gd name="connsiteY1" fmla="*/ 0 h 1539396"/>
                <a:gd name="connsiteX2" fmla="*/ 8319507 w 8319550"/>
                <a:gd name="connsiteY2" fmla="*/ 1539396 h 1539396"/>
                <a:gd name="connsiteX3" fmla="*/ 0 w 8319550"/>
                <a:gd name="connsiteY3" fmla="*/ 1539396 h 1539396"/>
                <a:gd name="connsiteX4" fmla="*/ 64523 w 8319550"/>
                <a:gd name="connsiteY4" fmla="*/ 1363108 h 1539396"/>
                <a:gd name="connsiteX5" fmla="*/ 153539 w 8319550"/>
                <a:gd name="connsiteY5" fmla="*/ 774316 h 1539396"/>
                <a:gd name="connsiteX6" fmla="*/ 64523 w 8319550"/>
                <a:gd name="connsiteY6" fmla="*/ 185525 h 1539396"/>
                <a:gd name="connsiteX7" fmla="*/ 0 w 8319550"/>
                <a:gd name="connsiteY7" fmla="*/ 9237 h 1539396"/>
                <a:gd name="connsiteX0" fmla="*/ 0 w 8320171"/>
                <a:gd name="connsiteY0" fmla="*/ 0 h 1530159"/>
                <a:gd name="connsiteX1" fmla="*/ 8316867 w 8320171"/>
                <a:gd name="connsiteY1" fmla="*/ 2638 h 1530159"/>
                <a:gd name="connsiteX2" fmla="*/ 8319507 w 8320171"/>
                <a:gd name="connsiteY2" fmla="*/ 1530159 h 1530159"/>
                <a:gd name="connsiteX3" fmla="*/ 0 w 8320171"/>
                <a:gd name="connsiteY3" fmla="*/ 1530159 h 1530159"/>
                <a:gd name="connsiteX4" fmla="*/ 64523 w 8320171"/>
                <a:gd name="connsiteY4" fmla="*/ 1353871 h 1530159"/>
                <a:gd name="connsiteX5" fmla="*/ 153539 w 8320171"/>
                <a:gd name="connsiteY5" fmla="*/ 765079 h 1530159"/>
                <a:gd name="connsiteX6" fmla="*/ 64523 w 8320171"/>
                <a:gd name="connsiteY6" fmla="*/ 176288 h 1530159"/>
                <a:gd name="connsiteX7" fmla="*/ 0 w 8320171"/>
                <a:gd name="connsiteY7" fmla="*/ 0 h 1530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320171" h="1530159">
                  <a:moveTo>
                    <a:pt x="0" y="0"/>
                  </a:moveTo>
                  <a:lnTo>
                    <a:pt x="8316867" y="2638"/>
                  </a:lnTo>
                  <a:cubicBezTo>
                    <a:pt x="8313788" y="515770"/>
                    <a:pt x="8322586" y="1017027"/>
                    <a:pt x="8319507" y="1530159"/>
                  </a:cubicBezTo>
                  <a:lnTo>
                    <a:pt x="0" y="1530159"/>
                  </a:lnTo>
                  <a:lnTo>
                    <a:pt x="64523" y="1353871"/>
                  </a:lnTo>
                  <a:cubicBezTo>
                    <a:pt x="122374" y="1167872"/>
                    <a:pt x="153539" y="970115"/>
                    <a:pt x="153539" y="765079"/>
                  </a:cubicBezTo>
                  <a:cubicBezTo>
                    <a:pt x="153539" y="560043"/>
                    <a:pt x="122374" y="362287"/>
                    <a:pt x="64523" y="17628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id-ID" dirty="0"/>
            </a:p>
          </p:txBody>
        </p:sp>
        <p:sp>
          <p:nvSpPr>
            <p:cNvPr id="62" name="ïsliḋè">
              <a:extLst>
                <a:ext uri="{FF2B5EF4-FFF2-40B4-BE49-F238E27FC236}">
                  <a16:creationId xmlns:a16="http://schemas.microsoft.com/office/drawing/2014/main" id="{54CD4163-96B9-4118-9941-2975C5D1FCA2}"/>
                </a:ext>
              </a:extLst>
            </p:cNvPr>
            <p:cNvSpPr txBox="1"/>
            <p:nvPr/>
          </p:nvSpPr>
          <p:spPr bwMode="auto">
            <a:xfrm>
              <a:off x="3818850" y="4598824"/>
              <a:ext cx="3720386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 dirty="0"/>
                <a:t>Text here</a:t>
              </a:r>
            </a:p>
          </p:txBody>
        </p:sp>
        <p:sp>
          <p:nvSpPr>
            <p:cNvPr id="63" name="îṥ1iḍê">
              <a:extLst>
                <a:ext uri="{FF2B5EF4-FFF2-40B4-BE49-F238E27FC236}">
                  <a16:creationId xmlns:a16="http://schemas.microsoft.com/office/drawing/2014/main" id="{792C37B9-E997-47BC-9006-C4F7319DA6C5}"/>
                </a:ext>
              </a:extLst>
            </p:cNvPr>
            <p:cNvSpPr/>
            <p:nvPr/>
          </p:nvSpPr>
          <p:spPr bwMode="auto">
            <a:xfrm>
              <a:off x="3818850" y="5040630"/>
              <a:ext cx="3720386" cy="8669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Supporting text here. 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When you copy &amp; paste, choose "keep text only" option.</a:t>
              </a:r>
            </a:p>
          </p:txBody>
        </p:sp>
        <p:sp>
          <p:nvSpPr>
            <p:cNvPr id="64" name="îslíḑè">
              <a:extLst>
                <a:ext uri="{FF2B5EF4-FFF2-40B4-BE49-F238E27FC236}">
                  <a16:creationId xmlns:a16="http://schemas.microsoft.com/office/drawing/2014/main" id="{548682FC-3A2F-47B6-99F2-3B3F9BF2E45B}"/>
                </a:ext>
              </a:extLst>
            </p:cNvPr>
            <p:cNvSpPr txBox="1"/>
            <p:nvPr/>
          </p:nvSpPr>
          <p:spPr bwMode="auto">
            <a:xfrm>
              <a:off x="7800102" y="4598824"/>
              <a:ext cx="3720386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 dirty="0"/>
                <a:t>Text here</a:t>
              </a:r>
            </a:p>
          </p:txBody>
        </p:sp>
        <p:sp>
          <p:nvSpPr>
            <p:cNvPr id="65" name="íṡlîdê">
              <a:extLst>
                <a:ext uri="{FF2B5EF4-FFF2-40B4-BE49-F238E27FC236}">
                  <a16:creationId xmlns:a16="http://schemas.microsoft.com/office/drawing/2014/main" id="{546E54F7-4E80-4A06-8EE6-C9FCF5D51E80}"/>
                </a:ext>
              </a:extLst>
            </p:cNvPr>
            <p:cNvSpPr/>
            <p:nvPr/>
          </p:nvSpPr>
          <p:spPr bwMode="auto">
            <a:xfrm>
              <a:off x="7800102" y="5040630"/>
              <a:ext cx="3720386" cy="8669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Supporting text here. 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When you copy &amp; paste, choose "keep text only" option.</a:t>
              </a:r>
            </a:p>
          </p:txBody>
        </p:sp>
        <p:sp>
          <p:nvSpPr>
            <p:cNvPr id="66" name="îšḻïḓé">
              <a:extLst>
                <a:ext uri="{FF2B5EF4-FFF2-40B4-BE49-F238E27FC236}">
                  <a16:creationId xmlns:a16="http://schemas.microsoft.com/office/drawing/2014/main" id="{087BA2DB-F48F-44D7-9796-E9EA8A9B3ED9}"/>
                </a:ext>
              </a:extLst>
            </p:cNvPr>
            <p:cNvSpPr txBox="1"/>
            <p:nvPr/>
          </p:nvSpPr>
          <p:spPr>
            <a:xfrm>
              <a:off x="3817259" y="1130299"/>
              <a:ext cx="7701640" cy="58192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buSzPct val="25000"/>
              </a:pPr>
              <a:r>
                <a:rPr lang="en-US" sz="2800" dirty="0">
                  <a:solidFill>
                    <a:srgbClr val="3A3838"/>
                  </a:solidFill>
                </a:rPr>
                <a:t>Unified fonts make reading more fluent.</a:t>
              </a:r>
            </a:p>
          </p:txBody>
        </p:sp>
        <p:sp>
          <p:nvSpPr>
            <p:cNvPr id="67" name="isḷíḍê">
              <a:extLst>
                <a:ext uri="{FF2B5EF4-FFF2-40B4-BE49-F238E27FC236}">
                  <a16:creationId xmlns:a16="http://schemas.microsoft.com/office/drawing/2014/main" id="{D0C41772-C80D-4626-82E7-81E7A3F34A70}"/>
                </a:ext>
              </a:extLst>
            </p:cNvPr>
            <p:cNvSpPr txBox="1"/>
            <p:nvPr/>
          </p:nvSpPr>
          <p:spPr>
            <a:xfrm>
              <a:off x="3817259" y="1894706"/>
              <a:ext cx="7701637" cy="59448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  <a:buSzPct val="25000"/>
              </a:pPr>
              <a:r>
                <a:rPr lang="en-US" sz="1100" dirty="0"/>
                <a:t>Theme color makes PPT more convenient to change.</a:t>
              </a:r>
            </a:p>
            <a:p>
              <a:pPr algn="ctr">
                <a:lnSpc>
                  <a:spcPct val="150000"/>
                </a:lnSpc>
                <a:buSzPct val="25000"/>
              </a:pPr>
              <a:r>
                <a:rPr lang="en-US" sz="1100" dirty="0"/>
                <a:t>Adjust the spacing to adapt to Chinese typesetting, use the reference line in PPT.</a:t>
              </a:r>
            </a:p>
          </p:txBody>
        </p:sp>
        <p:cxnSp>
          <p:nvCxnSpPr>
            <p:cNvPr id="68" name="išľíḍè">
              <a:extLst>
                <a:ext uri="{FF2B5EF4-FFF2-40B4-BE49-F238E27FC236}">
                  <a16:creationId xmlns:a16="http://schemas.microsoft.com/office/drawing/2014/main" id="{C9C49D84-9E5E-4810-94AC-44F710446237}"/>
                </a:ext>
              </a:extLst>
            </p:cNvPr>
            <p:cNvCxnSpPr/>
            <p:nvPr/>
          </p:nvCxnSpPr>
          <p:spPr>
            <a:xfrm>
              <a:off x="7669669" y="4332421"/>
              <a:ext cx="0" cy="181120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9" name="iŝḻiḑé">
              <a:extLst>
                <a:ext uri="{FF2B5EF4-FFF2-40B4-BE49-F238E27FC236}">
                  <a16:creationId xmlns:a16="http://schemas.microsoft.com/office/drawing/2014/main" id="{1081A600-4D85-4782-875A-F2F3EB6863F0}"/>
                </a:ext>
              </a:extLst>
            </p:cNvPr>
            <p:cNvGrpSpPr/>
            <p:nvPr/>
          </p:nvGrpSpPr>
          <p:grpSpPr>
            <a:xfrm>
              <a:off x="5146296" y="3133726"/>
              <a:ext cx="1065494" cy="1065494"/>
              <a:chOff x="4502103" y="3065744"/>
              <a:chExt cx="1065494" cy="1065494"/>
            </a:xfrm>
          </p:grpSpPr>
          <p:sp>
            <p:nvSpPr>
              <p:cNvPr id="73" name="ïṡļíḓê">
                <a:extLst>
                  <a:ext uri="{FF2B5EF4-FFF2-40B4-BE49-F238E27FC236}">
                    <a16:creationId xmlns:a16="http://schemas.microsoft.com/office/drawing/2014/main" id="{6108FB2A-BFC1-414F-A3BF-8DBC57D0403A}"/>
                  </a:ext>
                </a:extLst>
              </p:cNvPr>
              <p:cNvSpPr/>
              <p:nvPr/>
            </p:nvSpPr>
            <p:spPr>
              <a:xfrm>
                <a:off x="4502103" y="3065744"/>
                <a:ext cx="1065494" cy="106549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sp>
            <p:nvSpPr>
              <p:cNvPr id="74" name="ïs1íḑè">
                <a:extLst>
                  <a:ext uri="{FF2B5EF4-FFF2-40B4-BE49-F238E27FC236}">
                    <a16:creationId xmlns:a16="http://schemas.microsoft.com/office/drawing/2014/main" id="{DDE96942-CDE2-4932-8B9F-CFAEC6150D4C}"/>
                  </a:ext>
                </a:extLst>
              </p:cNvPr>
              <p:cNvSpPr/>
              <p:nvPr/>
            </p:nvSpPr>
            <p:spPr>
              <a:xfrm>
                <a:off x="4740128" y="3281557"/>
                <a:ext cx="589443" cy="633864"/>
              </a:xfrm>
              <a:custGeom>
                <a:avLst/>
                <a:gdLst>
                  <a:gd name="connsiteX0" fmla="*/ 8038 w 487162"/>
                  <a:gd name="connsiteY0" fmla="*/ 513398 h 523875"/>
                  <a:gd name="connsiteX1" fmla="*/ 7467 w 487162"/>
                  <a:gd name="connsiteY1" fmla="*/ 512731 h 523875"/>
                  <a:gd name="connsiteX2" fmla="*/ 7467 w 487162"/>
                  <a:gd name="connsiteY2" fmla="*/ 512731 h 523875"/>
                  <a:gd name="connsiteX3" fmla="*/ 6991 w 487162"/>
                  <a:gd name="connsiteY3" fmla="*/ 512064 h 523875"/>
                  <a:gd name="connsiteX4" fmla="*/ 4990 w 487162"/>
                  <a:gd name="connsiteY4" fmla="*/ 509016 h 523875"/>
                  <a:gd name="connsiteX5" fmla="*/ 4990 w 487162"/>
                  <a:gd name="connsiteY5" fmla="*/ 509016 h 523875"/>
                  <a:gd name="connsiteX6" fmla="*/ 4514 w 487162"/>
                  <a:gd name="connsiteY6" fmla="*/ 508254 h 523875"/>
                  <a:gd name="connsiteX7" fmla="*/ 3752 w 487162"/>
                  <a:gd name="connsiteY7" fmla="*/ 506730 h 523875"/>
                  <a:gd name="connsiteX8" fmla="*/ 3085 w 487162"/>
                  <a:gd name="connsiteY8" fmla="*/ 505111 h 523875"/>
                  <a:gd name="connsiteX9" fmla="*/ 2990 w 487162"/>
                  <a:gd name="connsiteY9" fmla="*/ 504920 h 523875"/>
                  <a:gd name="connsiteX10" fmla="*/ 2895 w 487162"/>
                  <a:gd name="connsiteY10" fmla="*/ 504635 h 523875"/>
                  <a:gd name="connsiteX11" fmla="*/ 2895 w 487162"/>
                  <a:gd name="connsiteY11" fmla="*/ 504444 h 523875"/>
                  <a:gd name="connsiteX12" fmla="*/ 2228 w 487162"/>
                  <a:gd name="connsiteY12" fmla="*/ 502444 h 523875"/>
                  <a:gd name="connsiteX13" fmla="*/ 1847 w 487162"/>
                  <a:gd name="connsiteY13" fmla="*/ 501110 h 523875"/>
                  <a:gd name="connsiteX14" fmla="*/ 1371 w 487162"/>
                  <a:gd name="connsiteY14" fmla="*/ 499205 h 523875"/>
                  <a:gd name="connsiteX15" fmla="*/ 514 w 487162"/>
                  <a:gd name="connsiteY15" fmla="*/ 494919 h 523875"/>
                  <a:gd name="connsiteX16" fmla="*/ 228 w 487162"/>
                  <a:gd name="connsiteY16" fmla="*/ 492443 h 523875"/>
                  <a:gd name="connsiteX17" fmla="*/ 37 w 487162"/>
                  <a:gd name="connsiteY17" fmla="*/ 485870 h 523875"/>
                  <a:gd name="connsiteX18" fmla="*/ 4609 w 487162"/>
                  <a:gd name="connsiteY18" fmla="*/ 467582 h 523875"/>
                  <a:gd name="connsiteX19" fmla="*/ 154247 w 487162"/>
                  <a:gd name="connsiteY19" fmla="*/ 150876 h 523875"/>
                  <a:gd name="connsiteX20" fmla="*/ 157867 w 487162"/>
                  <a:gd name="connsiteY20" fmla="*/ 134588 h 523875"/>
                  <a:gd name="connsiteX21" fmla="*/ 157867 w 487162"/>
                  <a:gd name="connsiteY21" fmla="*/ 19050 h 523875"/>
                  <a:gd name="connsiteX22" fmla="*/ 119767 w 487162"/>
                  <a:gd name="connsiteY22" fmla="*/ 19050 h 523875"/>
                  <a:gd name="connsiteX23" fmla="*/ 119767 w 487162"/>
                  <a:gd name="connsiteY23" fmla="*/ 0 h 523875"/>
                  <a:gd name="connsiteX24" fmla="*/ 367417 w 487162"/>
                  <a:gd name="connsiteY24" fmla="*/ 0 h 523875"/>
                  <a:gd name="connsiteX25" fmla="*/ 367417 w 487162"/>
                  <a:gd name="connsiteY25" fmla="*/ 19050 h 523875"/>
                  <a:gd name="connsiteX26" fmla="*/ 329317 w 487162"/>
                  <a:gd name="connsiteY26" fmla="*/ 19050 h 523875"/>
                  <a:gd name="connsiteX27" fmla="*/ 329317 w 487162"/>
                  <a:gd name="connsiteY27" fmla="*/ 134684 h 523875"/>
                  <a:gd name="connsiteX28" fmla="*/ 332936 w 487162"/>
                  <a:gd name="connsiteY28" fmla="*/ 150971 h 523875"/>
                  <a:gd name="connsiteX29" fmla="*/ 482574 w 487162"/>
                  <a:gd name="connsiteY29" fmla="*/ 467678 h 523875"/>
                  <a:gd name="connsiteX30" fmla="*/ 484098 w 487162"/>
                  <a:gd name="connsiteY30" fmla="*/ 504920 h 523875"/>
                  <a:gd name="connsiteX31" fmla="*/ 484003 w 487162"/>
                  <a:gd name="connsiteY31" fmla="*/ 505111 h 523875"/>
                  <a:gd name="connsiteX32" fmla="*/ 483431 w 487162"/>
                  <a:gd name="connsiteY32" fmla="*/ 506540 h 523875"/>
                  <a:gd name="connsiteX33" fmla="*/ 458571 w 487162"/>
                  <a:gd name="connsiteY33" fmla="*/ 523780 h 523875"/>
                  <a:gd name="connsiteX34" fmla="*/ 456666 w 487162"/>
                  <a:gd name="connsiteY34" fmla="*/ 523875 h 523875"/>
                  <a:gd name="connsiteX35" fmla="*/ 30422 w 487162"/>
                  <a:gd name="connsiteY35" fmla="*/ 523875 h 523875"/>
                  <a:gd name="connsiteX36" fmla="*/ 28612 w 487162"/>
                  <a:gd name="connsiteY36" fmla="*/ 523780 h 523875"/>
                  <a:gd name="connsiteX37" fmla="*/ 26136 w 487162"/>
                  <a:gd name="connsiteY37" fmla="*/ 523494 h 523875"/>
                  <a:gd name="connsiteX38" fmla="*/ 22326 w 487162"/>
                  <a:gd name="connsiteY38" fmla="*/ 522637 h 523875"/>
                  <a:gd name="connsiteX39" fmla="*/ 22326 w 487162"/>
                  <a:gd name="connsiteY39" fmla="*/ 522637 h 523875"/>
                  <a:gd name="connsiteX40" fmla="*/ 16801 w 487162"/>
                  <a:gd name="connsiteY40" fmla="*/ 520351 h 523875"/>
                  <a:gd name="connsiteX41" fmla="*/ 15373 w 487162"/>
                  <a:gd name="connsiteY41" fmla="*/ 519589 h 523875"/>
                  <a:gd name="connsiteX42" fmla="*/ 14420 w 487162"/>
                  <a:gd name="connsiteY42" fmla="*/ 519017 h 523875"/>
                  <a:gd name="connsiteX43" fmla="*/ 9467 w 487162"/>
                  <a:gd name="connsiteY43" fmla="*/ 514922 h 523875"/>
                  <a:gd name="connsiteX44" fmla="*/ 8038 w 487162"/>
                  <a:gd name="connsiteY44" fmla="*/ 513398 h 523875"/>
                  <a:gd name="connsiteX45" fmla="*/ 8038 w 487162"/>
                  <a:gd name="connsiteY45" fmla="*/ 513398 h 523875"/>
                  <a:gd name="connsiteX46" fmla="*/ 254641 w 487162"/>
                  <a:gd name="connsiteY46" fmla="*/ 404146 h 523875"/>
                  <a:gd name="connsiteX47" fmla="*/ 251783 w 487162"/>
                  <a:gd name="connsiteY47" fmla="*/ 405956 h 523875"/>
                  <a:gd name="connsiteX48" fmla="*/ 246259 w 487162"/>
                  <a:gd name="connsiteY48" fmla="*/ 409670 h 523875"/>
                  <a:gd name="connsiteX49" fmla="*/ 54425 w 487162"/>
                  <a:gd name="connsiteY49" fmla="*/ 416243 h 523875"/>
                  <a:gd name="connsiteX50" fmla="*/ 50615 w 487162"/>
                  <a:gd name="connsiteY50" fmla="*/ 414719 h 523875"/>
                  <a:gd name="connsiteX51" fmla="*/ 21754 w 487162"/>
                  <a:gd name="connsiteY51" fmla="*/ 475774 h 523875"/>
                  <a:gd name="connsiteX52" fmla="*/ 20897 w 487162"/>
                  <a:gd name="connsiteY52" fmla="*/ 477679 h 523875"/>
                  <a:gd name="connsiteX53" fmla="*/ 20802 w 487162"/>
                  <a:gd name="connsiteY53" fmla="*/ 498158 h 523875"/>
                  <a:gd name="connsiteX54" fmla="*/ 27945 w 487162"/>
                  <a:gd name="connsiteY54" fmla="*/ 504444 h 523875"/>
                  <a:gd name="connsiteX55" fmla="*/ 29184 w 487162"/>
                  <a:gd name="connsiteY55" fmla="*/ 504635 h 523875"/>
                  <a:gd name="connsiteX56" fmla="*/ 30327 w 487162"/>
                  <a:gd name="connsiteY56" fmla="*/ 504730 h 523875"/>
                  <a:gd name="connsiteX57" fmla="*/ 456570 w 487162"/>
                  <a:gd name="connsiteY57" fmla="*/ 504730 h 523875"/>
                  <a:gd name="connsiteX58" fmla="*/ 457714 w 487162"/>
                  <a:gd name="connsiteY58" fmla="*/ 504635 h 523875"/>
                  <a:gd name="connsiteX59" fmla="*/ 466095 w 487162"/>
                  <a:gd name="connsiteY59" fmla="*/ 498062 h 523875"/>
                  <a:gd name="connsiteX60" fmla="*/ 466667 w 487162"/>
                  <a:gd name="connsiteY60" fmla="*/ 479584 h 523875"/>
                  <a:gd name="connsiteX61" fmla="*/ 466000 w 487162"/>
                  <a:gd name="connsiteY61" fmla="*/ 477584 h 523875"/>
                  <a:gd name="connsiteX62" fmla="*/ 465143 w 487162"/>
                  <a:gd name="connsiteY62" fmla="*/ 475679 h 523875"/>
                  <a:gd name="connsiteX63" fmla="*/ 423519 w 487162"/>
                  <a:gd name="connsiteY63" fmla="*/ 387477 h 523875"/>
                  <a:gd name="connsiteX64" fmla="*/ 254641 w 487162"/>
                  <a:gd name="connsiteY64" fmla="*/ 404146 h 523875"/>
                  <a:gd name="connsiteX65" fmla="*/ 305504 w 487162"/>
                  <a:gd name="connsiteY65" fmla="*/ 257175 h 523875"/>
                  <a:gd name="connsiteX66" fmla="*/ 272167 w 487162"/>
                  <a:gd name="connsiteY66" fmla="*/ 290513 h 523875"/>
                  <a:gd name="connsiteX67" fmla="*/ 305504 w 487162"/>
                  <a:gd name="connsiteY67" fmla="*/ 323850 h 523875"/>
                  <a:gd name="connsiteX68" fmla="*/ 338842 w 487162"/>
                  <a:gd name="connsiteY68" fmla="*/ 290513 h 523875"/>
                  <a:gd name="connsiteX69" fmla="*/ 305504 w 487162"/>
                  <a:gd name="connsiteY69" fmla="*/ 257175 h 523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487162" h="523875">
                    <a:moveTo>
                      <a:pt x="8038" y="513398"/>
                    </a:moveTo>
                    <a:lnTo>
                      <a:pt x="7467" y="512731"/>
                    </a:lnTo>
                    <a:lnTo>
                      <a:pt x="7467" y="512731"/>
                    </a:lnTo>
                    <a:lnTo>
                      <a:pt x="6991" y="512064"/>
                    </a:lnTo>
                    <a:cubicBezTo>
                      <a:pt x="6228" y="511112"/>
                      <a:pt x="5657" y="510064"/>
                      <a:pt x="4990" y="509016"/>
                    </a:cubicBezTo>
                    <a:lnTo>
                      <a:pt x="4990" y="509016"/>
                    </a:lnTo>
                    <a:lnTo>
                      <a:pt x="4514" y="508254"/>
                    </a:lnTo>
                    <a:lnTo>
                      <a:pt x="3752" y="506730"/>
                    </a:lnTo>
                    <a:lnTo>
                      <a:pt x="3085" y="505111"/>
                    </a:lnTo>
                    <a:lnTo>
                      <a:pt x="2990" y="504920"/>
                    </a:lnTo>
                    <a:lnTo>
                      <a:pt x="2895" y="504635"/>
                    </a:lnTo>
                    <a:lnTo>
                      <a:pt x="2895" y="504444"/>
                    </a:lnTo>
                    <a:lnTo>
                      <a:pt x="2228" y="502444"/>
                    </a:lnTo>
                    <a:cubicBezTo>
                      <a:pt x="2133" y="501968"/>
                      <a:pt x="1942" y="501587"/>
                      <a:pt x="1847" y="501110"/>
                    </a:cubicBezTo>
                    <a:cubicBezTo>
                      <a:pt x="1657" y="500444"/>
                      <a:pt x="1466" y="499872"/>
                      <a:pt x="1371" y="499205"/>
                    </a:cubicBezTo>
                    <a:cubicBezTo>
                      <a:pt x="990" y="497776"/>
                      <a:pt x="799" y="496348"/>
                      <a:pt x="514" y="494919"/>
                    </a:cubicBezTo>
                    <a:lnTo>
                      <a:pt x="228" y="492443"/>
                    </a:lnTo>
                    <a:cubicBezTo>
                      <a:pt x="37" y="490252"/>
                      <a:pt x="-58" y="488061"/>
                      <a:pt x="37" y="485870"/>
                    </a:cubicBezTo>
                    <a:cubicBezTo>
                      <a:pt x="323" y="479584"/>
                      <a:pt x="1847" y="473393"/>
                      <a:pt x="4609" y="467582"/>
                    </a:cubicBezTo>
                    <a:lnTo>
                      <a:pt x="154247" y="150876"/>
                    </a:lnTo>
                    <a:cubicBezTo>
                      <a:pt x="156628" y="145828"/>
                      <a:pt x="157867" y="140208"/>
                      <a:pt x="157867" y="134588"/>
                    </a:cubicBezTo>
                    <a:lnTo>
                      <a:pt x="157867" y="19050"/>
                    </a:lnTo>
                    <a:lnTo>
                      <a:pt x="119767" y="19050"/>
                    </a:lnTo>
                    <a:lnTo>
                      <a:pt x="119767" y="0"/>
                    </a:lnTo>
                    <a:lnTo>
                      <a:pt x="367417" y="0"/>
                    </a:lnTo>
                    <a:lnTo>
                      <a:pt x="367417" y="19050"/>
                    </a:lnTo>
                    <a:lnTo>
                      <a:pt x="329317" y="19050"/>
                    </a:lnTo>
                    <a:lnTo>
                      <a:pt x="329317" y="134684"/>
                    </a:lnTo>
                    <a:cubicBezTo>
                      <a:pt x="329317" y="140303"/>
                      <a:pt x="330555" y="145828"/>
                      <a:pt x="332936" y="150971"/>
                    </a:cubicBezTo>
                    <a:lnTo>
                      <a:pt x="482574" y="467678"/>
                    </a:lnTo>
                    <a:cubicBezTo>
                      <a:pt x="488098" y="479393"/>
                      <a:pt x="488670" y="492824"/>
                      <a:pt x="484098" y="504920"/>
                    </a:cubicBezTo>
                    <a:lnTo>
                      <a:pt x="484003" y="505111"/>
                    </a:lnTo>
                    <a:lnTo>
                      <a:pt x="483431" y="506540"/>
                    </a:lnTo>
                    <a:cubicBezTo>
                      <a:pt x="478954" y="516446"/>
                      <a:pt x="469429" y="523113"/>
                      <a:pt x="458571" y="523780"/>
                    </a:cubicBezTo>
                    <a:lnTo>
                      <a:pt x="456666" y="523875"/>
                    </a:lnTo>
                    <a:lnTo>
                      <a:pt x="30422" y="523875"/>
                    </a:lnTo>
                    <a:lnTo>
                      <a:pt x="28612" y="523780"/>
                    </a:lnTo>
                    <a:cubicBezTo>
                      <a:pt x="27755" y="523685"/>
                      <a:pt x="26993" y="523685"/>
                      <a:pt x="26136" y="523494"/>
                    </a:cubicBezTo>
                    <a:cubicBezTo>
                      <a:pt x="24802" y="523304"/>
                      <a:pt x="23564" y="523018"/>
                      <a:pt x="22326" y="522637"/>
                    </a:cubicBezTo>
                    <a:lnTo>
                      <a:pt x="22326" y="522637"/>
                    </a:lnTo>
                    <a:cubicBezTo>
                      <a:pt x="20421" y="522065"/>
                      <a:pt x="18516" y="521303"/>
                      <a:pt x="16801" y="520351"/>
                    </a:cubicBezTo>
                    <a:lnTo>
                      <a:pt x="15373" y="519589"/>
                    </a:lnTo>
                    <a:cubicBezTo>
                      <a:pt x="15087" y="519398"/>
                      <a:pt x="14801" y="519208"/>
                      <a:pt x="14420" y="519017"/>
                    </a:cubicBezTo>
                    <a:cubicBezTo>
                      <a:pt x="12610" y="517874"/>
                      <a:pt x="10896" y="516446"/>
                      <a:pt x="9467" y="514922"/>
                    </a:cubicBezTo>
                    <a:lnTo>
                      <a:pt x="8038" y="513398"/>
                    </a:lnTo>
                    <a:lnTo>
                      <a:pt x="8038" y="513398"/>
                    </a:lnTo>
                    <a:close/>
                    <a:moveTo>
                      <a:pt x="254641" y="404146"/>
                    </a:moveTo>
                    <a:lnTo>
                      <a:pt x="251783" y="405956"/>
                    </a:lnTo>
                    <a:lnTo>
                      <a:pt x="246259" y="409670"/>
                    </a:lnTo>
                    <a:cubicBezTo>
                      <a:pt x="199015" y="441008"/>
                      <a:pt x="119481" y="441960"/>
                      <a:pt x="54425" y="416243"/>
                    </a:cubicBezTo>
                    <a:lnTo>
                      <a:pt x="50615" y="414719"/>
                    </a:lnTo>
                    <a:lnTo>
                      <a:pt x="21754" y="475774"/>
                    </a:lnTo>
                    <a:lnTo>
                      <a:pt x="20897" y="477679"/>
                    </a:lnTo>
                    <a:cubicBezTo>
                      <a:pt x="18420" y="484251"/>
                      <a:pt x="18325" y="491490"/>
                      <a:pt x="20802" y="498158"/>
                    </a:cubicBezTo>
                    <a:cubicBezTo>
                      <a:pt x="22040" y="501396"/>
                      <a:pt x="24707" y="503682"/>
                      <a:pt x="27945" y="504444"/>
                    </a:cubicBezTo>
                    <a:lnTo>
                      <a:pt x="29184" y="504635"/>
                    </a:lnTo>
                    <a:lnTo>
                      <a:pt x="30327" y="504730"/>
                    </a:lnTo>
                    <a:lnTo>
                      <a:pt x="456570" y="504730"/>
                    </a:lnTo>
                    <a:lnTo>
                      <a:pt x="457714" y="504635"/>
                    </a:lnTo>
                    <a:cubicBezTo>
                      <a:pt x="461524" y="504254"/>
                      <a:pt x="464762" y="501682"/>
                      <a:pt x="466095" y="498062"/>
                    </a:cubicBezTo>
                    <a:cubicBezTo>
                      <a:pt x="468382" y="492157"/>
                      <a:pt x="468572" y="485585"/>
                      <a:pt x="466667" y="479584"/>
                    </a:cubicBezTo>
                    <a:lnTo>
                      <a:pt x="466000" y="477584"/>
                    </a:lnTo>
                    <a:lnTo>
                      <a:pt x="465143" y="475679"/>
                    </a:lnTo>
                    <a:lnTo>
                      <a:pt x="423519" y="387477"/>
                    </a:lnTo>
                    <a:cubicBezTo>
                      <a:pt x="365416" y="373190"/>
                      <a:pt x="295979" y="378714"/>
                      <a:pt x="254641" y="404146"/>
                    </a:cubicBezTo>
                    <a:close/>
                    <a:moveTo>
                      <a:pt x="305504" y="257175"/>
                    </a:moveTo>
                    <a:cubicBezTo>
                      <a:pt x="287121" y="257175"/>
                      <a:pt x="272167" y="272129"/>
                      <a:pt x="272167" y="290513"/>
                    </a:cubicBezTo>
                    <a:cubicBezTo>
                      <a:pt x="272167" y="308896"/>
                      <a:pt x="287121" y="323850"/>
                      <a:pt x="305504" y="323850"/>
                    </a:cubicBezTo>
                    <a:cubicBezTo>
                      <a:pt x="323887" y="323850"/>
                      <a:pt x="338842" y="308896"/>
                      <a:pt x="338842" y="290513"/>
                    </a:cubicBezTo>
                    <a:cubicBezTo>
                      <a:pt x="338842" y="272129"/>
                      <a:pt x="323887" y="257175"/>
                      <a:pt x="305504" y="25717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</p:grpSp>
        <p:grpSp>
          <p:nvGrpSpPr>
            <p:cNvPr id="70" name="îṣḷíďè">
              <a:extLst>
                <a:ext uri="{FF2B5EF4-FFF2-40B4-BE49-F238E27FC236}">
                  <a16:creationId xmlns:a16="http://schemas.microsoft.com/office/drawing/2014/main" id="{C11C7567-21AD-4A1C-A077-28BDFDD344D7}"/>
                </a:ext>
              </a:extLst>
            </p:cNvPr>
            <p:cNvGrpSpPr/>
            <p:nvPr/>
          </p:nvGrpSpPr>
          <p:grpSpPr>
            <a:xfrm>
              <a:off x="9127548" y="3133726"/>
              <a:ext cx="1065494" cy="1065494"/>
              <a:chOff x="9801361" y="3621032"/>
              <a:chExt cx="1065494" cy="1065494"/>
            </a:xfrm>
          </p:grpSpPr>
          <p:sp>
            <p:nvSpPr>
              <p:cNvPr id="71" name="iśḷíḋé">
                <a:extLst>
                  <a:ext uri="{FF2B5EF4-FFF2-40B4-BE49-F238E27FC236}">
                    <a16:creationId xmlns:a16="http://schemas.microsoft.com/office/drawing/2014/main" id="{5F0F4492-9E7D-4CEA-BE4E-60D5C95975A7}"/>
                  </a:ext>
                </a:extLst>
              </p:cNvPr>
              <p:cNvSpPr/>
              <p:nvPr/>
            </p:nvSpPr>
            <p:spPr>
              <a:xfrm>
                <a:off x="9801361" y="3621032"/>
                <a:ext cx="1065494" cy="106549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sp>
            <p:nvSpPr>
              <p:cNvPr id="72" name="ïšḻïḑè">
                <a:extLst>
                  <a:ext uri="{FF2B5EF4-FFF2-40B4-BE49-F238E27FC236}">
                    <a16:creationId xmlns:a16="http://schemas.microsoft.com/office/drawing/2014/main" id="{8A9F2C04-3E77-4298-B757-DDB0852E36E3}"/>
                  </a:ext>
                </a:extLst>
              </p:cNvPr>
              <p:cNvSpPr/>
              <p:nvPr/>
            </p:nvSpPr>
            <p:spPr>
              <a:xfrm>
                <a:off x="10017176" y="3842505"/>
                <a:ext cx="633864" cy="622545"/>
              </a:xfrm>
              <a:custGeom>
                <a:avLst/>
                <a:gdLst>
                  <a:gd name="connsiteX0" fmla="*/ 342900 w 533400"/>
                  <a:gd name="connsiteY0" fmla="*/ 276225 h 523875"/>
                  <a:gd name="connsiteX1" fmla="*/ 371475 w 533400"/>
                  <a:gd name="connsiteY1" fmla="*/ 304800 h 523875"/>
                  <a:gd name="connsiteX2" fmla="*/ 371475 w 533400"/>
                  <a:gd name="connsiteY2" fmla="*/ 495300 h 523875"/>
                  <a:gd name="connsiteX3" fmla="*/ 342900 w 533400"/>
                  <a:gd name="connsiteY3" fmla="*/ 523875 h 523875"/>
                  <a:gd name="connsiteX4" fmla="*/ 190500 w 533400"/>
                  <a:gd name="connsiteY4" fmla="*/ 523875 h 523875"/>
                  <a:gd name="connsiteX5" fmla="*/ 161925 w 533400"/>
                  <a:gd name="connsiteY5" fmla="*/ 495300 h 523875"/>
                  <a:gd name="connsiteX6" fmla="*/ 161925 w 533400"/>
                  <a:gd name="connsiteY6" fmla="*/ 304800 h 523875"/>
                  <a:gd name="connsiteX7" fmla="*/ 190500 w 533400"/>
                  <a:gd name="connsiteY7" fmla="*/ 276225 h 523875"/>
                  <a:gd name="connsiteX8" fmla="*/ 342900 w 533400"/>
                  <a:gd name="connsiteY8" fmla="*/ 276225 h 523875"/>
                  <a:gd name="connsiteX9" fmla="*/ 142875 w 533400"/>
                  <a:gd name="connsiteY9" fmla="*/ 114300 h 523875"/>
                  <a:gd name="connsiteX10" fmla="*/ 179070 w 533400"/>
                  <a:gd name="connsiteY10" fmla="*/ 152400 h 523875"/>
                  <a:gd name="connsiteX11" fmla="*/ 180975 w 533400"/>
                  <a:gd name="connsiteY11" fmla="*/ 152400 h 523875"/>
                  <a:gd name="connsiteX12" fmla="*/ 352425 w 533400"/>
                  <a:gd name="connsiteY12" fmla="*/ 152400 h 523875"/>
                  <a:gd name="connsiteX13" fmla="*/ 390525 w 533400"/>
                  <a:gd name="connsiteY13" fmla="*/ 116205 h 523875"/>
                  <a:gd name="connsiteX14" fmla="*/ 390525 w 533400"/>
                  <a:gd name="connsiteY14" fmla="*/ 114300 h 523875"/>
                  <a:gd name="connsiteX15" fmla="*/ 504825 w 533400"/>
                  <a:gd name="connsiteY15" fmla="*/ 114300 h 523875"/>
                  <a:gd name="connsiteX16" fmla="*/ 533400 w 533400"/>
                  <a:gd name="connsiteY16" fmla="*/ 142875 h 523875"/>
                  <a:gd name="connsiteX17" fmla="*/ 533400 w 533400"/>
                  <a:gd name="connsiteY17" fmla="*/ 381000 h 523875"/>
                  <a:gd name="connsiteX18" fmla="*/ 504825 w 533400"/>
                  <a:gd name="connsiteY18" fmla="*/ 409575 h 523875"/>
                  <a:gd name="connsiteX19" fmla="*/ 390525 w 533400"/>
                  <a:gd name="connsiteY19" fmla="*/ 409575 h 523875"/>
                  <a:gd name="connsiteX20" fmla="*/ 390525 w 533400"/>
                  <a:gd name="connsiteY20" fmla="*/ 295275 h 523875"/>
                  <a:gd name="connsiteX21" fmla="*/ 354330 w 533400"/>
                  <a:gd name="connsiteY21" fmla="*/ 257175 h 523875"/>
                  <a:gd name="connsiteX22" fmla="*/ 352425 w 533400"/>
                  <a:gd name="connsiteY22" fmla="*/ 257175 h 523875"/>
                  <a:gd name="connsiteX23" fmla="*/ 180975 w 533400"/>
                  <a:gd name="connsiteY23" fmla="*/ 257175 h 523875"/>
                  <a:gd name="connsiteX24" fmla="*/ 142875 w 533400"/>
                  <a:gd name="connsiteY24" fmla="*/ 293370 h 523875"/>
                  <a:gd name="connsiteX25" fmla="*/ 142875 w 533400"/>
                  <a:gd name="connsiteY25" fmla="*/ 295275 h 523875"/>
                  <a:gd name="connsiteX26" fmla="*/ 142875 w 533400"/>
                  <a:gd name="connsiteY26" fmla="*/ 409575 h 523875"/>
                  <a:gd name="connsiteX27" fmla="*/ 28575 w 533400"/>
                  <a:gd name="connsiteY27" fmla="*/ 409575 h 523875"/>
                  <a:gd name="connsiteX28" fmla="*/ 0 w 533400"/>
                  <a:gd name="connsiteY28" fmla="*/ 381000 h 523875"/>
                  <a:gd name="connsiteX29" fmla="*/ 0 w 533400"/>
                  <a:gd name="connsiteY29" fmla="*/ 200787 h 523875"/>
                  <a:gd name="connsiteX30" fmla="*/ 10287 w 533400"/>
                  <a:gd name="connsiteY30" fmla="*/ 174784 h 523875"/>
                  <a:gd name="connsiteX31" fmla="*/ 55436 w 533400"/>
                  <a:gd name="connsiteY31" fmla="*/ 126397 h 523875"/>
                  <a:gd name="connsiteX32" fmla="*/ 83248 w 533400"/>
                  <a:gd name="connsiteY32" fmla="*/ 114300 h 523875"/>
                  <a:gd name="connsiteX33" fmla="*/ 142875 w 533400"/>
                  <a:gd name="connsiteY33" fmla="*/ 114300 h 523875"/>
                  <a:gd name="connsiteX34" fmla="*/ 461963 w 533400"/>
                  <a:gd name="connsiteY34" fmla="*/ 171450 h 523875"/>
                  <a:gd name="connsiteX35" fmla="*/ 447675 w 533400"/>
                  <a:gd name="connsiteY35" fmla="*/ 185738 h 523875"/>
                  <a:gd name="connsiteX36" fmla="*/ 461963 w 533400"/>
                  <a:gd name="connsiteY36" fmla="*/ 200025 h 523875"/>
                  <a:gd name="connsiteX37" fmla="*/ 476250 w 533400"/>
                  <a:gd name="connsiteY37" fmla="*/ 185738 h 523875"/>
                  <a:gd name="connsiteX38" fmla="*/ 461963 w 533400"/>
                  <a:gd name="connsiteY38" fmla="*/ 171450 h 523875"/>
                  <a:gd name="connsiteX39" fmla="*/ 342900 w 533400"/>
                  <a:gd name="connsiteY39" fmla="*/ 0 h 523875"/>
                  <a:gd name="connsiteX40" fmla="*/ 371475 w 533400"/>
                  <a:gd name="connsiteY40" fmla="*/ 28575 h 523875"/>
                  <a:gd name="connsiteX41" fmla="*/ 371475 w 533400"/>
                  <a:gd name="connsiteY41" fmla="*/ 104775 h 523875"/>
                  <a:gd name="connsiteX42" fmla="*/ 342900 w 533400"/>
                  <a:gd name="connsiteY42" fmla="*/ 133350 h 523875"/>
                  <a:gd name="connsiteX43" fmla="*/ 190500 w 533400"/>
                  <a:gd name="connsiteY43" fmla="*/ 133350 h 523875"/>
                  <a:gd name="connsiteX44" fmla="*/ 161925 w 533400"/>
                  <a:gd name="connsiteY44" fmla="*/ 104775 h 523875"/>
                  <a:gd name="connsiteX45" fmla="*/ 161925 w 533400"/>
                  <a:gd name="connsiteY45" fmla="*/ 28575 h 523875"/>
                  <a:gd name="connsiteX46" fmla="*/ 190500 w 533400"/>
                  <a:gd name="connsiteY46" fmla="*/ 0 h 523875"/>
                  <a:gd name="connsiteX47" fmla="*/ 342900 w 533400"/>
                  <a:gd name="connsiteY47" fmla="*/ 0 h 523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533400" h="523875">
                    <a:moveTo>
                      <a:pt x="342900" y="276225"/>
                    </a:moveTo>
                    <a:cubicBezTo>
                      <a:pt x="358711" y="276225"/>
                      <a:pt x="371475" y="288989"/>
                      <a:pt x="371475" y="304800"/>
                    </a:cubicBezTo>
                    <a:lnTo>
                      <a:pt x="371475" y="495300"/>
                    </a:lnTo>
                    <a:cubicBezTo>
                      <a:pt x="371475" y="511112"/>
                      <a:pt x="358711" y="523875"/>
                      <a:pt x="342900" y="523875"/>
                    </a:cubicBezTo>
                    <a:lnTo>
                      <a:pt x="190500" y="523875"/>
                    </a:lnTo>
                    <a:cubicBezTo>
                      <a:pt x="174689" y="523875"/>
                      <a:pt x="161925" y="511112"/>
                      <a:pt x="161925" y="495300"/>
                    </a:cubicBezTo>
                    <a:lnTo>
                      <a:pt x="161925" y="304800"/>
                    </a:lnTo>
                    <a:cubicBezTo>
                      <a:pt x="161925" y="288989"/>
                      <a:pt x="174689" y="276225"/>
                      <a:pt x="190500" y="276225"/>
                    </a:cubicBezTo>
                    <a:lnTo>
                      <a:pt x="342900" y="276225"/>
                    </a:lnTo>
                    <a:close/>
                    <a:moveTo>
                      <a:pt x="142875" y="114300"/>
                    </a:moveTo>
                    <a:cubicBezTo>
                      <a:pt x="142875" y="134684"/>
                      <a:pt x="158877" y="151352"/>
                      <a:pt x="179070" y="152400"/>
                    </a:cubicBezTo>
                    <a:lnTo>
                      <a:pt x="180975" y="152400"/>
                    </a:lnTo>
                    <a:lnTo>
                      <a:pt x="352425" y="152400"/>
                    </a:lnTo>
                    <a:cubicBezTo>
                      <a:pt x="372809" y="152400"/>
                      <a:pt x="389477" y="136398"/>
                      <a:pt x="390525" y="116205"/>
                    </a:cubicBezTo>
                    <a:lnTo>
                      <a:pt x="390525" y="114300"/>
                    </a:lnTo>
                    <a:lnTo>
                      <a:pt x="504825" y="114300"/>
                    </a:lnTo>
                    <a:cubicBezTo>
                      <a:pt x="520636" y="114300"/>
                      <a:pt x="533400" y="127064"/>
                      <a:pt x="533400" y="142875"/>
                    </a:cubicBezTo>
                    <a:lnTo>
                      <a:pt x="533400" y="381000"/>
                    </a:lnTo>
                    <a:cubicBezTo>
                      <a:pt x="533400" y="396812"/>
                      <a:pt x="520636" y="409575"/>
                      <a:pt x="504825" y="409575"/>
                    </a:cubicBezTo>
                    <a:lnTo>
                      <a:pt x="390525" y="409575"/>
                    </a:lnTo>
                    <a:lnTo>
                      <a:pt x="390525" y="295275"/>
                    </a:lnTo>
                    <a:cubicBezTo>
                      <a:pt x="390525" y="274892"/>
                      <a:pt x="374523" y="258223"/>
                      <a:pt x="354330" y="257175"/>
                    </a:cubicBezTo>
                    <a:lnTo>
                      <a:pt x="352425" y="257175"/>
                    </a:lnTo>
                    <a:lnTo>
                      <a:pt x="180975" y="257175"/>
                    </a:lnTo>
                    <a:cubicBezTo>
                      <a:pt x="160591" y="257175"/>
                      <a:pt x="143923" y="273177"/>
                      <a:pt x="142875" y="293370"/>
                    </a:cubicBezTo>
                    <a:lnTo>
                      <a:pt x="142875" y="295275"/>
                    </a:lnTo>
                    <a:lnTo>
                      <a:pt x="142875" y="409575"/>
                    </a:lnTo>
                    <a:lnTo>
                      <a:pt x="28575" y="409575"/>
                    </a:lnTo>
                    <a:cubicBezTo>
                      <a:pt x="12763" y="409575"/>
                      <a:pt x="0" y="396812"/>
                      <a:pt x="0" y="381000"/>
                    </a:cubicBezTo>
                    <a:lnTo>
                      <a:pt x="0" y="200787"/>
                    </a:lnTo>
                    <a:cubicBezTo>
                      <a:pt x="0" y="191167"/>
                      <a:pt x="3620" y="181832"/>
                      <a:pt x="10287" y="174784"/>
                    </a:cubicBezTo>
                    <a:lnTo>
                      <a:pt x="55436" y="126397"/>
                    </a:lnTo>
                    <a:cubicBezTo>
                      <a:pt x="62675" y="118682"/>
                      <a:pt x="72771" y="114300"/>
                      <a:pt x="83248" y="114300"/>
                    </a:cubicBezTo>
                    <a:lnTo>
                      <a:pt x="142875" y="114300"/>
                    </a:lnTo>
                    <a:close/>
                    <a:moveTo>
                      <a:pt x="461963" y="171450"/>
                    </a:moveTo>
                    <a:cubicBezTo>
                      <a:pt x="454057" y="171450"/>
                      <a:pt x="447675" y="177832"/>
                      <a:pt x="447675" y="185738"/>
                    </a:cubicBezTo>
                    <a:cubicBezTo>
                      <a:pt x="447675" y="193643"/>
                      <a:pt x="454057" y="200025"/>
                      <a:pt x="461963" y="200025"/>
                    </a:cubicBezTo>
                    <a:cubicBezTo>
                      <a:pt x="469868" y="200025"/>
                      <a:pt x="476250" y="193643"/>
                      <a:pt x="476250" y="185738"/>
                    </a:cubicBezTo>
                    <a:cubicBezTo>
                      <a:pt x="476250" y="177832"/>
                      <a:pt x="469868" y="171450"/>
                      <a:pt x="461963" y="171450"/>
                    </a:cubicBezTo>
                    <a:close/>
                    <a:moveTo>
                      <a:pt x="342900" y="0"/>
                    </a:moveTo>
                    <a:cubicBezTo>
                      <a:pt x="358711" y="0"/>
                      <a:pt x="371475" y="12763"/>
                      <a:pt x="371475" y="28575"/>
                    </a:cubicBezTo>
                    <a:lnTo>
                      <a:pt x="371475" y="104775"/>
                    </a:lnTo>
                    <a:cubicBezTo>
                      <a:pt x="371475" y="120587"/>
                      <a:pt x="358711" y="133350"/>
                      <a:pt x="342900" y="133350"/>
                    </a:cubicBezTo>
                    <a:lnTo>
                      <a:pt x="190500" y="133350"/>
                    </a:lnTo>
                    <a:cubicBezTo>
                      <a:pt x="174689" y="133350"/>
                      <a:pt x="161925" y="120587"/>
                      <a:pt x="161925" y="104775"/>
                    </a:cubicBezTo>
                    <a:lnTo>
                      <a:pt x="161925" y="28575"/>
                    </a:lnTo>
                    <a:cubicBezTo>
                      <a:pt x="161925" y="12763"/>
                      <a:pt x="174689" y="0"/>
                      <a:pt x="190500" y="0"/>
                    </a:cubicBezTo>
                    <a:lnTo>
                      <a:pt x="34290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/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30609486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ṥliḋ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şlïḑe">
            <a:extLst>
              <a:ext uri="{FF2B5EF4-FFF2-40B4-BE49-F238E27FC236}">
                <a16:creationId xmlns:a16="http://schemas.microsoft.com/office/drawing/2014/main" id="{3344A2C7-6248-4F4C-85D8-C0BCB5BC0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ïŝľïďê">
            <a:extLst>
              <a:ext uri="{FF2B5EF4-FFF2-40B4-BE49-F238E27FC236}">
                <a16:creationId xmlns:a16="http://schemas.microsoft.com/office/drawing/2014/main" id="{418CB959-0436-4DAB-B907-B57A5A9403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îṣḷîďè">
            <a:extLst>
              <a:ext uri="{FF2B5EF4-FFF2-40B4-BE49-F238E27FC236}">
                <a16:creationId xmlns:a16="http://schemas.microsoft.com/office/drawing/2014/main" id="{BACFB6FB-03E3-4B5B-B778-2E9BEE4CCD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grpSp>
        <p:nvGrpSpPr>
          <p:cNvPr id="5" name="ïṩ1ïḋê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60E2D7EE-F6C0-4958-90D1-26A5649FA11D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71512" y="1436815"/>
            <a:ext cx="10848976" cy="4798807"/>
            <a:chOff x="671512" y="1436815"/>
            <a:chExt cx="10848976" cy="4798807"/>
          </a:xfrm>
        </p:grpSpPr>
        <p:sp>
          <p:nvSpPr>
            <p:cNvPr id="6" name="ïšļïḋe">
              <a:extLst>
                <a:ext uri="{FF2B5EF4-FFF2-40B4-BE49-F238E27FC236}">
                  <a16:creationId xmlns:a16="http://schemas.microsoft.com/office/drawing/2014/main" id="{FE0DC43E-5D92-4523-9CDD-4AF2DC013818}"/>
                </a:ext>
              </a:extLst>
            </p:cNvPr>
            <p:cNvSpPr/>
            <p:nvPr/>
          </p:nvSpPr>
          <p:spPr>
            <a:xfrm>
              <a:off x="7744698" y="3019425"/>
              <a:ext cx="3775790" cy="13906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7" name="íṩľíḍe">
              <a:extLst>
                <a:ext uri="{FF2B5EF4-FFF2-40B4-BE49-F238E27FC236}">
                  <a16:creationId xmlns:a16="http://schemas.microsoft.com/office/drawing/2014/main" id="{68133741-8B38-448A-A84B-1E09A83BD8E1}"/>
                </a:ext>
              </a:extLst>
            </p:cNvPr>
            <p:cNvSpPr/>
            <p:nvPr/>
          </p:nvSpPr>
          <p:spPr>
            <a:xfrm>
              <a:off x="671512" y="3019425"/>
              <a:ext cx="3970904" cy="13906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8" name="iṩļîḑé">
              <a:extLst>
                <a:ext uri="{FF2B5EF4-FFF2-40B4-BE49-F238E27FC236}">
                  <a16:creationId xmlns:a16="http://schemas.microsoft.com/office/drawing/2014/main" id="{CFEF0764-AAB5-4231-BB9D-641BFA17C64A}"/>
                </a:ext>
              </a:extLst>
            </p:cNvPr>
            <p:cNvSpPr/>
            <p:nvPr/>
          </p:nvSpPr>
          <p:spPr>
            <a:xfrm>
              <a:off x="4702917" y="2318333"/>
              <a:ext cx="2786164" cy="278545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íSḻiḍê">
              <a:extLst>
                <a:ext uri="{FF2B5EF4-FFF2-40B4-BE49-F238E27FC236}">
                  <a16:creationId xmlns:a16="http://schemas.microsoft.com/office/drawing/2014/main" id="{9EAB38F6-C1F5-44DD-A497-32F576604FC2}"/>
                </a:ext>
              </a:extLst>
            </p:cNvPr>
            <p:cNvSpPr/>
            <p:nvPr/>
          </p:nvSpPr>
          <p:spPr bwMode="auto">
            <a:xfrm>
              <a:off x="4415578" y="1985142"/>
              <a:ext cx="3440617" cy="3452076"/>
            </a:xfrm>
            <a:custGeom>
              <a:avLst/>
              <a:gdLst>
                <a:gd name="T0" fmla="*/ 365 w 2340"/>
                <a:gd name="T1" fmla="*/ 542 h 2348"/>
                <a:gd name="T2" fmla="*/ 805 w 2340"/>
                <a:gd name="T3" fmla="*/ 220 h 2348"/>
                <a:gd name="T4" fmla="*/ 1001 w 2340"/>
                <a:gd name="T5" fmla="*/ 167 h 2348"/>
                <a:gd name="T6" fmla="*/ 1122 w 2340"/>
                <a:gd name="T7" fmla="*/ 155 h 2348"/>
                <a:gd name="T8" fmla="*/ 1230 w 2340"/>
                <a:gd name="T9" fmla="*/ 156 h 2348"/>
                <a:gd name="T10" fmla="*/ 1341 w 2340"/>
                <a:gd name="T11" fmla="*/ 169 h 2348"/>
                <a:gd name="T12" fmla="*/ 1513 w 2340"/>
                <a:gd name="T13" fmla="*/ 215 h 2348"/>
                <a:gd name="T14" fmla="*/ 1590 w 2340"/>
                <a:gd name="T15" fmla="*/ 246 h 2348"/>
                <a:gd name="T16" fmla="*/ 1708 w 2340"/>
                <a:gd name="T17" fmla="*/ 310 h 2348"/>
                <a:gd name="T18" fmla="*/ 1818 w 2340"/>
                <a:gd name="T19" fmla="*/ 389 h 2348"/>
                <a:gd name="T20" fmla="*/ 1940 w 2340"/>
                <a:gd name="T21" fmla="*/ 510 h 2348"/>
                <a:gd name="T22" fmla="*/ 2014 w 2340"/>
                <a:gd name="T23" fmla="*/ 608 h 2348"/>
                <a:gd name="T24" fmla="*/ 2076 w 2340"/>
                <a:gd name="T25" fmla="*/ 714 h 2348"/>
                <a:gd name="T26" fmla="*/ 2137 w 2340"/>
                <a:gd name="T27" fmla="*/ 860 h 2348"/>
                <a:gd name="T28" fmla="*/ 2174 w 2340"/>
                <a:gd name="T29" fmla="*/ 1015 h 2348"/>
                <a:gd name="T30" fmla="*/ 2186 w 2340"/>
                <a:gd name="T31" fmla="*/ 1192 h 2348"/>
                <a:gd name="T32" fmla="*/ 2174 w 2340"/>
                <a:gd name="T33" fmla="*/ 1333 h 2348"/>
                <a:gd name="T34" fmla="*/ 2131 w 2340"/>
                <a:gd name="T35" fmla="*/ 1505 h 2348"/>
                <a:gd name="T36" fmla="*/ 2077 w 2340"/>
                <a:gd name="T37" fmla="*/ 1634 h 2348"/>
                <a:gd name="T38" fmla="*/ 1985 w 2340"/>
                <a:gd name="T39" fmla="*/ 1782 h 2348"/>
                <a:gd name="T40" fmla="*/ 1859 w 2340"/>
                <a:gd name="T41" fmla="*/ 1922 h 2348"/>
                <a:gd name="T42" fmla="*/ 1740 w 2340"/>
                <a:gd name="T43" fmla="*/ 2017 h 2348"/>
                <a:gd name="T44" fmla="*/ 1611 w 2340"/>
                <a:gd name="T45" fmla="*/ 2092 h 2348"/>
                <a:gd name="T46" fmla="*/ 1382 w 2340"/>
                <a:gd name="T47" fmla="*/ 2171 h 2348"/>
                <a:gd name="T48" fmla="*/ 1167 w 2340"/>
                <a:gd name="T49" fmla="*/ 2194 h 2348"/>
                <a:gd name="T50" fmla="*/ 1018 w 2340"/>
                <a:gd name="T51" fmla="*/ 2183 h 2348"/>
                <a:gd name="T52" fmla="*/ 906 w 2340"/>
                <a:gd name="T53" fmla="*/ 2161 h 2348"/>
                <a:gd name="T54" fmla="*/ 775 w 2340"/>
                <a:gd name="T55" fmla="*/ 2117 h 2348"/>
                <a:gd name="T56" fmla="*/ 669 w 2340"/>
                <a:gd name="T57" fmla="*/ 2065 h 2348"/>
                <a:gd name="T58" fmla="*/ 435 w 2340"/>
                <a:gd name="T59" fmla="*/ 1886 h 2348"/>
                <a:gd name="T60" fmla="*/ 486 w 2340"/>
                <a:gd name="T61" fmla="*/ 1739 h 2348"/>
                <a:gd name="T62" fmla="*/ 283 w 2340"/>
                <a:gd name="T63" fmla="*/ 1948 h 2348"/>
                <a:gd name="T64" fmla="*/ 532 w 2340"/>
                <a:gd name="T65" fmla="*/ 2162 h 2348"/>
                <a:gd name="T66" fmla="*/ 660 w 2340"/>
                <a:gd name="T67" fmla="*/ 2234 h 2348"/>
                <a:gd name="T68" fmla="*/ 836 w 2340"/>
                <a:gd name="T69" fmla="*/ 2301 h 2348"/>
                <a:gd name="T70" fmla="*/ 963 w 2340"/>
                <a:gd name="T71" fmla="*/ 2331 h 2348"/>
                <a:gd name="T72" fmla="*/ 1098 w 2340"/>
                <a:gd name="T73" fmla="*/ 2346 h 2348"/>
                <a:gd name="T74" fmla="*/ 1343 w 2340"/>
                <a:gd name="T75" fmla="*/ 2335 h 2348"/>
                <a:gd name="T76" fmla="*/ 1626 w 2340"/>
                <a:gd name="T77" fmla="*/ 2254 h 2348"/>
                <a:gd name="T78" fmla="*/ 1795 w 2340"/>
                <a:gd name="T79" fmla="*/ 2166 h 2348"/>
                <a:gd name="T80" fmla="*/ 1949 w 2340"/>
                <a:gd name="T81" fmla="*/ 2049 h 2348"/>
                <a:gd name="T82" fmla="*/ 2072 w 2340"/>
                <a:gd name="T83" fmla="*/ 1921 h 2348"/>
                <a:gd name="T84" fmla="*/ 2195 w 2340"/>
                <a:gd name="T85" fmla="*/ 1739 h 2348"/>
                <a:gd name="T86" fmla="*/ 2267 w 2340"/>
                <a:gd name="T87" fmla="*/ 1583 h 2348"/>
                <a:gd name="T88" fmla="*/ 2306 w 2340"/>
                <a:gd name="T89" fmla="*/ 1457 h 2348"/>
                <a:gd name="T90" fmla="*/ 2336 w 2340"/>
                <a:gd name="T91" fmla="*/ 1276 h 2348"/>
                <a:gd name="T92" fmla="*/ 2334 w 2340"/>
                <a:gd name="T93" fmla="*/ 1052 h 2348"/>
                <a:gd name="T94" fmla="*/ 2301 w 2340"/>
                <a:gd name="T95" fmla="*/ 871 h 2348"/>
                <a:gd name="T96" fmla="*/ 2231 w 2340"/>
                <a:gd name="T97" fmla="*/ 680 h 2348"/>
                <a:gd name="T98" fmla="*/ 2164 w 2340"/>
                <a:gd name="T99" fmla="*/ 556 h 2348"/>
                <a:gd name="T100" fmla="*/ 2083 w 2340"/>
                <a:gd name="T101" fmla="*/ 441 h 2348"/>
                <a:gd name="T102" fmla="*/ 1990 w 2340"/>
                <a:gd name="T103" fmla="*/ 337 h 2348"/>
                <a:gd name="T104" fmla="*/ 1854 w 2340"/>
                <a:gd name="T105" fmla="*/ 223 h 2348"/>
                <a:gd name="T106" fmla="*/ 1680 w 2340"/>
                <a:gd name="T107" fmla="*/ 118 h 2348"/>
                <a:gd name="T108" fmla="*/ 1583 w 2340"/>
                <a:gd name="T109" fmla="*/ 76 h 2348"/>
                <a:gd name="T110" fmla="*/ 1439 w 2340"/>
                <a:gd name="T111" fmla="*/ 32 h 2348"/>
                <a:gd name="T112" fmla="*/ 1276 w 2340"/>
                <a:gd name="T113" fmla="*/ 5 h 2348"/>
                <a:gd name="T114" fmla="*/ 1168 w 2340"/>
                <a:gd name="T115" fmla="*/ 0 h 2348"/>
                <a:gd name="T116" fmla="*/ 1045 w 2340"/>
                <a:gd name="T117" fmla="*/ 6 h 2348"/>
                <a:gd name="T118" fmla="*/ 844 w 2340"/>
                <a:gd name="T119" fmla="*/ 45 h 2348"/>
                <a:gd name="T120" fmla="*/ 579 w 2340"/>
                <a:gd name="T121" fmla="*/ 157 h 2348"/>
                <a:gd name="T122" fmla="*/ 3 w 2340"/>
                <a:gd name="T123" fmla="*/ 1014 h 2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40" h="2348">
                  <a:moveTo>
                    <a:pt x="153" y="1052"/>
                  </a:moveTo>
                  <a:cubicBezTo>
                    <a:pt x="153" y="1052"/>
                    <a:pt x="154" y="1046"/>
                    <a:pt x="155" y="1035"/>
                  </a:cubicBezTo>
                  <a:cubicBezTo>
                    <a:pt x="157" y="1024"/>
                    <a:pt x="159" y="1007"/>
                    <a:pt x="164" y="985"/>
                  </a:cubicBezTo>
                  <a:cubicBezTo>
                    <a:pt x="172" y="941"/>
                    <a:pt x="186" y="878"/>
                    <a:pt x="217" y="801"/>
                  </a:cubicBezTo>
                  <a:cubicBezTo>
                    <a:pt x="224" y="781"/>
                    <a:pt x="233" y="761"/>
                    <a:pt x="242" y="740"/>
                  </a:cubicBezTo>
                  <a:cubicBezTo>
                    <a:pt x="253" y="720"/>
                    <a:pt x="263" y="698"/>
                    <a:pt x="275" y="677"/>
                  </a:cubicBezTo>
                  <a:cubicBezTo>
                    <a:pt x="300" y="633"/>
                    <a:pt x="329" y="588"/>
                    <a:pt x="365" y="542"/>
                  </a:cubicBezTo>
                  <a:cubicBezTo>
                    <a:pt x="401" y="497"/>
                    <a:pt x="443" y="452"/>
                    <a:pt x="491" y="409"/>
                  </a:cubicBezTo>
                  <a:cubicBezTo>
                    <a:pt x="540" y="366"/>
                    <a:pt x="595" y="326"/>
                    <a:pt x="656" y="290"/>
                  </a:cubicBezTo>
                  <a:cubicBezTo>
                    <a:pt x="672" y="281"/>
                    <a:pt x="688" y="273"/>
                    <a:pt x="704" y="265"/>
                  </a:cubicBezTo>
                  <a:cubicBezTo>
                    <a:pt x="712" y="260"/>
                    <a:pt x="720" y="256"/>
                    <a:pt x="728" y="253"/>
                  </a:cubicBezTo>
                  <a:cubicBezTo>
                    <a:pt x="737" y="249"/>
                    <a:pt x="745" y="245"/>
                    <a:pt x="753" y="241"/>
                  </a:cubicBezTo>
                  <a:cubicBezTo>
                    <a:pt x="762" y="237"/>
                    <a:pt x="770" y="234"/>
                    <a:pt x="779" y="230"/>
                  </a:cubicBezTo>
                  <a:cubicBezTo>
                    <a:pt x="787" y="227"/>
                    <a:pt x="796" y="223"/>
                    <a:pt x="805" y="220"/>
                  </a:cubicBezTo>
                  <a:cubicBezTo>
                    <a:pt x="823" y="213"/>
                    <a:pt x="840" y="207"/>
                    <a:pt x="859" y="201"/>
                  </a:cubicBezTo>
                  <a:cubicBezTo>
                    <a:pt x="868" y="198"/>
                    <a:pt x="877" y="195"/>
                    <a:pt x="886" y="193"/>
                  </a:cubicBezTo>
                  <a:cubicBezTo>
                    <a:pt x="896" y="190"/>
                    <a:pt x="905" y="188"/>
                    <a:pt x="914" y="185"/>
                  </a:cubicBezTo>
                  <a:cubicBezTo>
                    <a:pt x="919" y="184"/>
                    <a:pt x="924" y="183"/>
                    <a:pt x="929" y="182"/>
                  </a:cubicBezTo>
                  <a:cubicBezTo>
                    <a:pt x="933" y="181"/>
                    <a:pt x="938" y="180"/>
                    <a:pt x="943" y="179"/>
                  </a:cubicBezTo>
                  <a:cubicBezTo>
                    <a:pt x="952" y="177"/>
                    <a:pt x="962" y="174"/>
                    <a:pt x="972" y="172"/>
                  </a:cubicBezTo>
                  <a:cubicBezTo>
                    <a:pt x="981" y="170"/>
                    <a:pt x="991" y="169"/>
                    <a:pt x="1001" y="167"/>
                  </a:cubicBezTo>
                  <a:cubicBezTo>
                    <a:pt x="1011" y="166"/>
                    <a:pt x="1021" y="164"/>
                    <a:pt x="1031" y="163"/>
                  </a:cubicBezTo>
                  <a:cubicBezTo>
                    <a:pt x="1041" y="162"/>
                    <a:pt x="1051" y="161"/>
                    <a:pt x="1061" y="159"/>
                  </a:cubicBezTo>
                  <a:cubicBezTo>
                    <a:pt x="1068" y="159"/>
                    <a:pt x="1068" y="159"/>
                    <a:pt x="1068" y="159"/>
                  </a:cubicBezTo>
                  <a:cubicBezTo>
                    <a:pt x="1071" y="158"/>
                    <a:pt x="1073" y="158"/>
                    <a:pt x="1076" y="158"/>
                  </a:cubicBezTo>
                  <a:cubicBezTo>
                    <a:pt x="1081" y="158"/>
                    <a:pt x="1086" y="157"/>
                    <a:pt x="1091" y="157"/>
                  </a:cubicBezTo>
                  <a:cubicBezTo>
                    <a:pt x="1096" y="157"/>
                    <a:pt x="1101" y="156"/>
                    <a:pt x="1106" y="156"/>
                  </a:cubicBezTo>
                  <a:cubicBezTo>
                    <a:pt x="1111" y="156"/>
                    <a:pt x="1116" y="155"/>
                    <a:pt x="1122" y="155"/>
                  </a:cubicBezTo>
                  <a:cubicBezTo>
                    <a:pt x="1132" y="155"/>
                    <a:pt x="1142" y="154"/>
                    <a:pt x="1152" y="154"/>
                  </a:cubicBezTo>
                  <a:cubicBezTo>
                    <a:pt x="1158" y="154"/>
                    <a:pt x="1163" y="154"/>
                    <a:pt x="1168" y="154"/>
                  </a:cubicBezTo>
                  <a:cubicBezTo>
                    <a:pt x="1173" y="154"/>
                    <a:pt x="1178" y="154"/>
                    <a:pt x="1183" y="154"/>
                  </a:cubicBezTo>
                  <a:cubicBezTo>
                    <a:pt x="1194" y="155"/>
                    <a:pt x="1204" y="155"/>
                    <a:pt x="1215" y="155"/>
                  </a:cubicBezTo>
                  <a:cubicBezTo>
                    <a:pt x="1219" y="155"/>
                    <a:pt x="1219" y="155"/>
                    <a:pt x="1219" y="155"/>
                  </a:cubicBezTo>
                  <a:cubicBezTo>
                    <a:pt x="1223" y="156"/>
                    <a:pt x="1223" y="156"/>
                    <a:pt x="1223" y="156"/>
                  </a:cubicBezTo>
                  <a:cubicBezTo>
                    <a:pt x="1230" y="156"/>
                    <a:pt x="1230" y="156"/>
                    <a:pt x="1230" y="156"/>
                  </a:cubicBezTo>
                  <a:cubicBezTo>
                    <a:pt x="1236" y="157"/>
                    <a:pt x="1241" y="157"/>
                    <a:pt x="1246" y="157"/>
                  </a:cubicBezTo>
                  <a:cubicBezTo>
                    <a:pt x="1251" y="158"/>
                    <a:pt x="1257" y="158"/>
                    <a:pt x="1262" y="159"/>
                  </a:cubicBezTo>
                  <a:cubicBezTo>
                    <a:pt x="1270" y="159"/>
                    <a:pt x="1270" y="159"/>
                    <a:pt x="1270" y="159"/>
                  </a:cubicBezTo>
                  <a:cubicBezTo>
                    <a:pt x="1272" y="159"/>
                    <a:pt x="1275" y="160"/>
                    <a:pt x="1278" y="160"/>
                  </a:cubicBezTo>
                  <a:cubicBezTo>
                    <a:pt x="1288" y="161"/>
                    <a:pt x="1299" y="163"/>
                    <a:pt x="1309" y="164"/>
                  </a:cubicBezTo>
                  <a:cubicBezTo>
                    <a:pt x="1314" y="165"/>
                    <a:pt x="1320" y="165"/>
                    <a:pt x="1325" y="166"/>
                  </a:cubicBezTo>
                  <a:cubicBezTo>
                    <a:pt x="1330" y="167"/>
                    <a:pt x="1335" y="168"/>
                    <a:pt x="1341" y="169"/>
                  </a:cubicBezTo>
                  <a:cubicBezTo>
                    <a:pt x="1351" y="171"/>
                    <a:pt x="1362" y="173"/>
                    <a:pt x="1372" y="175"/>
                  </a:cubicBezTo>
                  <a:cubicBezTo>
                    <a:pt x="1383" y="177"/>
                    <a:pt x="1393" y="180"/>
                    <a:pt x="1404" y="182"/>
                  </a:cubicBezTo>
                  <a:cubicBezTo>
                    <a:pt x="1409" y="183"/>
                    <a:pt x="1414" y="184"/>
                    <a:pt x="1419" y="186"/>
                  </a:cubicBezTo>
                  <a:cubicBezTo>
                    <a:pt x="1425" y="187"/>
                    <a:pt x="1430" y="189"/>
                    <a:pt x="1435" y="190"/>
                  </a:cubicBezTo>
                  <a:cubicBezTo>
                    <a:pt x="1446" y="193"/>
                    <a:pt x="1456" y="196"/>
                    <a:pt x="1466" y="199"/>
                  </a:cubicBezTo>
                  <a:cubicBezTo>
                    <a:pt x="1477" y="202"/>
                    <a:pt x="1487" y="206"/>
                    <a:pt x="1498" y="209"/>
                  </a:cubicBezTo>
                  <a:cubicBezTo>
                    <a:pt x="1503" y="211"/>
                    <a:pt x="1508" y="213"/>
                    <a:pt x="1513" y="215"/>
                  </a:cubicBezTo>
                  <a:cubicBezTo>
                    <a:pt x="1516" y="215"/>
                    <a:pt x="1518" y="216"/>
                    <a:pt x="1521" y="217"/>
                  </a:cubicBezTo>
                  <a:cubicBezTo>
                    <a:pt x="1528" y="220"/>
                    <a:pt x="1528" y="220"/>
                    <a:pt x="1528" y="220"/>
                  </a:cubicBezTo>
                  <a:cubicBezTo>
                    <a:pt x="1539" y="224"/>
                    <a:pt x="1549" y="228"/>
                    <a:pt x="1559" y="233"/>
                  </a:cubicBezTo>
                  <a:cubicBezTo>
                    <a:pt x="1563" y="234"/>
                    <a:pt x="1563" y="234"/>
                    <a:pt x="1563" y="234"/>
                  </a:cubicBezTo>
                  <a:cubicBezTo>
                    <a:pt x="1567" y="236"/>
                    <a:pt x="1567" y="236"/>
                    <a:pt x="1567" y="236"/>
                  </a:cubicBezTo>
                  <a:cubicBezTo>
                    <a:pt x="1574" y="239"/>
                    <a:pt x="1574" y="239"/>
                    <a:pt x="1574" y="239"/>
                  </a:cubicBezTo>
                  <a:cubicBezTo>
                    <a:pt x="1590" y="246"/>
                    <a:pt x="1590" y="246"/>
                    <a:pt x="1590" y="246"/>
                  </a:cubicBezTo>
                  <a:cubicBezTo>
                    <a:pt x="1605" y="253"/>
                    <a:pt x="1605" y="253"/>
                    <a:pt x="1605" y="253"/>
                  </a:cubicBezTo>
                  <a:cubicBezTo>
                    <a:pt x="1607" y="254"/>
                    <a:pt x="1610" y="255"/>
                    <a:pt x="1612" y="257"/>
                  </a:cubicBezTo>
                  <a:cubicBezTo>
                    <a:pt x="1620" y="260"/>
                    <a:pt x="1620" y="260"/>
                    <a:pt x="1620" y="260"/>
                  </a:cubicBezTo>
                  <a:cubicBezTo>
                    <a:pt x="1630" y="265"/>
                    <a:pt x="1640" y="270"/>
                    <a:pt x="1649" y="276"/>
                  </a:cubicBezTo>
                  <a:cubicBezTo>
                    <a:pt x="1659" y="281"/>
                    <a:pt x="1669" y="287"/>
                    <a:pt x="1679" y="292"/>
                  </a:cubicBezTo>
                  <a:cubicBezTo>
                    <a:pt x="1693" y="301"/>
                    <a:pt x="1693" y="301"/>
                    <a:pt x="1693" y="301"/>
                  </a:cubicBezTo>
                  <a:cubicBezTo>
                    <a:pt x="1698" y="303"/>
                    <a:pt x="1703" y="307"/>
                    <a:pt x="1708" y="310"/>
                  </a:cubicBezTo>
                  <a:cubicBezTo>
                    <a:pt x="1717" y="316"/>
                    <a:pt x="1727" y="322"/>
                    <a:pt x="1736" y="328"/>
                  </a:cubicBezTo>
                  <a:cubicBezTo>
                    <a:pt x="1745" y="334"/>
                    <a:pt x="1755" y="341"/>
                    <a:pt x="1764" y="348"/>
                  </a:cubicBezTo>
                  <a:cubicBezTo>
                    <a:pt x="1768" y="351"/>
                    <a:pt x="1773" y="354"/>
                    <a:pt x="1778" y="358"/>
                  </a:cubicBezTo>
                  <a:cubicBezTo>
                    <a:pt x="1791" y="368"/>
                    <a:pt x="1791" y="368"/>
                    <a:pt x="1791" y="368"/>
                  </a:cubicBezTo>
                  <a:cubicBezTo>
                    <a:pt x="1804" y="379"/>
                    <a:pt x="1804" y="379"/>
                    <a:pt x="1804" y="379"/>
                  </a:cubicBezTo>
                  <a:cubicBezTo>
                    <a:pt x="1811" y="384"/>
                    <a:pt x="1811" y="384"/>
                    <a:pt x="1811" y="384"/>
                  </a:cubicBezTo>
                  <a:cubicBezTo>
                    <a:pt x="1813" y="386"/>
                    <a:pt x="1816" y="387"/>
                    <a:pt x="1818" y="389"/>
                  </a:cubicBezTo>
                  <a:cubicBezTo>
                    <a:pt x="1835" y="404"/>
                    <a:pt x="1853" y="419"/>
                    <a:pt x="1869" y="435"/>
                  </a:cubicBezTo>
                  <a:cubicBezTo>
                    <a:pt x="1882" y="447"/>
                    <a:pt x="1882" y="447"/>
                    <a:pt x="1882" y="447"/>
                  </a:cubicBezTo>
                  <a:cubicBezTo>
                    <a:pt x="1888" y="453"/>
                    <a:pt x="1888" y="453"/>
                    <a:pt x="1888" y="453"/>
                  </a:cubicBezTo>
                  <a:cubicBezTo>
                    <a:pt x="1894" y="459"/>
                    <a:pt x="1894" y="459"/>
                    <a:pt x="1894" y="459"/>
                  </a:cubicBezTo>
                  <a:cubicBezTo>
                    <a:pt x="1902" y="468"/>
                    <a:pt x="1910" y="476"/>
                    <a:pt x="1918" y="484"/>
                  </a:cubicBezTo>
                  <a:cubicBezTo>
                    <a:pt x="1922" y="489"/>
                    <a:pt x="1925" y="493"/>
                    <a:pt x="1929" y="497"/>
                  </a:cubicBezTo>
                  <a:cubicBezTo>
                    <a:pt x="1940" y="510"/>
                    <a:pt x="1940" y="510"/>
                    <a:pt x="1940" y="510"/>
                  </a:cubicBezTo>
                  <a:cubicBezTo>
                    <a:pt x="1952" y="524"/>
                    <a:pt x="1952" y="524"/>
                    <a:pt x="1952" y="524"/>
                  </a:cubicBezTo>
                  <a:cubicBezTo>
                    <a:pt x="1956" y="528"/>
                    <a:pt x="1959" y="533"/>
                    <a:pt x="1963" y="537"/>
                  </a:cubicBezTo>
                  <a:cubicBezTo>
                    <a:pt x="1970" y="546"/>
                    <a:pt x="1977" y="556"/>
                    <a:pt x="1984" y="565"/>
                  </a:cubicBezTo>
                  <a:cubicBezTo>
                    <a:pt x="1991" y="574"/>
                    <a:pt x="1998" y="584"/>
                    <a:pt x="2004" y="593"/>
                  </a:cubicBezTo>
                  <a:cubicBezTo>
                    <a:pt x="2010" y="600"/>
                    <a:pt x="2010" y="600"/>
                    <a:pt x="2010" y="600"/>
                  </a:cubicBezTo>
                  <a:cubicBezTo>
                    <a:pt x="2012" y="604"/>
                    <a:pt x="2012" y="604"/>
                    <a:pt x="2012" y="604"/>
                  </a:cubicBezTo>
                  <a:cubicBezTo>
                    <a:pt x="2014" y="608"/>
                    <a:pt x="2014" y="608"/>
                    <a:pt x="2014" y="608"/>
                  </a:cubicBezTo>
                  <a:cubicBezTo>
                    <a:pt x="2024" y="622"/>
                    <a:pt x="2024" y="622"/>
                    <a:pt x="2024" y="622"/>
                  </a:cubicBezTo>
                  <a:cubicBezTo>
                    <a:pt x="2033" y="637"/>
                    <a:pt x="2033" y="637"/>
                    <a:pt x="2033" y="637"/>
                  </a:cubicBezTo>
                  <a:cubicBezTo>
                    <a:pt x="2038" y="644"/>
                    <a:pt x="2038" y="644"/>
                    <a:pt x="2038" y="644"/>
                  </a:cubicBezTo>
                  <a:cubicBezTo>
                    <a:pt x="2040" y="647"/>
                    <a:pt x="2041" y="649"/>
                    <a:pt x="2042" y="652"/>
                  </a:cubicBezTo>
                  <a:cubicBezTo>
                    <a:pt x="2048" y="662"/>
                    <a:pt x="2054" y="672"/>
                    <a:pt x="2060" y="682"/>
                  </a:cubicBezTo>
                  <a:cubicBezTo>
                    <a:pt x="2063" y="687"/>
                    <a:pt x="2066" y="693"/>
                    <a:pt x="2068" y="698"/>
                  </a:cubicBezTo>
                  <a:cubicBezTo>
                    <a:pt x="2076" y="714"/>
                    <a:pt x="2076" y="714"/>
                    <a:pt x="2076" y="714"/>
                  </a:cubicBezTo>
                  <a:cubicBezTo>
                    <a:pt x="2084" y="729"/>
                    <a:pt x="2084" y="729"/>
                    <a:pt x="2084" y="729"/>
                  </a:cubicBezTo>
                  <a:cubicBezTo>
                    <a:pt x="2087" y="734"/>
                    <a:pt x="2089" y="740"/>
                    <a:pt x="2092" y="745"/>
                  </a:cubicBezTo>
                  <a:cubicBezTo>
                    <a:pt x="2096" y="756"/>
                    <a:pt x="2101" y="767"/>
                    <a:pt x="2106" y="777"/>
                  </a:cubicBezTo>
                  <a:cubicBezTo>
                    <a:pt x="2110" y="788"/>
                    <a:pt x="2115" y="799"/>
                    <a:pt x="2119" y="810"/>
                  </a:cubicBezTo>
                  <a:cubicBezTo>
                    <a:pt x="2121" y="816"/>
                    <a:pt x="2124" y="821"/>
                    <a:pt x="2125" y="827"/>
                  </a:cubicBezTo>
                  <a:cubicBezTo>
                    <a:pt x="2131" y="843"/>
                    <a:pt x="2131" y="843"/>
                    <a:pt x="2131" y="843"/>
                  </a:cubicBezTo>
                  <a:cubicBezTo>
                    <a:pt x="2137" y="860"/>
                    <a:pt x="2137" y="860"/>
                    <a:pt x="2137" y="860"/>
                  </a:cubicBezTo>
                  <a:cubicBezTo>
                    <a:pt x="2139" y="866"/>
                    <a:pt x="2141" y="871"/>
                    <a:pt x="2142" y="877"/>
                  </a:cubicBezTo>
                  <a:cubicBezTo>
                    <a:pt x="2152" y="911"/>
                    <a:pt x="2152" y="911"/>
                    <a:pt x="2152" y="911"/>
                  </a:cubicBezTo>
                  <a:cubicBezTo>
                    <a:pt x="2154" y="920"/>
                    <a:pt x="2154" y="920"/>
                    <a:pt x="2154" y="920"/>
                  </a:cubicBezTo>
                  <a:cubicBezTo>
                    <a:pt x="2156" y="928"/>
                    <a:pt x="2156" y="928"/>
                    <a:pt x="2156" y="928"/>
                  </a:cubicBezTo>
                  <a:cubicBezTo>
                    <a:pt x="2160" y="945"/>
                    <a:pt x="2160" y="945"/>
                    <a:pt x="2160" y="945"/>
                  </a:cubicBezTo>
                  <a:cubicBezTo>
                    <a:pt x="2163" y="957"/>
                    <a:pt x="2166" y="968"/>
                    <a:pt x="2167" y="980"/>
                  </a:cubicBezTo>
                  <a:cubicBezTo>
                    <a:pt x="2174" y="1015"/>
                    <a:pt x="2174" y="1015"/>
                    <a:pt x="2174" y="1015"/>
                  </a:cubicBezTo>
                  <a:cubicBezTo>
                    <a:pt x="2176" y="1027"/>
                    <a:pt x="2177" y="1038"/>
                    <a:pt x="2178" y="1050"/>
                  </a:cubicBezTo>
                  <a:cubicBezTo>
                    <a:pt x="2181" y="1068"/>
                    <a:pt x="2181" y="1068"/>
                    <a:pt x="2181" y="1068"/>
                  </a:cubicBezTo>
                  <a:cubicBezTo>
                    <a:pt x="2181" y="1074"/>
                    <a:pt x="2182" y="1080"/>
                    <a:pt x="2182" y="1086"/>
                  </a:cubicBezTo>
                  <a:cubicBezTo>
                    <a:pt x="2185" y="1121"/>
                    <a:pt x="2185" y="1121"/>
                    <a:pt x="2185" y="1121"/>
                  </a:cubicBezTo>
                  <a:cubicBezTo>
                    <a:pt x="2186" y="1156"/>
                    <a:pt x="2186" y="1156"/>
                    <a:pt x="2186" y="1156"/>
                  </a:cubicBezTo>
                  <a:cubicBezTo>
                    <a:pt x="2186" y="1174"/>
                    <a:pt x="2186" y="1174"/>
                    <a:pt x="2186" y="1174"/>
                  </a:cubicBezTo>
                  <a:cubicBezTo>
                    <a:pt x="2186" y="1192"/>
                    <a:pt x="2186" y="1192"/>
                    <a:pt x="2186" y="1192"/>
                  </a:cubicBezTo>
                  <a:cubicBezTo>
                    <a:pt x="2185" y="1228"/>
                    <a:pt x="2185" y="1228"/>
                    <a:pt x="2185" y="1228"/>
                  </a:cubicBezTo>
                  <a:cubicBezTo>
                    <a:pt x="2182" y="1263"/>
                    <a:pt x="2182" y="1263"/>
                    <a:pt x="2182" y="1263"/>
                  </a:cubicBezTo>
                  <a:cubicBezTo>
                    <a:pt x="2182" y="1269"/>
                    <a:pt x="2181" y="1275"/>
                    <a:pt x="2181" y="1281"/>
                  </a:cubicBezTo>
                  <a:cubicBezTo>
                    <a:pt x="2178" y="1298"/>
                    <a:pt x="2178" y="1298"/>
                    <a:pt x="2178" y="1298"/>
                  </a:cubicBezTo>
                  <a:cubicBezTo>
                    <a:pt x="2176" y="1316"/>
                    <a:pt x="2176" y="1316"/>
                    <a:pt x="2176" y="1316"/>
                  </a:cubicBezTo>
                  <a:cubicBezTo>
                    <a:pt x="2175" y="1325"/>
                    <a:pt x="2175" y="1325"/>
                    <a:pt x="2175" y="1325"/>
                  </a:cubicBezTo>
                  <a:cubicBezTo>
                    <a:pt x="2175" y="1327"/>
                    <a:pt x="2174" y="1330"/>
                    <a:pt x="2174" y="1333"/>
                  </a:cubicBezTo>
                  <a:cubicBezTo>
                    <a:pt x="2169" y="1357"/>
                    <a:pt x="2166" y="1380"/>
                    <a:pt x="2160" y="1403"/>
                  </a:cubicBezTo>
                  <a:cubicBezTo>
                    <a:pt x="2156" y="1420"/>
                    <a:pt x="2156" y="1420"/>
                    <a:pt x="2156" y="1420"/>
                  </a:cubicBezTo>
                  <a:cubicBezTo>
                    <a:pt x="2154" y="1429"/>
                    <a:pt x="2154" y="1429"/>
                    <a:pt x="2154" y="1429"/>
                  </a:cubicBezTo>
                  <a:cubicBezTo>
                    <a:pt x="2152" y="1437"/>
                    <a:pt x="2152" y="1437"/>
                    <a:pt x="2152" y="1437"/>
                  </a:cubicBezTo>
                  <a:cubicBezTo>
                    <a:pt x="2149" y="1448"/>
                    <a:pt x="2145" y="1460"/>
                    <a:pt x="2142" y="1471"/>
                  </a:cubicBezTo>
                  <a:cubicBezTo>
                    <a:pt x="2141" y="1477"/>
                    <a:pt x="2139" y="1482"/>
                    <a:pt x="2137" y="1488"/>
                  </a:cubicBezTo>
                  <a:cubicBezTo>
                    <a:pt x="2131" y="1505"/>
                    <a:pt x="2131" y="1505"/>
                    <a:pt x="2131" y="1505"/>
                  </a:cubicBezTo>
                  <a:cubicBezTo>
                    <a:pt x="2125" y="1521"/>
                    <a:pt x="2125" y="1521"/>
                    <a:pt x="2125" y="1521"/>
                  </a:cubicBezTo>
                  <a:cubicBezTo>
                    <a:pt x="2125" y="1524"/>
                    <a:pt x="2124" y="1527"/>
                    <a:pt x="2122" y="1529"/>
                  </a:cubicBezTo>
                  <a:cubicBezTo>
                    <a:pt x="2119" y="1538"/>
                    <a:pt x="2119" y="1538"/>
                    <a:pt x="2119" y="1538"/>
                  </a:cubicBezTo>
                  <a:cubicBezTo>
                    <a:pt x="2115" y="1549"/>
                    <a:pt x="2111" y="1559"/>
                    <a:pt x="2106" y="1570"/>
                  </a:cubicBezTo>
                  <a:cubicBezTo>
                    <a:pt x="2101" y="1581"/>
                    <a:pt x="2097" y="1592"/>
                    <a:pt x="2092" y="1602"/>
                  </a:cubicBezTo>
                  <a:cubicBezTo>
                    <a:pt x="2089" y="1608"/>
                    <a:pt x="2087" y="1613"/>
                    <a:pt x="2085" y="1618"/>
                  </a:cubicBezTo>
                  <a:cubicBezTo>
                    <a:pt x="2077" y="1634"/>
                    <a:pt x="2077" y="1634"/>
                    <a:pt x="2077" y="1634"/>
                  </a:cubicBezTo>
                  <a:cubicBezTo>
                    <a:pt x="2069" y="1649"/>
                    <a:pt x="2069" y="1649"/>
                    <a:pt x="2069" y="1649"/>
                  </a:cubicBezTo>
                  <a:cubicBezTo>
                    <a:pt x="2066" y="1655"/>
                    <a:pt x="2063" y="1660"/>
                    <a:pt x="2060" y="1665"/>
                  </a:cubicBezTo>
                  <a:cubicBezTo>
                    <a:pt x="2055" y="1675"/>
                    <a:pt x="2049" y="1685"/>
                    <a:pt x="2043" y="1695"/>
                  </a:cubicBezTo>
                  <a:cubicBezTo>
                    <a:pt x="2039" y="1703"/>
                    <a:pt x="2039" y="1703"/>
                    <a:pt x="2039" y="1703"/>
                  </a:cubicBezTo>
                  <a:cubicBezTo>
                    <a:pt x="2034" y="1710"/>
                    <a:pt x="2034" y="1710"/>
                    <a:pt x="2034" y="1710"/>
                  </a:cubicBezTo>
                  <a:cubicBezTo>
                    <a:pt x="2025" y="1725"/>
                    <a:pt x="2025" y="1725"/>
                    <a:pt x="2025" y="1725"/>
                  </a:cubicBezTo>
                  <a:cubicBezTo>
                    <a:pt x="2012" y="1744"/>
                    <a:pt x="1999" y="1763"/>
                    <a:pt x="1985" y="1782"/>
                  </a:cubicBezTo>
                  <a:cubicBezTo>
                    <a:pt x="1978" y="1791"/>
                    <a:pt x="1971" y="1800"/>
                    <a:pt x="1964" y="1809"/>
                  </a:cubicBezTo>
                  <a:cubicBezTo>
                    <a:pt x="1953" y="1823"/>
                    <a:pt x="1953" y="1823"/>
                    <a:pt x="1953" y="1823"/>
                  </a:cubicBezTo>
                  <a:cubicBezTo>
                    <a:pt x="1942" y="1836"/>
                    <a:pt x="1942" y="1836"/>
                    <a:pt x="1942" y="1836"/>
                  </a:cubicBezTo>
                  <a:cubicBezTo>
                    <a:pt x="1934" y="1844"/>
                    <a:pt x="1927" y="1853"/>
                    <a:pt x="1919" y="1862"/>
                  </a:cubicBezTo>
                  <a:cubicBezTo>
                    <a:pt x="1911" y="1870"/>
                    <a:pt x="1904" y="1878"/>
                    <a:pt x="1896" y="1887"/>
                  </a:cubicBezTo>
                  <a:cubicBezTo>
                    <a:pt x="1888" y="1895"/>
                    <a:pt x="1880" y="1903"/>
                    <a:pt x="1871" y="1911"/>
                  </a:cubicBezTo>
                  <a:cubicBezTo>
                    <a:pt x="1859" y="1922"/>
                    <a:pt x="1859" y="1922"/>
                    <a:pt x="1859" y="1922"/>
                  </a:cubicBezTo>
                  <a:cubicBezTo>
                    <a:pt x="1853" y="1928"/>
                    <a:pt x="1853" y="1928"/>
                    <a:pt x="1853" y="1928"/>
                  </a:cubicBezTo>
                  <a:cubicBezTo>
                    <a:pt x="1851" y="1930"/>
                    <a:pt x="1849" y="1932"/>
                    <a:pt x="1846" y="1934"/>
                  </a:cubicBezTo>
                  <a:cubicBezTo>
                    <a:pt x="1838" y="1941"/>
                    <a:pt x="1829" y="1949"/>
                    <a:pt x="1821" y="1956"/>
                  </a:cubicBezTo>
                  <a:cubicBezTo>
                    <a:pt x="1819" y="1958"/>
                    <a:pt x="1816" y="1960"/>
                    <a:pt x="1814" y="1962"/>
                  </a:cubicBezTo>
                  <a:cubicBezTo>
                    <a:pt x="1808" y="1967"/>
                    <a:pt x="1808" y="1967"/>
                    <a:pt x="1808" y="1967"/>
                  </a:cubicBezTo>
                  <a:cubicBezTo>
                    <a:pt x="1794" y="1977"/>
                    <a:pt x="1794" y="1977"/>
                    <a:pt x="1794" y="1977"/>
                  </a:cubicBezTo>
                  <a:cubicBezTo>
                    <a:pt x="1777" y="1992"/>
                    <a:pt x="1758" y="2004"/>
                    <a:pt x="1740" y="2017"/>
                  </a:cubicBezTo>
                  <a:cubicBezTo>
                    <a:pt x="1736" y="2021"/>
                    <a:pt x="1731" y="2023"/>
                    <a:pt x="1726" y="2027"/>
                  </a:cubicBezTo>
                  <a:cubicBezTo>
                    <a:pt x="1712" y="2036"/>
                    <a:pt x="1712" y="2036"/>
                    <a:pt x="1712" y="2036"/>
                  </a:cubicBezTo>
                  <a:cubicBezTo>
                    <a:pt x="1698" y="2045"/>
                    <a:pt x="1698" y="2045"/>
                    <a:pt x="1698" y="2045"/>
                  </a:cubicBezTo>
                  <a:cubicBezTo>
                    <a:pt x="1693" y="2048"/>
                    <a:pt x="1688" y="2050"/>
                    <a:pt x="1684" y="2053"/>
                  </a:cubicBezTo>
                  <a:cubicBezTo>
                    <a:pt x="1674" y="2059"/>
                    <a:pt x="1664" y="2064"/>
                    <a:pt x="1655" y="2070"/>
                  </a:cubicBezTo>
                  <a:cubicBezTo>
                    <a:pt x="1645" y="2075"/>
                    <a:pt x="1635" y="2080"/>
                    <a:pt x="1625" y="2085"/>
                  </a:cubicBezTo>
                  <a:cubicBezTo>
                    <a:pt x="1621" y="2087"/>
                    <a:pt x="1616" y="2090"/>
                    <a:pt x="1611" y="2092"/>
                  </a:cubicBezTo>
                  <a:cubicBezTo>
                    <a:pt x="1606" y="2095"/>
                    <a:pt x="1601" y="2097"/>
                    <a:pt x="1596" y="2099"/>
                  </a:cubicBezTo>
                  <a:cubicBezTo>
                    <a:pt x="1586" y="2104"/>
                    <a:pt x="1576" y="2108"/>
                    <a:pt x="1566" y="2113"/>
                  </a:cubicBezTo>
                  <a:cubicBezTo>
                    <a:pt x="1526" y="2129"/>
                    <a:pt x="1485" y="2145"/>
                    <a:pt x="1444" y="2156"/>
                  </a:cubicBezTo>
                  <a:cubicBezTo>
                    <a:pt x="1439" y="2157"/>
                    <a:pt x="1434" y="2158"/>
                    <a:pt x="1429" y="2160"/>
                  </a:cubicBezTo>
                  <a:cubicBezTo>
                    <a:pt x="1421" y="2162"/>
                    <a:pt x="1421" y="2162"/>
                    <a:pt x="1421" y="2162"/>
                  </a:cubicBezTo>
                  <a:cubicBezTo>
                    <a:pt x="1413" y="2164"/>
                    <a:pt x="1413" y="2164"/>
                    <a:pt x="1413" y="2164"/>
                  </a:cubicBezTo>
                  <a:cubicBezTo>
                    <a:pt x="1403" y="2166"/>
                    <a:pt x="1392" y="2169"/>
                    <a:pt x="1382" y="2171"/>
                  </a:cubicBezTo>
                  <a:cubicBezTo>
                    <a:pt x="1372" y="2174"/>
                    <a:pt x="1362" y="2175"/>
                    <a:pt x="1351" y="2177"/>
                  </a:cubicBezTo>
                  <a:cubicBezTo>
                    <a:pt x="1341" y="2179"/>
                    <a:pt x="1331" y="2181"/>
                    <a:pt x="1320" y="2183"/>
                  </a:cubicBezTo>
                  <a:cubicBezTo>
                    <a:pt x="1310" y="2184"/>
                    <a:pt x="1300" y="2185"/>
                    <a:pt x="1289" y="2186"/>
                  </a:cubicBezTo>
                  <a:cubicBezTo>
                    <a:pt x="1284" y="2187"/>
                    <a:pt x="1279" y="2188"/>
                    <a:pt x="1274" y="2188"/>
                  </a:cubicBezTo>
                  <a:cubicBezTo>
                    <a:pt x="1269" y="2189"/>
                    <a:pt x="1264" y="2189"/>
                    <a:pt x="1258" y="2190"/>
                  </a:cubicBezTo>
                  <a:cubicBezTo>
                    <a:pt x="1238" y="2191"/>
                    <a:pt x="1218" y="2193"/>
                    <a:pt x="1197" y="2193"/>
                  </a:cubicBezTo>
                  <a:cubicBezTo>
                    <a:pt x="1187" y="2194"/>
                    <a:pt x="1177" y="2194"/>
                    <a:pt x="1167" y="2194"/>
                  </a:cubicBezTo>
                  <a:cubicBezTo>
                    <a:pt x="1157" y="2194"/>
                    <a:pt x="1146" y="2194"/>
                    <a:pt x="1136" y="2194"/>
                  </a:cubicBezTo>
                  <a:cubicBezTo>
                    <a:pt x="1126" y="2194"/>
                    <a:pt x="1116" y="2193"/>
                    <a:pt x="1106" y="2192"/>
                  </a:cubicBezTo>
                  <a:cubicBezTo>
                    <a:pt x="1102" y="2192"/>
                    <a:pt x="1097" y="2192"/>
                    <a:pt x="1092" y="2191"/>
                  </a:cubicBezTo>
                  <a:cubicBezTo>
                    <a:pt x="1084" y="2191"/>
                    <a:pt x="1084" y="2191"/>
                    <a:pt x="1084" y="2191"/>
                  </a:cubicBezTo>
                  <a:cubicBezTo>
                    <a:pt x="1077" y="2190"/>
                    <a:pt x="1077" y="2190"/>
                    <a:pt x="1077" y="2190"/>
                  </a:cubicBezTo>
                  <a:cubicBezTo>
                    <a:pt x="1067" y="2189"/>
                    <a:pt x="1057" y="2188"/>
                    <a:pt x="1047" y="2187"/>
                  </a:cubicBezTo>
                  <a:cubicBezTo>
                    <a:pt x="1038" y="2186"/>
                    <a:pt x="1028" y="2185"/>
                    <a:pt x="1018" y="2183"/>
                  </a:cubicBezTo>
                  <a:cubicBezTo>
                    <a:pt x="1014" y="2183"/>
                    <a:pt x="1009" y="2182"/>
                    <a:pt x="1004" y="2181"/>
                  </a:cubicBezTo>
                  <a:cubicBezTo>
                    <a:pt x="999" y="2181"/>
                    <a:pt x="994" y="2180"/>
                    <a:pt x="990" y="2179"/>
                  </a:cubicBezTo>
                  <a:cubicBezTo>
                    <a:pt x="985" y="2178"/>
                    <a:pt x="980" y="2177"/>
                    <a:pt x="975" y="2176"/>
                  </a:cubicBezTo>
                  <a:cubicBezTo>
                    <a:pt x="971" y="2175"/>
                    <a:pt x="966" y="2175"/>
                    <a:pt x="961" y="2174"/>
                  </a:cubicBezTo>
                  <a:cubicBezTo>
                    <a:pt x="952" y="2172"/>
                    <a:pt x="943" y="2170"/>
                    <a:pt x="933" y="2167"/>
                  </a:cubicBezTo>
                  <a:cubicBezTo>
                    <a:pt x="929" y="2167"/>
                    <a:pt x="924" y="2165"/>
                    <a:pt x="920" y="2164"/>
                  </a:cubicBezTo>
                  <a:cubicBezTo>
                    <a:pt x="915" y="2163"/>
                    <a:pt x="910" y="2162"/>
                    <a:pt x="906" y="2161"/>
                  </a:cubicBezTo>
                  <a:cubicBezTo>
                    <a:pt x="901" y="2159"/>
                    <a:pt x="897" y="2158"/>
                    <a:pt x="892" y="2157"/>
                  </a:cubicBezTo>
                  <a:cubicBezTo>
                    <a:pt x="888" y="2156"/>
                    <a:pt x="883" y="2154"/>
                    <a:pt x="879" y="2153"/>
                  </a:cubicBezTo>
                  <a:cubicBezTo>
                    <a:pt x="870" y="2150"/>
                    <a:pt x="861" y="2148"/>
                    <a:pt x="852" y="2145"/>
                  </a:cubicBezTo>
                  <a:cubicBezTo>
                    <a:pt x="844" y="2142"/>
                    <a:pt x="835" y="2139"/>
                    <a:pt x="826" y="2136"/>
                  </a:cubicBezTo>
                  <a:cubicBezTo>
                    <a:pt x="822" y="2135"/>
                    <a:pt x="818" y="2133"/>
                    <a:pt x="813" y="2132"/>
                  </a:cubicBezTo>
                  <a:cubicBezTo>
                    <a:pt x="809" y="2130"/>
                    <a:pt x="805" y="2128"/>
                    <a:pt x="801" y="2127"/>
                  </a:cubicBezTo>
                  <a:cubicBezTo>
                    <a:pt x="792" y="2123"/>
                    <a:pt x="784" y="2120"/>
                    <a:pt x="775" y="2117"/>
                  </a:cubicBezTo>
                  <a:cubicBezTo>
                    <a:pt x="767" y="2113"/>
                    <a:pt x="759" y="2110"/>
                    <a:pt x="751" y="2106"/>
                  </a:cubicBezTo>
                  <a:cubicBezTo>
                    <a:pt x="743" y="2103"/>
                    <a:pt x="735" y="2099"/>
                    <a:pt x="727" y="2095"/>
                  </a:cubicBezTo>
                  <a:cubicBezTo>
                    <a:pt x="723" y="2093"/>
                    <a:pt x="719" y="2091"/>
                    <a:pt x="715" y="2089"/>
                  </a:cubicBezTo>
                  <a:cubicBezTo>
                    <a:pt x="709" y="2086"/>
                    <a:pt x="709" y="2086"/>
                    <a:pt x="709" y="2086"/>
                  </a:cubicBezTo>
                  <a:cubicBezTo>
                    <a:pt x="703" y="2083"/>
                    <a:pt x="703" y="2083"/>
                    <a:pt x="703" y="2083"/>
                  </a:cubicBezTo>
                  <a:cubicBezTo>
                    <a:pt x="696" y="2079"/>
                    <a:pt x="688" y="2075"/>
                    <a:pt x="680" y="2071"/>
                  </a:cubicBezTo>
                  <a:cubicBezTo>
                    <a:pt x="677" y="2069"/>
                    <a:pt x="673" y="2067"/>
                    <a:pt x="669" y="2065"/>
                  </a:cubicBezTo>
                  <a:cubicBezTo>
                    <a:pt x="665" y="2063"/>
                    <a:pt x="662" y="2061"/>
                    <a:pt x="658" y="2059"/>
                  </a:cubicBezTo>
                  <a:cubicBezTo>
                    <a:pt x="643" y="2051"/>
                    <a:pt x="629" y="2041"/>
                    <a:pt x="615" y="2033"/>
                  </a:cubicBezTo>
                  <a:cubicBezTo>
                    <a:pt x="610" y="2029"/>
                    <a:pt x="610" y="2029"/>
                    <a:pt x="610" y="2029"/>
                  </a:cubicBezTo>
                  <a:cubicBezTo>
                    <a:pt x="605" y="2026"/>
                    <a:pt x="605" y="2026"/>
                    <a:pt x="605" y="2026"/>
                  </a:cubicBezTo>
                  <a:cubicBezTo>
                    <a:pt x="601" y="2024"/>
                    <a:pt x="598" y="2021"/>
                    <a:pt x="594" y="2019"/>
                  </a:cubicBezTo>
                  <a:cubicBezTo>
                    <a:pt x="588" y="2014"/>
                    <a:pt x="581" y="2010"/>
                    <a:pt x="574" y="2005"/>
                  </a:cubicBezTo>
                  <a:cubicBezTo>
                    <a:pt x="522" y="1967"/>
                    <a:pt x="475" y="1927"/>
                    <a:pt x="435" y="1886"/>
                  </a:cubicBezTo>
                  <a:cubicBezTo>
                    <a:pt x="425" y="1875"/>
                    <a:pt x="415" y="1865"/>
                    <a:pt x="406" y="1854"/>
                  </a:cubicBezTo>
                  <a:cubicBezTo>
                    <a:pt x="403" y="1852"/>
                    <a:pt x="401" y="1849"/>
                    <a:pt x="399" y="1846"/>
                  </a:cubicBezTo>
                  <a:cubicBezTo>
                    <a:pt x="398" y="1845"/>
                    <a:pt x="397" y="1844"/>
                    <a:pt x="396" y="1843"/>
                  </a:cubicBezTo>
                  <a:cubicBezTo>
                    <a:pt x="394" y="1841"/>
                    <a:pt x="392" y="1839"/>
                    <a:pt x="391" y="1837"/>
                  </a:cubicBezTo>
                  <a:cubicBezTo>
                    <a:pt x="388" y="1833"/>
                    <a:pt x="385" y="1831"/>
                    <a:pt x="384" y="1829"/>
                  </a:cubicBezTo>
                  <a:cubicBezTo>
                    <a:pt x="382" y="1827"/>
                    <a:pt x="381" y="1826"/>
                    <a:pt x="381" y="1826"/>
                  </a:cubicBezTo>
                  <a:cubicBezTo>
                    <a:pt x="486" y="1739"/>
                    <a:pt x="486" y="1739"/>
                    <a:pt x="486" y="1739"/>
                  </a:cubicBezTo>
                  <a:cubicBezTo>
                    <a:pt x="368" y="1708"/>
                    <a:pt x="247" y="1648"/>
                    <a:pt x="138" y="1558"/>
                  </a:cubicBezTo>
                  <a:cubicBezTo>
                    <a:pt x="114" y="1697"/>
                    <a:pt x="119" y="1853"/>
                    <a:pt x="158" y="2011"/>
                  </a:cubicBezTo>
                  <a:cubicBezTo>
                    <a:pt x="263" y="1924"/>
                    <a:pt x="263" y="1924"/>
                    <a:pt x="263" y="1924"/>
                  </a:cubicBezTo>
                  <a:cubicBezTo>
                    <a:pt x="263" y="1924"/>
                    <a:pt x="264" y="1925"/>
                    <a:pt x="265" y="1928"/>
                  </a:cubicBezTo>
                  <a:cubicBezTo>
                    <a:pt x="267" y="1930"/>
                    <a:pt x="270" y="1933"/>
                    <a:pt x="274" y="1937"/>
                  </a:cubicBezTo>
                  <a:cubicBezTo>
                    <a:pt x="275" y="1939"/>
                    <a:pt x="277" y="1941"/>
                    <a:pt x="280" y="1944"/>
                  </a:cubicBezTo>
                  <a:cubicBezTo>
                    <a:pt x="281" y="1945"/>
                    <a:pt x="282" y="1946"/>
                    <a:pt x="283" y="1948"/>
                  </a:cubicBezTo>
                  <a:cubicBezTo>
                    <a:pt x="286" y="1951"/>
                    <a:pt x="288" y="1954"/>
                    <a:pt x="291" y="1957"/>
                  </a:cubicBezTo>
                  <a:cubicBezTo>
                    <a:pt x="302" y="1969"/>
                    <a:pt x="313" y="1981"/>
                    <a:pt x="325" y="1993"/>
                  </a:cubicBezTo>
                  <a:cubicBezTo>
                    <a:pt x="371" y="2040"/>
                    <a:pt x="424" y="2087"/>
                    <a:pt x="485" y="2131"/>
                  </a:cubicBezTo>
                  <a:cubicBezTo>
                    <a:pt x="492" y="2136"/>
                    <a:pt x="500" y="2141"/>
                    <a:pt x="508" y="2146"/>
                  </a:cubicBezTo>
                  <a:cubicBezTo>
                    <a:pt x="512" y="2149"/>
                    <a:pt x="516" y="2152"/>
                    <a:pt x="520" y="2154"/>
                  </a:cubicBezTo>
                  <a:cubicBezTo>
                    <a:pt x="526" y="2158"/>
                    <a:pt x="526" y="2158"/>
                    <a:pt x="526" y="2158"/>
                  </a:cubicBezTo>
                  <a:cubicBezTo>
                    <a:pt x="532" y="2162"/>
                    <a:pt x="532" y="2162"/>
                    <a:pt x="532" y="2162"/>
                  </a:cubicBezTo>
                  <a:cubicBezTo>
                    <a:pt x="548" y="2172"/>
                    <a:pt x="564" y="2183"/>
                    <a:pt x="581" y="2192"/>
                  </a:cubicBezTo>
                  <a:cubicBezTo>
                    <a:pt x="585" y="2195"/>
                    <a:pt x="590" y="2197"/>
                    <a:pt x="594" y="2200"/>
                  </a:cubicBezTo>
                  <a:cubicBezTo>
                    <a:pt x="598" y="2202"/>
                    <a:pt x="603" y="2205"/>
                    <a:pt x="607" y="2207"/>
                  </a:cubicBezTo>
                  <a:cubicBezTo>
                    <a:pt x="616" y="2211"/>
                    <a:pt x="625" y="2216"/>
                    <a:pt x="633" y="2221"/>
                  </a:cubicBezTo>
                  <a:cubicBezTo>
                    <a:pt x="640" y="2224"/>
                    <a:pt x="640" y="2224"/>
                    <a:pt x="640" y="2224"/>
                  </a:cubicBezTo>
                  <a:cubicBezTo>
                    <a:pt x="647" y="2227"/>
                    <a:pt x="647" y="2227"/>
                    <a:pt x="647" y="2227"/>
                  </a:cubicBezTo>
                  <a:cubicBezTo>
                    <a:pt x="651" y="2230"/>
                    <a:pt x="656" y="2232"/>
                    <a:pt x="660" y="2234"/>
                  </a:cubicBezTo>
                  <a:cubicBezTo>
                    <a:pt x="670" y="2238"/>
                    <a:pt x="679" y="2243"/>
                    <a:pt x="688" y="2247"/>
                  </a:cubicBezTo>
                  <a:cubicBezTo>
                    <a:pt x="698" y="2251"/>
                    <a:pt x="707" y="2255"/>
                    <a:pt x="716" y="2259"/>
                  </a:cubicBezTo>
                  <a:cubicBezTo>
                    <a:pt x="726" y="2263"/>
                    <a:pt x="736" y="2267"/>
                    <a:pt x="745" y="2270"/>
                  </a:cubicBezTo>
                  <a:cubicBezTo>
                    <a:pt x="750" y="2272"/>
                    <a:pt x="755" y="2274"/>
                    <a:pt x="760" y="2276"/>
                  </a:cubicBezTo>
                  <a:cubicBezTo>
                    <a:pt x="765" y="2278"/>
                    <a:pt x="770" y="2280"/>
                    <a:pt x="775" y="2281"/>
                  </a:cubicBezTo>
                  <a:cubicBezTo>
                    <a:pt x="785" y="2285"/>
                    <a:pt x="795" y="2288"/>
                    <a:pt x="805" y="2292"/>
                  </a:cubicBezTo>
                  <a:cubicBezTo>
                    <a:pt x="815" y="2295"/>
                    <a:pt x="825" y="2298"/>
                    <a:pt x="836" y="2301"/>
                  </a:cubicBezTo>
                  <a:cubicBezTo>
                    <a:pt x="841" y="2302"/>
                    <a:pt x="846" y="2304"/>
                    <a:pt x="851" y="2305"/>
                  </a:cubicBezTo>
                  <a:cubicBezTo>
                    <a:pt x="856" y="2307"/>
                    <a:pt x="862" y="2308"/>
                    <a:pt x="867" y="2310"/>
                  </a:cubicBezTo>
                  <a:cubicBezTo>
                    <a:pt x="872" y="2311"/>
                    <a:pt x="877" y="2312"/>
                    <a:pt x="883" y="2314"/>
                  </a:cubicBezTo>
                  <a:cubicBezTo>
                    <a:pt x="888" y="2315"/>
                    <a:pt x="893" y="2316"/>
                    <a:pt x="898" y="2318"/>
                  </a:cubicBezTo>
                  <a:cubicBezTo>
                    <a:pt x="909" y="2320"/>
                    <a:pt x="920" y="2322"/>
                    <a:pt x="931" y="2325"/>
                  </a:cubicBezTo>
                  <a:cubicBezTo>
                    <a:pt x="936" y="2326"/>
                    <a:pt x="941" y="2327"/>
                    <a:pt x="947" y="2328"/>
                  </a:cubicBezTo>
                  <a:cubicBezTo>
                    <a:pt x="952" y="2329"/>
                    <a:pt x="958" y="2330"/>
                    <a:pt x="963" y="2331"/>
                  </a:cubicBezTo>
                  <a:cubicBezTo>
                    <a:pt x="969" y="2332"/>
                    <a:pt x="974" y="2333"/>
                    <a:pt x="980" y="2334"/>
                  </a:cubicBezTo>
                  <a:cubicBezTo>
                    <a:pt x="985" y="2334"/>
                    <a:pt x="991" y="2335"/>
                    <a:pt x="996" y="2336"/>
                  </a:cubicBezTo>
                  <a:cubicBezTo>
                    <a:pt x="1007" y="2337"/>
                    <a:pt x="1018" y="2339"/>
                    <a:pt x="1030" y="2340"/>
                  </a:cubicBezTo>
                  <a:cubicBezTo>
                    <a:pt x="1041" y="2341"/>
                    <a:pt x="1052" y="2343"/>
                    <a:pt x="1063" y="2344"/>
                  </a:cubicBezTo>
                  <a:cubicBezTo>
                    <a:pt x="1072" y="2345"/>
                    <a:pt x="1072" y="2345"/>
                    <a:pt x="1072" y="2345"/>
                  </a:cubicBezTo>
                  <a:cubicBezTo>
                    <a:pt x="1081" y="2345"/>
                    <a:pt x="1081" y="2345"/>
                    <a:pt x="1081" y="2345"/>
                  </a:cubicBezTo>
                  <a:cubicBezTo>
                    <a:pt x="1086" y="2345"/>
                    <a:pt x="1092" y="2346"/>
                    <a:pt x="1098" y="2346"/>
                  </a:cubicBezTo>
                  <a:cubicBezTo>
                    <a:pt x="1109" y="2347"/>
                    <a:pt x="1121" y="2348"/>
                    <a:pt x="1132" y="2348"/>
                  </a:cubicBezTo>
                  <a:cubicBezTo>
                    <a:pt x="1144" y="2348"/>
                    <a:pt x="1155" y="2348"/>
                    <a:pt x="1167" y="2348"/>
                  </a:cubicBezTo>
                  <a:cubicBezTo>
                    <a:pt x="1178" y="2348"/>
                    <a:pt x="1190" y="2348"/>
                    <a:pt x="1202" y="2347"/>
                  </a:cubicBezTo>
                  <a:cubicBezTo>
                    <a:pt x="1225" y="2347"/>
                    <a:pt x="1249" y="2345"/>
                    <a:pt x="1272" y="2343"/>
                  </a:cubicBezTo>
                  <a:cubicBezTo>
                    <a:pt x="1278" y="2343"/>
                    <a:pt x="1284" y="2343"/>
                    <a:pt x="1290" y="2342"/>
                  </a:cubicBezTo>
                  <a:cubicBezTo>
                    <a:pt x="1296" y="2341"/>
                    <a:pt x="1302" y="2340"/>
                    <a:pt x="1308" y="2339"/>
                  </a:cubicBezTo>
                  <a:cubicBezTo>
                    <a:pt x="1320" y="2338"/>
                    <a:pt x="1331" y="2336"/>
                    <a:pt x="1343" y="2335"/>
                  </a:cubicBezTo>
                  <a:cubicBezTo>
                    <a:pt x="1355" y="2333"/>
                    <a:pt x="1367" y="2331"/>
                    <a:pt x="1379" y="2329"/>
                  </a:cubicBezTo>
                  <a:cubicBezTo>
                    <a:pt x="1391" y="2326"/>
                    <a:pt x="1403" y="2325"/>
                    <a:pt x="1415" y="2322"/>
                  </a:cubicBezTo>
                  <a:cubicBezTo>
                    <a:pt x="1427" y="2319"/>
                    <a:pt x="1438" y="2316"/>
                    <a:pt x="1450" y="2313"/>
                  </a:cubicBezTo>
                  <a:cubicBezTo>
                    <a:pt x="1459" y="2311"/>
                    <a:pt x="1459" y="2311"/>
                    <a:pt x="1459" y="2311"/>
                  </a:cubicBezTo>
                  <a:cubicBezTo>
                    <a:pt x="1468" y="2309"/>
                    <a:pt x="1468" y="2309"/>
                    <a:pt x="1468" y="2309"/>
                  </a:cubicBezTo>
                  <a:cubicBezTo>
                    <a:pt x="1474" y="2307"/>
                    <a:pt x="1480" y="2305"/>
                    <a:pt x="1486" y="2304"/>
                  </a:cubicBezTo>
                  <a:cubicBezTo>
                    <a:pt x="1533" y="2291"/>
                    <a:pt x="1580" y="2273"/>
                    <a:pt x="1626" y="2254"/>
                  </a:cubicBezTo>
                  <a:cubicBezTo>
                    <a:pt x="1638" y="2249"/>
                    <a:pt x="1649" y="2244"/>
                    <a:pt x="1661" y="2239"/>
                  </a:cubicBezTo>
                  <a:cubicBezTo>
                    <a:pt x="1667" y="2236"/>
                    <a:pt x="1672" y="2234"/>
                    <a:pt x="1678" y="2231"/>
                  </a:cubicBezTo>
                  <a:cubicBezTo>
                    <a:pt x="1684" y="2228"/>
                    <a:pt x="1689" y="2225"/>
                    <a:pt x="1695" y="2222"/>
                  </a:cubicBezTo>
                  <a:cubicBezTo>
                    <a:pt x="1706" y="2216"/>
                    <a:pt x="1718" y="2211"/>
                    <a:pt x="1729" y="2205"/>
                  </a:cubicBezTo>
                  <a:cubicBezTo>
                    <a:pt x="1740" y="2198"/>
                    <a:pt x="1751" y="2192"/>
                    <a:pt x="1762" y="2186"/>
                  </a:cubicBezTo>
                  <a:cubicBezTo>
                    <a:pt x="1767" y="2182"/>
                    <a:pt x="1773" y="2180"/>
                    <a:pt x="1778" y="2176"/>
                  </a:cubicBezTo>
                  <a:cubicBezTo>
                    <a:pt x="1784" y="2173"/>
                    <a:pt x="1789" y="2169"/>
                    <a:pt x="1795" y="2166"/>
                  </a:cubicBezTo>
                  <a:cubicBezTo>
                    <a:pt x="1800" y="2162"/>
                    <a:pt x="1805" y="2159"/>
                    <a:pt x="1811" y="2155"/>
                  </a:cubicBezTo>
                  <a:cubicBezTo>
                    <a:pt x="1816" y="2152"/>
                    <a:pt x="1822" y="2148"/>
                    <a:pt x="1827" y="2145"/>
                  </a:cubicBezTo>
                  <a:cubicBezTo>
                    <a:pt x="1848" y="2130"/>
                    <a:pt x="1869" y="2115"/>
                    <a:pt x="1889" y="2099"/>
                  </a:cubicBezTo>
                  <a:cubicBezTo>
                    <a:pt x="1905" y="2087"/>
                    <a:pt x="1905" y="2087"/>
                    <a:pt x="1905" y="2087"/>
                  </a:cubicBezTo>
                  <a:cubicBezTo>
                    <a:pt x="1912" y="2081"/>
                    <a:pt x="1912" y="2081"/>
                    <a:pt x="1912" y="2081"/>
                  </a:cubicBezTo>
                  <a:cubicBezTo>
                    <a:pt x="1915" y="2079"/>
                    <a:pt x="1917" y="2076"/>
                    <a:pt x="1920" y="2074"/>
                  </a:cubicBezTo>
                  <a:cubicBezTo>
                    <a:pt x="1930" y="2066"/>
                    <a:pt x="1939" y="2057"/>
                    <a:pt x="1949" y="2049"/>
                  </a:cubicBezTo>
                  <a:cubicBezTo>
                    <a:pt x="1952" y="2046"/>
                    <a:pt x="1954" y="2044"/>
                    <a:pt x="1957" y="2042"/>
                  </a:cubicBezTo>
                  <a:cubicBezTo>
                    <a:pt x="1964" y="2035"/>
                    <a:pt x="1964" y="2035"/>
                    <a:pt x="1964" y="2035"/>
                  </a:cubicBezTo>
                  <a:cubicBezTo>
                    <a:pt x="1978" y="2022"/>
                    <a:pt x="1978" y="2022"/>
                    <a:pt x="1978" y="2022"/>
                  </a:cubicBezTo>
                  <a:cubicBezTo>
                    <a:pt x="1987" y="2013"/>
                    <a:pt x="1997" y="2004"/>
                    <a:pt x="2006" y="1994"/>
                  </a:cubicBezTo>
                  <a:cubicBezTo>
                    <a:pt x="2015" y="1985"/>
                    <a:pt x="2024" y="1975"/>
                    <a:pt x="2033" y="1966"/>
                  </a:cubicBezTo>
                  <a:cubicBezTo>
                    <a:pt x="2042" y="1956"/>
                    <a:pt x="2050" y="1946"/>
                    <a:pt x="2059" y="1936"/>
                  </a:cubicBezTo>
                  <a:cubicBezTo>
                    <a:pt x="2072" y="1921"/>
                    <a:pt x="2072" y="1921"/>
                    <a:pt x="2072" y="1921"/>
                  </a:cubicBezTo>
                  <a:cubicBezTo>
                    <a:pt x="2084" y="1905"/>
                    <a:pt x="2084" y="1905"/>
                    <a:pt x="2084" y="1905"/>
                  </a:cubicBezTo>
                  <a:cubicBezTo>
                    <a:pt x="2093" y="1895"/>
                    <a:pt x="2101" y="1884"/>
                    <a:pt x="2109" y="1874"/>
                  </a:cubicBezTo>
                  <a:cubicBezTo>
                    <a:pt x="2124" y="1852"/>
                    <a:pt x="2140" y="1831"/>
                    <a:pt x="2154" y="1808"/>
                  </a:cubicBezTo>
                  <a:cubicBezTo>
                    <a:pt x="2165" y="1791"/>
                    <a:pt x="2165" y="1791"/>
                    <a:pt x="2165" y="1791"/>
                  </a:cubicBezTo>
                  <a:cubicBezTo>
                    <a:pt x="2170" y="1783"/>
                    <a:pt x="2170" y="1783"/>
                    <a:pt x="2170" y="1783"/>
                  </a:cubicBezTo>
                  <a:cubicBezTo>
                    <a:pt x="2175" y="1774"/>
                    <a:pt x="2175" y="1774"/>
                    <a:pt x="2175" y="1774"/>
                  </a:cubicBezTo>
                  <a:cubicBezTo>
                    <a:pt x="2182" y="1762"/>
                    <a:pt x="2189" y="1751"/>
                    <a:pt x="2195" y="1739"/>
                  </a:cubicBezTo>
                  <a:cubicBezTo>
                    <a:pt x="2199" y="1733"/>
                    <a:pt x="2202" y="1727"/>
                    <a:pt x="2205" y="1721"/>
                  </a:cubicBezTo>
                  <a:cubicBezTo>
                    <a:pt x="2214" y="1703"/>
                    <a:pt x="2214" y="1703"/>
                    <a:pt x="2214" y="1703"/>
                  </a:cubicBezTo>
                  <a:cubicBezTo>
                    <a:pt x="2223" y="1685"/>
                    <a:pt x="2223" y="1685"/>
                    <a:pt x="2223" y="1685"/>
                  </a:cubicBezTo>
                  <a:cubicBezTo>
                    <a:pt x="2226" y="1679"/>
                    <a:pt x="2229" y="1673"/>
                    <a:pt x="2232" y="1667"/>
                  </a:cubicBezTo>
                  <a:cubicBezTo>
                    <a:pt x="2237" y="1655"/>
                    <a:pt x="2243" y="1643"/>
                    <a:pt x="2248" y="1630"/>
                  </a:cubicBezTo>
                  <a:cubicBezTo>
                    <a:pt x="2253" y="1618"/>
                    <a:pt x="2258" y="1605"/>
                    <a:pt x="2263" y="1593"/>
                  </a:cubicBezTo>
                  <a:cubicBezTo>
                    <a:pt x="2267" y="1583"/>
                    <a:pt x="2267" y="1583"/>
                    <a:pt x="2267" y="1583"/>
                  </a:cubicBezTo>
                  <a:cubicBezTo>
                    <a:pt x="2268" y="1580"/>
                    <a:pt x="2269" y="1577"/>
                    <a:pt x="2270" y="1574"/>
                  </a:cubicBezTo>
                  <a:cubicBezTo>
                    <a:pt x="2277" y="1554"/>
                    <a:pt x="2277" y="1554"/>
                    <a:pt x="2277" y="1554"/>
                  </a:cubicBezTo>
                  <a:cubicBezTo>
                    <a:pt x="2283" y="1535"/>
                    <a:pt x="2283" y="1535"/>
                    <a:pt x="2283" y="1535"/>
                  </a:cubicBezTo>
                  <a:cubicBezTo>
                    <a:pt x="2286" y="1529"/>
                    <a:pt x="2288" y="1522"/>
                    <a:pt x="2289" y="1516"/>
                  </a:cubicBezTo>
                  <a:cubicBezTo>
                    <a:pt x="2293" y="1503"/>
                    <a:pt x="2297" y="1490"/>
                    <a:pt x="2301" y="1477"/>
                  </a:cubicBezTo>
                  <a:cubicBezTo>
                    <a:pt x="2303" y="1467"/>
                    <a:pt x="2303" y="1467"/>
                    <a:pt x="2303" y="1467"/>
                  </a:cubicBezTo>
                  <a:cubicBezTo>
                    <a:pt x="2306" y="1457"/>
                    <a:pt x="2306" y="1457"/>
                    <a:pt x="2306" y="1457"/>
                  </a:cubicBezTo>
                  <a:cubicBezTo>
                    <a:pt x="2310" y="1437"/>
                    <a:pt x="2310" y="1437"/>
                    <a:pt x="2310" y="1437"/>
                  </a:cubicBezTo>
                  <a:cubicBezTo>
                    <a:pt x="2317" y="1411"/>
                    <a:pt x="2321" y="1384"/>
                    <a:pt x="2326" y="1357"/>
                  </a:cubicBezTo>
                  <a:cubicBezTo>
                    <a:pt x="2327" y="1354"/>
                    <a:pt x="2327" y="1350"/>
                    <a:pt x="2327" y="1347"/>
                  </a:cubicBezTo>
                  <a:cubicBezTo>
                    <a:pt x="2329" y="1337"/>
                    <a:pt x="2329" y="1337"/>
                    <a:pt x="2329" y="1337"/>
                  </a:cubicBezTo>
                  <a:cubicBezTo>
                    <a:pt x="2331" y="1317"/>
                    <a:pt x="2331" y="1317"/>
                    <a:pt x="2331" y="1317"/>
                  </a:cubicBezTo>
                  <a:cubicBezTo>
                    <a:pt x="2334" y="1296"/>
                    <a:pt x="2334" y="1296"/>
                    <a:pt x="2334" y="1296"/>
                  </a:cubicBezTo>
                  <a:cubicBezTo>
                    <a:pt x="2335" y="1290"/>
                    <a:pt x="2335" y="1283"/>
                    <a:pt x="2336" y="1276"/>
                  </a:cubicBezTo>
                  <a:cubicBezTo>
                    <a:pt x="2339" y="1235"/>
                    <a:pt x="2339" y="1235"/>
                    <a:pt x="2339" y="1235"/>
                  </a:cubicBezTo>
                  <a:cubicBezTo>
                    <a:pt x="2340" y="1195"/>
                    <a:pt x="2340" y="1195"/>
                    <a:pt x="2340" y="1195"/>
                  </a:cubicBezTo>
                  <a:cubicBezTo>
                    <a:pt x="2340" y="1174"/>
                    <a:pt x="2340" y="1174"/>
                    <a:pt x="2340" y="1174"/>
                  </a:cubicBezTo>
                  <a:cubicBezTo>
                    <a:pt x="2340" y="1154"/>
                    <a:pt x="2340" y="1154"/>
                    <a:pt x="2340" y="1154"/>
                  </a:cubicBezTo>
                  <a:cubicBezTo>
                    <a:pt x="2339" y="1113"/>
                    <a:pt x="2339" y="1113"/>
                    <a:pt x="2339" y="1113"/>
                  </a:cubicBezTo>
                  <a:cubicBezTo>
                    <a:pt x="2336" y="1072"/>
                    <a:pt x="2336" y="1072"/>
                    <a:pt x="2336" y="1072"/>
                  </a:cubicBezTo>
                  <a:cubicBezTo>
                    <a:pt x="2335" y="1066"/>
                    <a:pt x="2335" y="1059"/>
                    <a:pt x="2334" y="1052"/>
                  </a:cubicBezTo>
                  <a:cubicBezTo>
                    <a:pt x="2331" y="1032"/>
                    <a:pt x="2331" y="1032"/>
                    <a:pt x="2331" y="1032"/>
                  </a:cubicBezTo>
                  <a:cubicBezTo>
                    <a:pt x="2330" y="1018"/>
                    <a:pt x="2328" y="1005"/>
                    <a:pt x="2326" y="991"/>
                  </a:cubicBezTo>
                  <a:cubicBezTo>
                    <a:pt x="2319" y="951"/>
                    <a:pt x="2319" y="951"/>
                    <a:pt x="2319" y="951"/>
                  </a:cubicBezTo>
                  <a:cubicBezTo>
                    <a:pt x="2317" y="938"/>
                    <a:pt x="2313" y="924"/>
                    <a:pt x="2310" y="911"/>
                  </a:cubicBezTo>
                  <a:cubicBezTo>
                    <a:pt x="2306" y="891"/>
                    <a:pt x="2306" y="891"/>
                    <a:pt x="2306" y="891"/>
                  </a:cubicBezTo>
                  <a:cubicBezTo>
                    <a:pt x="2303" y="881"/>
                    <a:pt x="2303" y="881"/>
                    <a:pt x="2303" y="881"/>
                  </a:cubicBezTo>
                  <a:cubicBezTo>
                    <a:pt x="2301" y="871"/>
                    <a:pt x="2301" y="871"/>
                    <a:pt x="2301" y="871"/>
                  </a:cubicBezTo>
                  <a:cubicBezTo>
                    <a:pt x="2289" y="832"/>
                    <a:pt x="2289" y="832"/>
                    <a:pt x="2289" y="832"/>
                  </a:cubicBezTo>
                  <a:cubicBezTo>
                    <a:pt x="2288" y="826"/>
                    <a:pt x="2285" y="819"/>
                    <a:pt x="2283" y="813"/>
                  </a:cubicBezTo>
                  <a:cubicBezTo>
                    <a:pt x="2277" y="793"/>
                    <a:pt x="2277" y="793"/>
                    <a:pt x="2277" y="793"/>
                  </a:cubicBezTo>
                  <a:cubicBezTo>
                    <a:pt x="2270" y="774"/>
                    <a:pt x="2270" y="774"/>
                    <a:pt x="2270" y="774"/>
                  </a:cubicBezTo>
                  <a:cubicBezTo>
                    <a:pt x="2268" y="768"/>
                    <a:pt x="2265" y="762"/>
                    <a:pt x="2263" y="755"/>
                  </a:cubicBezTo>
                  <a:cubicBezTo>
                    <a:pt x="2258" y="743"/>
                    <a:pt x="2253" y="730"/>
                    <a:pt x="2248" y="717"/>
                  </a:cubicBezTo>
                  <a:cubicBezTo>
                    <a:pt x="2242" y="705"/>
                    <a:pt x="2237" y="693"/>
                    <a:pt x="2231" y="680"/>
                  </a:cubicBezTo>
                  <a:cubicBezTo>
                    <a:pt x="2229" y="674"/>
                    <a:pt x="2226" y="668"/>
                    <a:pt x="2223" y="662"/>
                  </a:cubicBezTo>
                  <a:cubicBezTo>
                    <a:pt x="2214" y="644"/>
                    <a:pt x="2214" y="644"/>
                    <a:pt x="2214" y="644"/>
                  </a:cubicBezTo>
                  <a:cubicBezTo>
                    <a:pt x="2204" y="626"/>
                    <a:pt x="2204" y="626"/>
                    <a:pt x="2204" y="626"/>
                  </a:cubicBezTo>
                  <a:cubicBezTo>
                    <a:pt x="2201" y="620"/>
                    <a:pt x="2198" y="614"/>
                    <a:pt x="2195" y="608"/>
                  </a:cubicBezTo>
                  <a:cubicBezTo>
                    <a:pt x="2188" y="596"/>
                    <a:pt x="2181" y="585"/>
                    <a:pt x="2175" y="573"/>
                  </a:cubicBezTo>
                  <a:cubicBezTo>
                    <a:pt x="2173" y="570"/>
                    <a:pt x="2171" y="567"/>
                    <a:pt x="2170" y="564"/>
                  </a:cubicBezTo>
                  <a:cubicBezTo>
                    <a:pt x="2164" y="556"/>
                    <a:pt x="2164" y="556"/>
                    <a:pt x="2164" y="556"/>
                  </a:cubicBezTo>
                  <a:cubicBezTo>
                    <a:pt x="2153" y="539"/>
                    <a:pt x="2153" y="539"/>
                    <a:pt x="2153" y="539"/>
                  </a:cubicBezTo>
                  <a:cubicBezTo>
                    <a:pt x="2142" y="522"/>
                    <a:pt x="2142" y="522"/>
                    <a:pt x="2142" y="522"/>
                  </a:cubicBezTo>
                  <a:cubicBezTo>
                    <a:pt x="2140" y="518"/>
                    <a:pt x="2140" y="518"/>
                    <a:pt x="2140" y="518"/>
                  </a:cubicBezTo>
                  <a:cubicBezTo>
                    <a:pt x="2137" y="513"/>
                    <a:pt x="2137" y="513"/>
                    <a:pt x="2137" y="513"/>
                  </a:cubicBezTo>
                  <a:cubicBezTo>
                    <a:pt x="2131" y="505"/>
                    <a:pt x="2131" y="505"/>
                    <a:pt x="2131" y="505"/>
                  </a:cubicBezTo>
                  <a:cubicBezTo>
                    <a:pt x="2123" y="494"/>
                    <a:pt x="2115" y="483"/>
                    <a:pt x="2108" y="473"/>
                  </a:cubicBezTo>
                  <a:cubicBezTo>
                    <a:pt x="2100" y="462"/>
                    <a:pt x="2091" y="451"/>
                    <a:pt x="2083" y="441"/>
                  </a:cubicBezTo>
                  <a:cubicBezTo>
                    <a:pt x="2079" y="436"/>
                    <a:pt x="2075" y="430"/>
                    <a:pt x="2071" y="425"/>
                  </a:cubicBezTo>
                  <a:cubicBezTo>
                    <a:pt x="2057" y="410"/>
                    <a:pt x="2057" y="410"/>
                    <a:pt x="2057" y="410"/>
                  </a:cubicBezTo>
                  <a:cubicBezTo>
                    <a:pt x="2044" y="395"/>
                    <a:pt x="2044" y="395"/>
                    <a:pt x="2044" y="395"/>
                  </a:cubicBezTo>
                  <a:cubicBezTo>
                    <a:pt x="2040" y="390"/>
                    <a:pt x="2036" y="385"/>
                    <a:pt x="2031" y="380"/>
                  </a:cubicBezTo>
                  <a:cubicBezTo>
                    <a:pt x="2022" y="371"/>
                    <a:pt x="2013" y="361"/>
                    <a:pt x="2004" y="351"/>
                  </a:cubicBezTo>
                  <a:cubicBezTo>
                    <a:pt x="1997" y="344"/>
                    <a:pt x="1997" y="344"/>
                    <a:pt x="1997" y="344"/>
                  </a:cubicBezTo>
                  <a:cubicBezTo>
                    <a:pt x="1990" y="337"/>
                    <a:pt x="1990" y="337"/>
                    <a:pt x="1990" y="337"/>
                  </a:cubicBezTo>
                  <a:cubicBezTo>
                    <a:pt x="1975" y="324"/>
                    <a:pt x="1975" y="324"/>
                    <a:pt x="1975" y="324"/>
                  </a:cubicBezTo>
                  <a:cubicBezTo>
                    <a:pt x="1956" y="305"/>
                    <a:pt x="1936" y="288"/>
                    <a:pt x="1916" y="271"/>
                  </a:cubicBezTo>
                  <a:cubicBezTo>
                    <a:pt x="1914" y="269"/>
                    <a:pt x="1911" y="267"/>
                    <a:pt x="1909" y="265"/>
                  </a:cubicBezTo>
                  <a:cubicBezTo>
                    <a:pt x="1901" y="259"/>
                    <a:pt x="1901" y="259"/>
                    <a:pt x="1901" y="259"/>
                  </a:cubicBezTo>
                  <a:cubicBezTo>
                    <a:pt x="1886" y="246"/>
                    <a:pt x="1886" y="246"/>
                    <a:pt x="1886" y="246"/>
                  </a:cubicBezTo>
                  <a:cubicBezTo>
                    <a:pt x="1870" y="234"/>
                    <a:pt x="1870" y="234"/>
                    <a:pt x="1870" y="234"/>
                  </a:cubicBezTo>
                  <a:cubicBezTo>
                    <a:pt x="1865" y="230"/>
                    <a:pt x="1859" y="227"/>
                    <a:pt x="1854" y="223"/>
                  </a:cubicBezTo>
                  <a:cubicBezTo>
                    <a:pt x="1844" y="215"/>
                    <a:pt x="1833" y="208"/>
                    <a:pt x="1822" y="200"/>
                  </a:cubicBezTo>
                  <a:cubicBezTo>
                    <a:pt x="1811" y="193"/>
                    <a:pt x="1800" y="186"/>
                    <a:pt x="1789" y="179"/>
                  </a:cubicBezTo>
                  <a:cubicBezTo>
                    <a:pt x="1784" y="176"/>
                    <a:pt x="1779" y="172"/>
                    <a:pt x="1773" y="169"/>
                  </a:cubicBezTo>
                  <a:cubicBezTo>
                    <a:pt x="1756" y="159"/>
                    <a:pt x="1756" y="159"/>
                    <a:pt x="1756" y="159"/>
                  </a:cubicBezTo>
                  <a:cubicBezTo>
                    <a:pt x="1745" y="153"/>
                    <a:pt x="1734" y="146"/>
                    <a:pt x="1723" y="140"/>
                  </a:cubicBezTo>
                  <a:cubicBezTo>
                    <a:pt x="1711" y="134"/>
                    <a:pt x="1700" y="128"/>
                    <a:pt x="1688" y="122"/>
                  </a:cubicBezTo>
                  <a:cubicBezTo>
                    <a:pt x="1680" y="118"/>
                    <a:pt x="1680" y="118"/>
                    <a:pt x="1680" y="118"/>
                  </a:cubicBezTo>
                  <a:cubicBezTo>
                    <a:pt x="1677" y="117"/>
                    <a:pt x="1674" y="115"/>
                    <a:pt x="1671" y="114"/>
                  </a:cubicBezTo>
                  <a:cubicBezTo>
                    <a:pt x="1665" y="111"/>
                    <a:pt x="1659" y="109"/>
                    <a:pt x="1654" y="106"/>
                  </a:cubicBezTo>
                  <a:cubicBezTo>
                    <a:pt x="1648" y="103"/>
                    <a:pt x="1642" y="101"/>
                    <a:pt x="1636" y="98"/>
                  </a:cubicBezTo>
                  <a:cubicBezTo>
                    <a:pt x="1627" y="94"/>
                    <a:pt x="1627" y="94"/>
                    <a:pt x="1627" y="94"/>
                  </a:cubicBezTo>
                  <a:cubicBezTo>
                    <a:pt x="1623" y="92"/>
                    <a:pt x="1623" y="92"/>
                    <a:pt x="1623" y="92"/>
                  </a:cubicBezTo>
                  <a:cubicBezTo>
                    <a:pt x="1619" y="90"/>
                    <a:pt x="1619" y="90"/>
                    <a:pt x="1619" y="90"/>
                  </a:cubicBezTo>
                  <a:cubicBezTo>
                    <a:pt x="1607" y="86"/>
                    <a:pt x="1595" y="81"/>
                    <a:pt x="1583" y="76"/>
                  </a:cubicBezTo>
                  <a:cubicBezTo>
                    <a:pt x="1574" y="73"/>
                    <a:pt x="1574" y="73"/>
                    <a:pt x="1574" y="73"/>
                  </a:cubicBezTo>
                  <a:cubicBezTo>
                    <a:pt x="1571" y="72"/>
                    <a:pt x="1569" y="71"/>
                    <a:pt x="1566" y="70"/>
                  </a:cubicBezTo>
                  <a:cubicBezTo>
                    <a:pt x="1560" y="68"/>
                    <a:pt x="1554" y="66"/>
                    <a:pt x="1548" y="64"/>
                  </a:cubicBezTo>
                  <a:cubicBezTo>
                    <a:pt x="1536" y="60"/>
                    <a:pt x="1524" y="55"/>
                    <a:pt x="1512" y="52"/>
                  </a:cubicBezTo>
                  <a:cubicBezTo>
                    <a:pt x="1500" y="48"/>
                    <a:pt x="1488" y="45"/>
                    <a:pt x="1476" y="41"/>
                  </a:cubicBezTo>
                  <a:cubicBezTo>
                    <a:pt x="1470" y="40"/>
                    <a:pt x="1464" y="38"/>
                    <a:pt x="1458" y="36"/>
                  </a:cubicBezTo>
                  <a:cubicBezTo>
                    <a:pt x="1452" y="35"/>
                    <a:pt x="1445" y="34"/>
                    <a:pt x="1439" y="32"/>
                  </a:cubicBezTo>
                  <a:cubicBezTo>
                    <a:pt x="1427" y="29"/>
                    <a:pt x="1415" y="27"/>
                    <a:pt x="1403" y="24"/>
                  </a:cubicBezTo>
                  <a:cubicBezTo>
                    <a:pt x="1391" y="22"/>
                    <a:pt x="1379" y="19"/>
                    <a:pt x="1367" y="17"/>
                  </a:cubicBezTo>
                  <a:cubicBezTo>
                    <a:pt x="1361" y="16"/>
                    <a:pt x="1355" y="15"/>
                    <a:pt x="1349" y="14"/>
                  </a:cubicBezTo>
                  <a:cubicBezTo>
                    <a:pt x="1343" y="13"/>
                    <a:pt x="1337" y="12"/>
                    <a:pt x="1330" y="12"/>
                  </a:cubicBezTo>
                  <a:cubicBezTo>
                    <a:pt x="1318" y="10"/>
                    <a:pt x="1306" y="8"/>
                    <a:pt x="1294" y="7"/>
                  </a:cubicBezTo>
                  <a:cubicBezTo>
                    <a:pt x="1291" y="7"/>
                    <a:pt x="1288" y="6"/>
                    <a:pt x="1285" y="6"/>
                  </a:cubicBezTo>
                  <a:cubicBezTo>
                    <a:pt x="1276" y="5"/>
                    <a:pt x="1276" y="5"/>
                    <a:pt x="1276" y="5"/>
                  </a:cubicBezTo>
                  <a:cubicBezTo>
                    <a:pt x="1270" y="5"/>
                    <a:pt x="1264" y="4"/>
                    <a:pt x="1258" y="4"/>
                  </a:cubicBezTo>
                  <a:cubicBezTo>
                    <a:pt x="1252" y="3"/>
                    <a:pt x="1246" y="3"/>
                    <a:pt x="1240" y="2"/>
                  </a:cubicBezTo>
                  <a:cubicBezTo>
                    <a:pt x="1231" y="2"/>
                    <a:pt x="1231" y="2"/>
                    <a:pt x="1231" y="2"/>
                  </a:cubicBezTo>
                  <a:cubicBezTo>
                    <a:pt x="1226" y="1"/>
                    <a:pt x="1226" y="1"/>
                    <a:pt x="1226" y="1"/>
                  </a:cubicBezTo>
                  <a:cubicBezTo>
                    <a:pt x="1222" y="1"/>
                    <a:pt x="1222" y="1"/>
                    <a:pt x="1222" y="1"/>
                  </a:cubicBezTo>
                  <a:cubicBezTo>
                    <a:pt x="1210" y="1"/>
                    <a:pt x="1198" y="1"/>
                    <a:pt x="1186" y="0"/>
                  </a:cubicBezTo>
                  <a:cubicBezTo>
                    <a:pt x="1180" y="0"/>
                    <a:pt x="1174" y="0"/>
                    <a:pt x="1168" y="0"/>
                  </a:cubicBezTo>
                  <a:cubicBezTo>
                    <a:pt x="1162" y="0"/>
                    <a:pt x="1156" y="0"/>
                    <a:pt x="1150" y="0"/>
                  </a:cubicBezTo>
                  <a:cubicBezTo>
                    <a:pt x="1139" y="0"/>
                    <a:pt x="1127" y="1"/>
                    <a:pt x="1115" y="1"/>
                  </a:cubicBezTo>
                  <a:cubicBezTo>
                    <a:pt x="1109" y="1"/>
                    <a:pt x="1103" y="2"/>
                    <a:pt x="1097" y="2"/>
                  </a:cubicBezTo>
                  <a:cubicBezTo>
                    <a:pt x="1092" y="2"/>
                    <a:pt x="1086" y="3"/>
                    <a:pt x="1080" y="3"/>
                  </a:cubicBezTo>
                  <a:cubicBezTo>
                    <a:pt x="1074" y="4"/>
                    <a:pt x="1068" y="4"/>
                    <a:pt x="1062" y="4"/>
                  </a:cubicBezTo>
                  <a:cubicBezTo>
                    <a:pt x="1059" y="5"/>
                    <a:pt x="1057" y="5"/>
                    <a:pt x="1054" y="5"/>
                  </a:cubicBezTo>
                  <a:cubicBezTo>
                    <a:pt x="1045" y="6"/>
                    <a:pt x="1045" y="6"/>
                    <a:pt x="1045" y="6"/>
                  </a:cubicBezTo>
                  <a:cubicBezTo>
                    <a:pt x="1033" y="8"/>
                    <a:pt x="1022" y="9"/>
                    <a:pt x="1010" y="10"/>
                  </a:cubicBezTo>
                  <a:cubicBezTo>
                    <a:pt x="999" y="11"/>
                    <a:pt x="988" y="14"/>
                    <a:pt x="976" y="15"/>
                  </a:cubicBezTo>
                  <a:cubicBezTo>
                    <a:pt x="965" y="17"/>
                    <a:pt x="954" y="19"/>
                    <a:pt x="943" y="21"/>
                  </a:cubicBezTo>
                  <a:cubicBezTo>
                    <a:pt x="931" y="24"/>
                    <a:pt x="920" y="26"/>
                    <a:pt x="909" y="28"/>
                  </a:cubicBezTo>
                  <a:cubicBezTo>
                    <a:pt x="904" y="29"/>
                    <a:pt x="898" y="31"/>
                    <a:pt x="893" y="32"/>
                  </a:cubicBezTo>
                  <a:cubicBezTo>
                    <a:pt x="887" y="33"/>
                    <a:pt x="882" y="35"/>
                    <a:pt x="876" y="36"/>
                  </a:cubicBezTo>
                  <a:cubicBezTo>
                    <a:pt x="866" y="39"/>
                    <a:pt x="855" y="42"/>
                    <a:pt x="844" y="45"/>
                  </a:cubicBezTo>
                  <a:cubicBezTo>
                    <a:pt x="833" y="48"/>
                    <a:pt x="823" y="51"/>
                    <a:pt x="812" y="54"/>
                  </a:cubicBezTo>
                  <a:cubicBezTo>
                    <a:pt x="791" y="60"/>
                    <a:pt x="771" y="68"/>
                    <a:pt x="750" y="76"/>
                  </a:cubicBezTo>
                  <a:cubicBezTo>
                    <a:pt x="740" y="79"/>
                    <a:pt x="730" y="84"/>
                    <a:pt x="720" y="88"/>
                  </a:cubicBezTo>
                  <a:cubicBezTo>
                    <a:pt x="710" y="92"/>
                    <a:pt x="701" y="96"/>
                    <a:pt x="691" y="100"/>
                  </a:cubicBezTo>
                  <a:cubicBezTo>
                    <a:pt x="681" y="104"/>
                    <a:pt x="672" y="109"/>
                    <a:pt x="662" y="113"/>
                  </a:cubicBezTo>
                  <a:cubicBezTo>
                    <a:pt x="653" y="118"/>
                    <a:pt x="643" y="122"/>
                    <a:pt x="634" y="127"/>
                  </a:cubicBezTo>
                  <a:cubicBezTo>
                    <a:pt x="615" y="137"/>
                    <a:pt x="597" y="146"/>
                    <a:pt x="579" y="157"/>
                  </a:cubicBezTo>
                  <a:cubicBezTo>
                    <a:pt x="509" y="198"/>
                    <a:pt x="445" y="244"/>
                    <a:pt x="389" y="294"/>
                  </a:cubicBezTo>
                  <a:cubicBezTo>
                    <a:pt x="333" y="343"/>
                    <a:pt x="285" y="395"/>
                    <a:pt x="244" y="447"/>
                  </a:cubicBezTo>
                  <a:cubicBezTo>
                    <a:pt x="203" y="499"/>
                    <a:pt x="169" y="551"/>
                    <a:pt x="141" y="601"/>
                  </a:cubicBezTo>
                  <a:cubicBezTo>
                    <a:pt x="126" y="626"/>
                    <a:pt x="115" y="651"/>
                    <a:pt x="103" y="675"/>
                  </a:cubicBezTo>
                  <a:cubicBezTo>
                    <a:pt x="92" y="699"/>
                    <a:pt x="82" y="722"/>
                    <a:pt x="73" y="744"/>
                  </a:cubicBezTo>
                  <a:cubicBezTo>
                    <a:pt x="38" y="833"/>
                    <a:pt x="21" y="906"/>
                    <a:pt x="12" y="957"/>
                  </a:cubicBezTo>
                  <a:cubicBezTo>
                    <a:pt x="7" y="982"/>
                    <a:pt x="5" y="1001"/>
                    <a:pt x="3" y="1014"/>
                  </a:cubicBezTo>
                  <a:cubicBezTo>
                    <a:pt x="1" y="1027"/>
                    <a:pt x="0" y="1034"/>
                    <a:pt x="0" y="1034"/>
                  </a:cubicBezTo>
                  <a:lnTo>
                    <a:pt x="153" y="1052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id-ID"/>
            </a:p>
          </p:txBody>
        </p:sp>
        <p:sp>
          <p:nvSpPr>
            <p:cNvPr id="10" name="îṡḷïdé">
              <a:extLst>
                <a:ext uri="{FF2B5EF4-FFF2-40B4-BE49-F238E27FC236}">
                  <a16:creationId xmlns:a16="http://schemas.microsoft.com/office/drawing/2014/main" id="{23FE6F48-72BE-4BA7-9A76-0DE5D8B4340A}"/>
                </a:ext>
              </a:extLst>
            </p:cNvPr>
            <p:cNvSpPr/>
            <p:nvPr/>
          </p:nvSpPr>
          <p:spPr>
            <a:xfrm>
              <a:off x="3916554" y="3053636"/>
              <a:ext cx="1308426" cy="1310386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anchor="ctr">
              <a:noAutofit/>
            </a:bodyPr>
            <a:lstStyle/>
            <a:p>
              <a:pPr algn="ctr"/>
              <a:r>
                <a:rPr lang="en-US" sz="1800" b="1">
                  <a:solidFill>
                    <a:schemeClr val="tx1"/>
                  </a:solidFill>
                </a:rPr>
                <a:t>Te</a:t>
              </a:r>
              <a:r>
                <a:rPr lang="en-US" sz="100" b="1">
                  <a:solidFill>
                    <a:schemeClr val="tx1"/>
                  </a:solidFill>
                </a:rPr>
                <a:t> </a:t>
              </a:r>
              <a:r>
                <a:rPr lang="en-US" sz="1800" b="1">
                  <a:solidFill>
                    <a:schemeClr val="tx1"/>
                  </a:solidFill>
                </a:rPr>
                <a:t>xt</a:t>
              </a:r>
              <a:endParaRPr lang="en-US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11" name="í$ļíḓê">
              <a:extLst>
                <a:ext uri="{FF2B5EF4-FFF2-40B4-BE49-F238E27FC236}">
                  <a16:creationId xmlns:a16="http://schemas.microsoft.com/office/drawing/2014/main" id="{EF631F04-334B-44C2-947C-F8B07240ABCD}"/>
                </a:ext>
              </a:extLst>
            </p:cNvPr>
            <p:cNvSpPr/>
            <p:nvPr/>
          </p:nvSpPr>
          <p:spPr>
            <a:xfrm>
              <a:off x="6967020" y="3053636"/>
              <a:ext cx="1308426" cy="1310386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anchor="ctr">
              <a:noAutofit/>
            </a:bodyPr>
            <a:lstStyle/>
            <a:p>
              <a:pPr algn="ctr"/>
              <a:r>
                <a:rPr lang="en-US" sz="1800" b="1">
                  <a:solidFill>
                    <a:schemeClr val="tx1"/>
                  </a:solidFill>
                </a:rPr>
                <a:t>Te</a:t>
              </a:r>
              <a:r>
                <a:rPr lang="en-US" sz="100" b="1">
                  <a:solidFill>
                    <a:schemeClr val="tx1"/>
                  </a:solidFill>
                </a:rPr>
                <a:t> </a:t>
              </a:r>
              <a:r>
                <a:rPr lang="en-US" sz="1800" b="1">
                  <a:solidFill>
                    <a:schemeClr val="tx1"/>
                  </a:solidFill>
                </a:rPr>
                <a:t>xt</a:t>
              </a:r>
              <a:endParaRPr lang="en-US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12" name="îSľíḑè">
              <a:extLst>
                <a:ext uri="{FF2B5EF4-FFF2-40B4-BE49-F238E27FC236}">
                  <a16:creationId xmlns:a16="http://schemas.microsoft.com/office/drawing/2014/main" id="{A58C7257-A892-443D-8081-F6D922180B47}"/>
                </a:ext>
              </a:extLst>
            </p:cNvPr>
            <p:cNvSpPr/>
            <p:nvPr/>
          </p:nvSpPr>
          <p:spPr>
            <a:xfrm>
              <a:off x="5481673" y="1436815"/>
              <a:ext cx="1308426" cy="1310386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anchor="ctr">
              <a:noAutofit/>
            </a:bodyPr>
            <a:lstStyle/>
            <a:p>
              <a:pPr algn="ctr"/>
              <a:r>
                <a:rPr lang="en-US" sz="1800" b="1">
                  <a:solidFill>
                    <a:schemeClr val="tx1"/>
                  </a:solidFill>
                </a:rPr>
                <a:t>Te</a:t>
              </a:r>
              <a:r>
                <a:rPr lang="en-US" sz="100" b="1">
                  <a:solidFill>
                    <a:schemeClr val="tx1"/>
                  </a:solidFill>
                </a:rPr>
                <a:t> </a:t>
              </a:r>
              <a:r>
                <a:rPr lang="en-US" sz="1800" b="1">
                  <a:solidFill>
                    <a:schemeClr val="tx1"/>
                  </a:solidFill>
                </a:rPr>
                <a:t>xt</a:t>
              </a:r>
              <a:endParaRPr lang="en-US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13" name="íslïḑè">
              <a:extLst>
                <a:ext uri="{FF2B5EF4-FFF2-40B4-BE49-F238E27FC236}">
                  <a16:creationId xmlns:a16="http://schemas.microsoft.com/office/drawing/2014/main" id="{B00A5B86-D1BD-4494-95DF-51B85ECD69DC}"/>
                </a:ext>
              </a:extLst>
            </p:cNvPr>
            <p:cNvSpPr/>
            <p:nvPr/>
          </p:nvSpPr>
          <p:spPr>
            <a:xfrm>
              <a:off x="5441787" y="4506074"/>
              <a:ext cx="1308426" cy="1310386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anchor="ctr">
              <a:noAutofit/>
            </a:bodyPr>
            <a:lstStyle/>
            <a:p>
              <a:pPr algn="ctr"/>
              <a:r>
                <a:rPr lang="en-US" sz="1800" b="1">
                  <a:solidFill>
                    <a:schemeClr val="tx1"/>
                  </a:solidFill>
                </a:rPr>
                <a:t>Te</a:t>
              </a:r>
              <a:r>
                <a:rPr lang="en-US" sz="100" b="1">
                  <a:solidFill>
                    <a:schemeClr val="tx1"/>
                  </a:solidFill>
                </a:rPr>
                <a:t> </a:t>
              </a:r>
              <a:r>
                <a:rPr lang="en-US" sz="1800" b="1">
                  <a:solidFill>
                    <a:schemeClr val="tx1"/>
                  </a:solidFill>
                </a:rPr>
                <a:t>xt</a:t>
              </a:r>
              <a:endParaRPr lang="en-US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15" name="îṩḻíḍe">
              <a:extLst>
                <a:ext uri="{FF2B5EF4-FFF2-40B4-BE49-F238E27FC236}">
                  <a16:creationId xmlns:a16="http://schemas.microsoft.com/office/drawing/2014/main" id="{65A451B6-2E87-49C9-AB2D-8B04EF14C372}"/>
                </a:ext>
              </a:extLst>
            </p:cNvPr>
            <p:cNvSpPr txBox="1"/>
            <p:nvPr/>
          </p:nvSpPr>
          <p:spPr>
            <a:xfrm>
              <a:off x="5132586" y="3525951"/>
              <a:ext cx="2005648" cy="43317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/>
            <a:p>
              <a:pPr algn="ctr"/>
              <a:r>
                <a:rPr lang="en-US" altLang="zh-CN" sz="1800" b="1" dirty="0" err="1"/>
                <a:t>Te</a:t>
              </a:r>
              <a:r>
                <a:rPr lang="en-US" altLang="zh-CN" sz="100" b="1" dirty="0"/>
                <a:t> </a:t>
              </a:r>
              <a:r>
                <a:rPr lang="en-US" altLang="zh-CN" sz="1800" b="1" dirty="0" err="1"/>
                <a:t>xt</a:t>
              </a:r>
              <a:r>
                <a:rPr lang="en-US" altLang="zh-CN" sz="1800" b="1" dirty="0"/>
                <a:t> here</a:t>
              </a:r>
            </a:p>
          </p:txBody>
        </p:sp>
        <p:sp>
          <p:nvSpPr>
            <p:cNvPr id="16" name="ïṧľîḋê">
              <a:extLst>
                <a:ext uri="{FF2B5EF4-FFF2-40B4-BE49-F238E27FC236}">
                  <a16:creationId xmlns:a16="http://schemas.microsoft.com/office/drawing/2014/main" id="{D1BA0B6B-2BDC-4094-84E7-91249301809F}"/>
                </a:ext>
              </a:extLst>
            </p:cNvPr>
            <p:cNvSpPr/>
            <p:nvPr/>
          </p:nvSpPr>
          <p:spPr>
            <a:xfrm>
              <a:off x="3328616" y="1992282"/>
              <a:ext cx="2366320" cy="822185"/>
            </a:xfrm>
            <a:prstGeom prst="snip2SameRect">
              <a:avLst>
                <a:gd name="adj1" fmla="val 0"/>
                <a:gd name="adj2" fmla="val 0"/>
              </a:avLst>
            </a:prstGeom>
            <a:ln>
              <a:noFill/>
            </a:ln>
          </p:spPr>
          <p:txBody>
            <a:bodyPr wrap="square" lIns="91440" tIns="45720" rIns="91440" bIns="45720" anchor="t">
              <a:noAutofit/>
            </a:bodyPr>
            <a:lstStyle/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/>
                <a:t>Supporting</a:t>
              </a:r>
              <a:r>
                <a:rPr lang="en-US" altLang="zh-CN" sz="100"/>
                <a:t> </a:t>
              </a:r>
              <a:r>
                <a:rPr lang="en-US" altLang="zh-CN" sz="1000"/>
                <a:t> </a:t>
              </a:r>
              <a:r>
                <a:rPr lang="en-US" altLang="zh-CN" sz="1000" dirty="0"/>
                <a:t>text here</a:t>
              </a: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/>
                <a:t>Supporting text here</a:t>
              </a: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/>
                <a:t>…</a:t>
              </a:r>
            </a:p>
          </p:txBody>
        </p:sp>
        <p:sp>
          <p:nvSpPr>
            <p:cNvPr id="17" name="íṩľîde">
              <a:extLst>
                <a:ext uri="{FF2B5EF4-FFF2-40B4-BE49-F238E27FC236}">
                  <a16:creationId xmlns:a16="http://schemas.microsoft.com/office/drawing/2014/main" id="{C30599B8-D7DE-4FEA-9930-81E6845D0B96}"/>
                </a:ext>
              </a:extLst>
            </p:cNvPr>
            <p:cNvSpPr txBox="1"/>
            <p:nvPr/>
          </p:nvSpPr>
          <p:spPr bwMode="auto">
            <a:xfrm>
              <a:off x="3328616" y="1460054"/>
              <a:ext cx="2366320" cy="5162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en-US" altLang="zh-CN" b="1"/>
                <a:t>Te</a:t>
              </a:r>
              <a:r>
                <a:rPr lang="en-US" altLang="zh-CN" sz="100" b="1"/>
                <a:t> </a:t>
              </a:r>
              <a:r>
                <a:rPr lang="en-US" altLang="zh-CN" b="1"/>
                <a:t>xt </a:t>
              </a:r>
              <a:r>
                <a:rPr lang="en-US" altLang="zh-CN" b="1" dirty="0"/>
                <a:t>Here</a:t>
              </a:r>
            </a:p>
          </p:txBody>
        </p:sp>
        <p:sp>
          <p:nvSpPr>
            <p:cNvPr id="18" name="íŝḷïďè">
              <a:extLst>
                <a:ext uri="{FF2B5EF4-FFF2-40B4-BE49-F238E27FC236}">
                  <a16:creationId xmlns:a16="http://schemas.microsoft.com/office/drawing/2014/main" id="{4558413D-0B8D-43C4-94AD-F235D0A1C74C}"/>
                </a:ext>
              </a:extLst>
            </p:cNvPr>
            <p:cNvSpPr/>
            <p:nvPr/>
          </p:nvSpPr>
          <p:spPr>
            <a:xfrm>
              <a:off x="7301097" y="5413437"/>
              <a:ext cx="2366320" cy="822185"/>
            </a:xfrm>
            <a:prstGeom prst="snip2SameRect">
              <a:avLst>
                <a:gd name="adj1" fmla="val 0"/>
                <a:gd name="adj2" fmla="val 0"/>
              </a:avLst>
            </a:prstGeom>
            <a:ln>
              <a:noFill/>
            </a:ln>
          </p:spPr>
          <p:txBody>
            <a:bodyPr wrap="square" lIns="91440" tIns="45720" rIns="91440" bIns="45720" anchor="t">
              <a:noAutofit/>
            </a:bodyPr>
            <a:lstStyle/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/>
                <a:t>Supporting</a:t>
              </a:r>
              <a:r>
                <a:rPr lang="en-US" altLang="zh-CN" sz="100"/>
                <a:t> </a:t>
              </a:r>
              <a:r>
                <a:rPr lang="en-US" altLang="zh-CN" sz="1000"/>
                <a:t> </a:t>
              </a:r>
              <a:r>
                <a:rPr lang="en-US" altLang="zh-CN" sz="1000" dirty="0"/>
                <a:t>text here</a:t>
              </a: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/>
                <a:t>Supporting text here</a:t>
              </a: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/>
                <a:t>…</a:t>
              </a:r>
            </a:p>
          </p:txBody>
        </p:sp>
        <p:sp>
          <p:nvSpPr>
            <p:cNvPr id="19" name="iSľîḓè">
              <a:extLst>
                <a:ext uri="{FF2B5EF4-FFF2-40B4-BE49-F238E27FC236}">
                  <a16:creationId xmlns:a16="http://schemas.microsoft.com/office/drawing/2014/main" id="{C26592CF-C441-4D5B-A617-E4B49C4F3374}"/>
                </a:ext>
              </a:extLst>
            </p:cNvPr>
            <p:cNvSpPr txBox="1"/>
            <p:nvPr/>
          </p:nvSpPr>
          <p:spPr bwMode="auto">
            <a:xfrm>
              <a:off x="7301097" y="4881209"/>
              <a:ext cx="2366320" cy="5162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en-US" altLang="zh-CN" b="1"/>
                <a:t>Te</a:t>
              </a:r>
              <a:r>
                <a:rPr lang="en-US" altLang="zh-CN" sz="100" b="1"/>
                <a:t> </a:t>
              </a:r>
              <a:r>
                <a:rPr lang="en-US" altLang="zh-CN" b="1"/>
                <a:t>xt </a:t>
              </a:r>
              <a:r>
                <a:rPr lang="en-US" altLang="zh-CN" b="1" dirty="0"/>
                <a:t>Here</a:t>
              </a:r>
            </a:p>
          </p:txBody>
        </p:sp>
        <p:sp>
          <p:nvSpPr>
            <p:cNvPr id="20" name="ïŝḷídé">
              <a:extLst>
                <a:ext uri="{FF2B5EF4-FFF2-40B4-BE49-F238E27FC236}">
                  <a16:creationId xmlns:a16="http://schemas.microsoft.com/office/drawing/2014/main" id="{101878EF-90E3-46A2-9FBA-D21F6BA9B8CB}"/>
                </a:ext>
              </a:extLst>
            </p:cNvPr>
            <p:cNvSpPr/>
            <p:nvPr/>
          </p:nvSpPr>
          <p:spPr>
            <a:xfrm>
              <a:off x="682944" y="3303658"/>
              <a:ext cx="3279808" cy="822185"/>
            </a:xfrm>
            <a:prstGeom prst="snip2SameRect">
              <a:avLst>
                <a:gd name="adj1" fmla="val 0"/>
                <a:gd name="adj2" fmla="val 0"/>
              </a:avLst>
            </a:prstGeom>
            <a:ln>
              <a:noFill/>
            </a:ln>
          </p:spPr>
          <p:txBody>
            <a:bodyPr wrap="square" lIns="91440" tIns="45720" rIns="91440" bIns="45720" anchor="t">
              <a:noAutofit/>
            </a:bodyPr>
            <a:lstStyle/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/>
                <a:t>Supporting</a:t>
              </a:r>
              <a:r>
                <a:rPr lang="en-US" altLang="zh-CN" sz="100"/>
                <a:t> </a:t>
              </a:r>
              <a:r>
                <a:rPr lang="en-US" altLang="zh-CN" sz="1000"/>
                <a:t> </a:t>
              </a:r>
              <a:r>
                <a:rPr lang="en-US" altLang="zh-CN" sz="1000" dirty="0"/>
                <a:t>text here</a:t>
              </a: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/>
                <a:t>Supporting text here</a:t>
              </a: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/>
                <a:t>…</a:t>
              </a:r>
            </a:p>
          </p:txBody>
        </p:sp>
        <p:sp>
          <p:nvSpPr>
            <p:cNvPr id="21" name="îşḻíḍê">
              <a:extLst>
                <a:ext uri="{FF2B5EF4-FFF2-40B4-BE49-F238E27FC236}">
                  <a16:creationId xmlns:a16="http://schemas.microsoft.com/office/drawing/2014/main" id="{966E877F-CBAD-4194-9BB1-76D175F1FA37}"/>
                </a:ext>
              </a:extLst>
            </p:cNvPr>
            <p:cNvSpPr/>
            <p:nvPr/>
          </p:nvSpPr>
          <p:spPr>
            <a:xfrm>
              <a:off x="8285864" y="3303658"/>
              <a:ext cx="3234624" cy="822185"/>
            </a:xfrm>
            <a:prstGeom prst="snip2SameRect">
              <a:avLst>
                <a:gd name="adj1" fmla="val 0"/>
                <a:gd name="adj2" fmla="val 0"/>
              </a:avLst>
            </a:prstGeom>
            <a:ln>
              <a:noFill/>
            </a:ln>
          </p:spPr>
          <p:txBody>
            <a:bodyPr wrap="square" lIns="91440" tIns="45720" rIns="91440" bIns="45720" anchor="t">
              <a:noAutofit/>
            </a:bodyPr>
            <a:lstStyle/>
            <a:p>
              <a:pPr marL="172800" indent="-172800" algn="r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/>
                <a:t>Supporting</a:t>
              </a:r>
              <a:r>
                <a:rPr lang="en-US" altLang="zh-CN" sz="100"/>
                <a:t> </a:t>
              </a:r>
              <a:r>
                <a:rPr lang="en-US" altLang="zh-CN" sz="1000"/>
                <a:t> </a:t>
              </a:r>
              <a:r>
                <a:rPr lang="en-US" altLang="zh-CN" sz="1000" dirty="0"/>
                <a:t>text here</a:t>
              </a:r>
            </a:p>
            <a:p>
              <a:pPr marL="172800" indent="-172800" algn="r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/>
                <a:t>Supporting text here</a:t>
              </a:r>
            </a:p>
            <a:p>
              <a:pPr marL="172800" indent="-172800" algn="r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/>
                <a:t>…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7726680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ISLIDE.THEME" val="225bf695-daa2-4759-97b7-6398e4bba18c"/>
  <p:tag name="THINKCELLUNDODONOTDELETE" val="0"/>
  <p:tag name="ISLIDE.TEMPLATE" val="66e80954-b217-4e0e-a65d-0de97c7603a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5;#438746;#438747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200537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20053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3;#438741;#438742;#438744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3;#438741;#438742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2;#438745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3;#438741;#438742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6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277794;"/>
  <p:tag name="ISLIDE.ICON" val="#438750;#438748;#438746;#438744;#438749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6;#438744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#186220;#186256;#186220;#186256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3;#438741;#438744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4;#438745;#438750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183659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2;#438744;#438745;#438746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3;#438742;#438744;#438741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0173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4;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2;#438744;#438745;#438746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1;#438742;#438745;#438743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3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200554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20055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2;#438741;#438746;#438748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45;"/>
</p:tagLst>
</file>

<file path=ppt/theme/theme1.xml><?xml version="1.0" encoding="utf-8"?>
<a:theme xmlns:a="http://schemas.openxmlformats.org/drawingml/2006/main" name="主题5">
  <a:themeElements>
    <a:clrScheme name="四月主题色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5063F8"/>
      </a:accent1>
      <a:accent2>
        <a:srgbClr val="0049A0"/>
      </a:accent2>
      <a:accent3>
        <a:srgbClr val="7181F8"/>
      </a:accent3>
      <a:accent4>
        <a:srgbClr val="ECEFF4"/>
      </a:accent4>
      <a:accent5>
        <a:srgbClr val="343D74"/>
      </a:accent5>
      <a:accent6>
        <a:srgbClr val="778495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5063F8"/>
    </a:accent1>
    <a:accent2>
      <a:srgbClr val="0049A0"/>
    </a:accent2>
    <a:accent3>
      <a:srgbClr val="7181F8"/>
    </a:accent3>
    <a:accent4>
      <a:srgbClr val="ECEFF4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5063F8"/>
    </a:accent1>
    <a:accent2>
      <a:srgbClr val="0049A0"/>
    </a:accent2>
    <a:accent3>
      <a:srgbClr val="7181F8"/>
    </a:accent3>
    <a:accent4>
      <a:srgbClr val="ECEFF4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5063F8"/>
    </a:accent1>
    <a:accent2>
      <a:srgbClr val="0049A0"/>
    </a:accent2>
    <a:accent3>
      <a:srgbClr val="7181F8"/>
    </a:accent3>
    <a:accent4>
      <a:srgbClr val="ECEFF4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菠萝煮茶</Template>
  <TotalTime>0</TotalTime>
  <Words>2200</Words>
  <Application>Microsoft Office PowerPoint</Application>
  <PresentationFormat>宽屏</PresentationFormat>
  <Paragraphs>390</Paragraphs>
  <Slides>27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7</vt:i4>
      </vt:variant>
    </vt:vector>
  </HeadingPairs>
  <TitlesOfParts>
    <vt:vector size="34" baseType="lpstr">
      <vt:lpstr>等线</vt:lpstr>
      <vt:lpstr>Microsoft YaHei</vt:lpstr>
      <vt:lpstr>Arial</vt:lpstr>
      <vt:lpstr>Arial</vt:lpstr>
      <vt:lpstr>Calibri</vt:lpstr>
      <vt:lpstr>主题5</vt:lpstr>
      <vt:lpstr>think-cell Slide</vt:lpstr>
      <vt:lpstr>武汉工程大学 汇报答辩通用模板</vt:lpstr>
      <vt:lpstr>PowerPoint 演示文稿</vt:lpstr>
      <vt:lpstr>Section Header Her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THANKS And Your Slogan Here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武汉工程大学汇报答辩通用PPT模板</dc:title>
  <dc:creator>islide</dc:creator>
  <cp:keywords>51PPT模板网（www.51pptmoban.com）</cp:keywords>
  <dc:description>51PPT模板网，幻灯片演示模板及素材免费下载！_x000d_
51PPT模板网 唯一访问网址：www.51pptmoban.com</dc:description>
  <cp:lastModifiedBy>jingtao hu</cp:lastModifiedBy>
  <cp:revision>3</cp:revision>
  <cp:lastPrinted>2020-09-09T16:00:00Z</cp:lastPrinted>
  <dcterms:created xsi:type="dcterms:W3CDTF">2020-09-09T16:00:00Z</dcterms:created>
  <dcterms:modified xsi:type="dcterms:W3CDTF">2024-09-15T03:05:23Z</dcterms:modified>
  <cp:contentStatus>武汉工程大学汇报答辩通用PPT模板，www.51pptmoban.com</cp:contentStatus>
  <cp:version>51pptmoban.com（V51PPT-24050603版）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Slide.TEMPLATE">
    <vt:lpwstr>66e80954-b217-4e0e-a65d-0de97c7603a1</vt:lpwstr>
  </property>
</Properties>
</file>